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Override1.xml" ContentType="application/vnd.openxmlformats-officedocument.themeOverrid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46" r:id="rId4"/>
    <p:sldMasterId id="2147484450" r:id="rId5"/>
    <p:sldMasterId id="2147484532" r:id="rId6"/>
    <p:sldMasterId id="2147484542" r:id="rId7"/>
    <p:sldMasterId id="2147484566" r:id="rId8"/>
  </p:sldMasterIdLst>
  <p:notesMasterIdLst>
    <p:notesMasterId r:id="rId35"/>
  </p:notesMasterIdLst>
  <p:sldIdLst>
    <p:sldId id="256" r:id="rId9"/>
    <p:sldId id="2147471329" r:id="rId10"/>
    <p:sldId id="2147471340" r:id="rId11"/>
    <p:sldId id="2147471308" r:id="rId12"/>
    <p:sldId id="2147471330" r:id="rId13"/>
    <p:sldId id="2147471338" r:id="rId14"/>
    <p:sldId id="2147471344" r:id="rId15"/>
    <p:sldId id="2147471346" r:id="rId16"/>
    <p:sldId id="2147471345" r:id="rId17"/>
    <p:sldId id="2147471349" r:id="rId18"/>
    <p:sldId id="2147471331" r:id="rId19"/>
    <p:sldId id="2147471341" r:id="rId20"/>
    <p:sldId id="2147471316" r:id="rId21"/>
    <p:sldId id="2147471332" r:id="rId22"/>
    <p:sldId id="2147471333" r:id="rId23"/>
    <p:sldId id="2147471327" r:id="rId24"/>
    <p:sldId id="2147471334" r:id="rId25"/>
    <p:sldId id="2147471350" r:id="rId26"/>
    <p:sldId id="2147471335" r:id="rId27"/>
    <p:sldId id="2147471324" r:id="rId28"/>
    <p:sldId id="2147471323" r:id="rId29"/>
    <p:sldId id="2147471348" r:id="rId30"/>
    <p:sldId id="2147471342" r:id="rId31"/>
    <p:sldId id="2147471336" r:id="rId32"/>
    <p:sldId id="2147471343" r:id="rId33"/>
    <p:sldId id="2147471267" r:id="rId34"/>
  </p:sldIdLst>
  <p:sldSz cx="12192000" cy="6858000"/>
  <p:notesSz cx="6858000" cy="9144000"/>
  <p:custDataLst>
    <p:tags r:id="rId3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42993B-20C3-156C-953D-BD6DDEE320B7}" name="Sabina PETRASHOVA" initials="SP" userId="S::sabina.petrashova@tribu-conseil.com::7d838aae-e6ab-4ec0-b04f-8f08a9482ebc" providerId="AD"/>
  <p188:author id="{391BED41-07AD-3A37-19CE-A8F74F99A0A6}" name="Paul LEGEARD" initials="PL" userId="S::paul.legeard@tribu-conseil.com::73b5704d-da1d-4b70-8e12-6d54d32b01a3" providerId="AD"/>
  <p188:author id="{9DD47A9B-CBF4-731C-764A-B5001B311CAF}" name="Jean-Baptiste Wirth" initials="JBW" userId="S::jean-baptiste.wirth@avanade.com::533a7a8d-4a03-48db-9fbf-c5cdbdb90898" providerId="AD"/>
  <p188:author id="{1DB227D9-CE2F-CEC9-8FB3-FA52D6A4EEB8}" name="Firas Ksontini" initials="FK" userId="S::firas.ksontini@avanade.com::2beb32e6-1c25-4a98-ae3c-5363761dc8a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LERO, Antonio (CA-GIP)" initials="CA(" lastIdx="1" clrIdx="0">
    <p:extLst>
      <p:ext uri="{19B8F6BF-5375-455C-9EA6-DF929625EA0E}">
        <p15:presenceInfo xmlns:p15="http://schemas.microsoft.com/office/powerpoint/2012/main" userId="CALERO, Antonio (CA-GIP)" providerId="None"/>
      </p:ext>
    </p:extLst>
  </p:cmAuthor>
  <p:cmAuthor id="2" name="LEBLANC Adrien (PRESTATAIRE CA-GIP)" initials="LA(C" lastIdx="1" clrIdx="1">
    <p:extLst>
      <p:ext uri="{19B8F6BF-5375-455C-9EA6-DF929625EA0E}">
        <p15:presenceInfo xmlns:p15="http://schemas.microsoft.com/office/powerpoint/2012/main" userId="S-1-5-21-3584301268-2235642545-905611576-192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C9EF"/>
    <a:srgbClr val="0F6B85"/>
    <a:srgbClr val="104BC9"/>
    <a:srgbClr val="B7FEFF"/>
    <a:srgbClr val="ECFFFF"/>
    <a:srgbClr val="FDDC7F"/>
    <a:srgbClr val="009597"/>
    <a:srgbClr val="9F87AE"/>
    <a:srgbClr val="00A8AC"/>
    <a:srgbClr val="C7C0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79C8B0-72E3-4D3D-95A6-DC7ECDDD3ECC}" v="38" dt="2023-09-29T11:41:14.5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6D9F66E-5EB9-4882-86FB-DCBF35E3C3E4}" styleName="Style moyen 4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40" y="1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bina PETRASHOVA" userId="S::sabina.petrashova_tribu-conseil.com#ext#@cacommun.onmicrosoft.com::130c87d6-a9a5-4581-a97a-ed5fb9af8a0e" providerId="AD" clId="Web-{C1271ED7-7138-4428-9A32-2D18812443AB}"/>
    <pc:docChg chg="modSld">
      <pc:chgData name="Sabina PETRASHOVA" userId="S::sabina.petrashova_tribu-conseil.com#ext#@cacommun.onmicrosoft.com::130c87d6-a9a5-4581-a97a-ed5fb9af8a0e" providerId="AD" clId="Web-{C1271ED7-7138-4428-9A32-2D18812443AB}" dt="2023-09-28T07:53:14.037" v="18" actId="20577"/>
      <pc:docMkLst>
        <pc:docMk/>
      </pc:docMkLst>
      <pc:sldChg chg="modSp">
        <pc:chgData name="Sabina PETRASHOVA" userId="S::sabina.petrashova_tribu-conseil.com#ext#@cacommun.onmicrosoft.com::130c87d6-a9a5-4581-a97a-ed5fb9af8a0e" providerId="AD" clId="Web-{C1271ED7-7138-4428-9A32-2D18812443AB}" dt="2023-09-28T07:53:14.037" v="18" actId="20577"/>
        <pc:sldMkLst>
          <pc:docMk/>
          <pc:sldMk cId="133291357" sldId="2147471340"/>
        </pc:sldMkLst>
        <pc:spChg chg="mod">
          <ac:chgData name="Sabina PETRASHOVA" userId="S::sabina.petrashova_tribu-conseil.com#ext#@cacommun.onmicrosoft.com::130c87d6-a9a5-4581-a97a-ed5fb9af8a0e" providerId="AD" clId="Web-{C1271ED7-7138-4428-9A32-2D18812443AB}" dt="2023-09-28T07:53:14.037" v="18" actId="20577"/>
          <ac:spMkLst>
            <pc:docMk/>
            <pc:sldMk cId="133291357" sldId="2147471340"/>
            <ac:spMk id="2" creationId="{D1EE6376-4F6B-22F4-4FAE-12E8722AAE09}"/>
          </ac:spMkLst>
        </pc:spChg>
      </pc:sldChg>
    </pc:docChg>
  </pc:docChgLst>
  <pc:docChgLst>
    <pc:chgData name="Paul LEGEARD" userId="S::paul.legeard_tribu-conseil.com#ext#@cacommun.onmicrosoft.com::d93005c4-da71-4b00-9907-059060be94dc" providerId="AD" clId="Web-{4ED39413-F7F0-481E-A211-6ECF53508C78}"/>
    <pc:docChg chg="modSld">
      <pc:chgData name="Paul LEGEARD" userId="S::paul.legeard_tribu-conseil.com#ext#@cacommun.onmicrosoft.com::d93005c4-da71-4b00-9907-059060be94dc" providerId="AD" clId="Web-{4ED39413-F7F0-481E-A211-6ECF53508C78}" dt="2023-06-21T14:04:50.693" v="1" actId="1076"/>
      <pc:docMkLst>
        <pc:docMk/>
      </pc:docMkLst>
      <pc:sldChg chg="modSp">
        <pc:chgData name="Paul LEGEARD" userId="S::paul.legeard_tribu-conseil.com#ext#@cacommun.onmicrosoft.com::d93005c4-da71-4b00-9907-059060be94dc" providerId="AD" clId="Web-{4ED39413-F7F0-481E-A211-6ECF53508C78}" dt="2023-06-21T14:04:50.693" v="1" actId="1076"/>
        <pc:sldMkLst>
          <pc:docMk/>
          <pc:sldMk cId="3442962359" sldId="2147471282"/>
        </pc:sldMkLst>
        <pc:spChg chg="mod">
          <ac:chgData name="Paul LEGEARD" userId="S::paul.legeard_tribu-conseil.com#ext#@cacommun.onmicrosoft.com::d93005c4-da71-4b00-9907-059060be94dc" providerId="AD" clId="Web-{4ED39413-F7F0-481E-A211-6ECF53508C78}" dt="2023-06-21T14:04:50.646" v="0" actId="1076"/>
          <ac:spMkLst>
            <pc:docMk/>
            <pc:sldMk cId="3442962359" sldId="2147471282"/>
            <ac:spMk id="55" creationId="{80EE673C-96BC-4295-B2FC-389F4414767E}"/>
          </ac:spMkLst>
        </pc:spChg>
        <pc:spChg chg="mod">
          <ac:chgData name="Paul LEGEARD" userId="S::paul.legeard_tribu-conseil.com#ext#@cacommun.onmicrosoft.com::d93005c4-da71-4b00-9907-059060be94dc" providerId="AD" clId="Web-{4ED39413-F7F0-481E-A211-6ECF53508C78}" dt="2023-06-21T14:04:50.693" v="1" actId="1076"/>
          <ac:spMkLst>
            <pc:docMk/>
            <pc:sldMk cId="3442962359" sldId="2147471282"/>
            <ac:spMk id="56" creationId="{D6345895-FCCF-464E-A461-AE1EC67DB377}"/>
          </ac:spMkLst>
        </pc:spChg>
      </pc:sldChg>
    </pc:docChg>
  </pc:docChgLst>
  <pc:docChgLst>
    <pc:chgData name="GATINOIS Laure (CA-GIP)" userId="838c54ea-ee48-466c-b4f7-0d0937afa3c0" providerId="ADAL" clId="{F1BE4575-4B97-496F-B3A9-8FCAA2E3D1B0}"/>
    <pc:docChg chg="undo custSel addSld modSld">
      <pc:chgData name="GATINOIS Laure (CA-GIP)" userId="838c54ea-ee48-466c-b4f7-0d0937afa3c0" providerId="ADAL" clId="{F1BE4575-4B97-496F-B3A9-8FCAA2E3D1B0}" dt="2023-06-20T13:52:20.815" v="906" actId="20577"/>
      <pc:docMkLst>
        <pc:docMk/>
      </pc:docMkLst>
      <pc:sldChg chg="addSp delSp modSp mod">
        <pc:chgData name="GATINOIS Laure (CA-GIP)" userId="838c54ea-ee48-466c-b4f7-0d0937afa3c0" providerId="ADAL" clId="{F1BE4575-4B97-496F-B3A9-8FCAA2E3D1B0}" dt="2023-06-09T08:36:06.339" v="765" actId="20577"/>
        <pc:sldMkLst>
          <pc:docMk/>
          <pc:sldMk cId="1760373903" sldId="2147469841"/>
        </pc:sldMkLst>
        <pc:spChg chg="del">
          <ac:chgData name="GATINOIS Laure (CA-GIP)" userId="838c54ea-ee48-466c-b4f7-0d0937afa3c0" providerId="ADAL" clId="{F1BE4575-4B97-496F-B3A9-8FCAA2E3D1B0}" dt="2023-06-09T08:32:50.849" v="723" actId="478"/>
          <ac:spMkLst>
            <pc:docMk/>
            <pc:sldMk cId="1760373903" sldId="2147469841"/>
            <ac:spMk id="30" creationId="{78B194D7-15F9-AA8F-2EA9-6439FD1E0173}"/>
          </ac:spMkLst>
        </pc:spChg>
        <pc:spChg chg="add mod">
          <ac:chgData name="GATINOIS Laure (CA-GIP)" userId="838c54ea-ee48-466c-b4f7-0d0937afa3c0" providerId="ADAL" clId="{F1BE4575-4B97-496F-B3A9-8FCAA2E3D1B0}" dt="2023-06-09T08:35:57.688" v="764" actId="1076"/>
          <ac:spMkLst>
            <pc:docMk/>
            <pc:sldMk cId="1760373903" sldId="2147469841"/>
            <ac:spMk id="31" creationId="{CB30CDD0-F1E9-41E1-91FF-09A76AF5CE86}"/>
          </ac:spMkLst>
        </pc:spChg>
        <pc:spChg chg="del">
          <ac:chgData name="GATINOIS Laure (CA-GIP)" userId="838c54ea-ee48-466c-b4f7-0d0937afa3c0" providerId="ADAL" clId="{F1BE4575-4B97-496F-B3A9-8FCAA2E3D1B0}" dt="2023-06-09T08:32:50.849" v="723" actId="478"/>
          <ac:spMkLst>
            <pc:docMk/>
            <pc:sldMk cId="1760373903" sldId="2147469841"/>
            <ac:spMk id="33" creationId="{EB02F68B-EBE3-521D-DE4A-94F879C554B8}"/>
          </ac:spMkLst>
        </pc:spChg>
        <pc:spChg chg="del">
          <ac:chgData name="GATINOIS Laure (CA-GIP)" userId="838c54ea-ee48-466c-b4f7-0d0937afa3c0" providerId="ADAL" clId="{F1BE4575-4B97-496F-B3A9-8FCAA2E3D1B0}" dt="2023-06-09T08:32:50.849" v="723" actId="478"/>
          <ac:spMkLst>
            <pc:docMk/>
            <pc:sldMk cId="1760373903" sldId="2147469841"/>
            <ac:spMk id="35" creationId="{ADF1B308-7460-FFC5-260E-F1FC1FF0D5C8}"/>
          </ac:spMkLst>
        </pc:spChg>
        <pc:spChg chg="del">
          <ac:chgData name="GATINOIS Laure (CA-GIP)" userId="838c54ea-ee48-466c-b4f7-0d0937afa3c0" providerId="ADAL" clId="{F1BE4575-4B97-496F-B3A9-8FCAA2E3D1B0}" dt="2023-06-09T08:32:50.849" v="723" actId="478"/>
          <ac:spMkLst>
            <pc:docMk/>
            <pc:sldMk cId="1760373903" sldId="2147469841"/>
            <ac:spMk id="36" creationId="{FDDAAC05-93FA-8296-946E-B7751540B890}"/>
          </ac:spMkLst>
        </pc:spChg>
        <pc:spChg chg="del">
          <ac:chgData name="GATINOIS Laure (CA-GIP)" userId="838c54ea-ee48-466c-b4f7-0d0937afa3c0" providerId="ADAL" clId="{F1BE4575-4B97-496F-B3A9-8FCAA2E3D1B0}" dt="2023-06-09T08:32:50.849" v="723" actId="478"/>
          <ac:spMkLst>
            <pc:docMk/>
            <pc:sldMk cId="1760373903" sldId="2147469841"/>
            <ac:spMk id="43" creationId="{400D9F00-900F-86DC-335F-04AB80FB983B}"/>
          </ac:spMkLst>
        </pc:spChg>
        <pc:spChg chg="del">
          <ac:chgData name="GATINOIS Laure (CA-GIP)" userId="838c54ea-ee48-466c-b4f7-0d0937afa3c0" providerId="ADAL" clId="{F1BE4575-4B97-496F-B3A9-8FCAA2E3D1B0}" dt="2023-06-09T08:32:50.849" v="723" actId="478"/>
          <ac:spMkLst>
            <pc:docMk/>
            <pc:sldMk cId="1760373903" sldId="2147469841"/>
            <ac:spMk id="46" creationId="{2B626DA8-3BB7-913D-E7A8-A40502962A8F}"/>
          </ac:spMkLst>
        </pc:spChg>
        <pc:graphicFrameChg chg="add mod modGraphic">
          <ac:chgData name="GATINOIS Laure (CA-GIP)" userId="838c54ea-ee48-466c-b4f7-0d0937afa3c0" providerId="ADAL" clId="{F1BE4575-4B97-496F-B3A9-8FCAA2E3D1B0}" dt="2023-06-09T08:36:06.339" v="765" actId="20577"/>
          <ac:graphicFrameMkLst>
            <pc:docMk/>
            <pc:sldMk cId="1760373903" sldId="2147469841"/>
            <ac:graphicFrameMk id="2" creationId="{E51D1F7B-6CFC-4317-84D4-8A3D0668FC86}"/>
          </ac:graphicFrameMkLst>
        </pc:graphicFrameChg>
        <pc:graphicFrameChg chg="add mod modGraphic">
          <ac:chgData name="GATINOIS Laure (CA-GIP)" userId="838c54ea-ee48-466c-b4f7-0d0937afa3c0" providerId="ADAL" clId="{F1BE4575-4B97-496F-B3A9-8FCAA2E3D1B0}" dt="2023-06-09T08:35:54.858" v="763" actId="14100"/>
          <ac:graphicFrameMkLst>
            <pc:docMk/>
            <pc:sldMk cId="1760373903" sldId="2147469841"/>
            <ac:graphicFrameMk id="22" creationId="{FF5A5D32-3B52-48DD-BBBF-6218995AEB3B}"/>
          </ac:graphicFrameMkLst>
        </pc:graphicFrameChg>
        <pc:graphicFrameChg chg="del">
          <ac:chgData name="GATINOIS Laure (CA-GIP)" userId="838c54ea-ee48-466c-b4f7-0d0937afa3c0" providerId="ADAL" clId="{F1BE4575-4B97-496F-B3A9-8FCAA2E3D1B0}" dt="2023-06-09T08:32:50.849" v="723" actId="478"/>
          <ac:graphicFrameMkLst>
            <pc:docMk/>
            <pc:sldMk cId="1760373903" sldId="2147469841"/>
            <ac:graphicFrameMk id="39" creationId="{D8C7AB8B-28B9-3A46-57B1-D9686F30BAEA}"/>
          </ac:graphicFrameMkLst>
        </pc:graphicFrameChg>
        <pc:picChg chg="del">
          <ac:chgData name="GATINOIS Laure (CA-GIP)" userId="838c54ea-ee48-466c-b4f7-0d0937afa3c0" providerId="ADAL" clId="{F1BE4575-4B97-496F-B3A9-8FCAA2E3D1B0}" dt="2023-06-09T08:32:50.849" v="723" actId="478"/>
          <ac:picMkLst>
            <pc:docMk/>
            <pc:sldMk cId="1760373903" sldId="2147469841"/>
            <ac:picMk id="29" creationId="{FA6B84E7-AF47-CCA4-5722-C8B32A84A2E5}"/>
          </ac:picMkLst>
        </pc:picChg>
        <pc:picChg chg="del">
          <ac:chgData name="GATINOIS Laure (CA-GIP)" userId="838c54ea-ee48-466c-b4f7-0d0937afa3c0" providerId="ADAL" clId="{F1BE4575-4B97-496F-B3A9-8FCAA2E3D1B0}" dt="2023-06-09T08:32:50.849" v="723" actId="478"/>
          <ac:picMkLst>
            <pc:docMk/>
            <pc:sldMk cId="1760373903" sldId="2147469841"/>
            <ac:picMk id="40" creationId="{C51D75F5-4DDE-F5F0-81E6-1DEFA34F31C0}"/>
          </ac:picMkLst>
        </pc:picChg>
        <pc:picChg chg="del">
          <ac:chgData name="GATINOIS Laure (CA-GIP)" userId="838c54ea-ee48-466c-b4f7-0d0937afa3c0" providerId="ADAL" clId="{F1BE4575-4B97-496F-B3A9-8FCAA2E3D1B0}" dt="2023-06-09T08:32:50.849" v="723" actId="478"/>
          <ac:picMkLst>
            <pc:docMk/>
            <pc:sldMk cId="1760373903" sldId="2147469841"/>
            <ac:picMk id="41" creationId="{15D736C2-E729-D6BA-3B76-52062802A551}"/>
          </ac:picMkLst>
        </pc:picChg>
        <pc:picChg chg="del">
          <ac:chgData name="GATINOIS Laure (CA-GIP)" userId="838c54ea-ee48-466c-b4f7-0d0937afa3c0" providerId="ADAL" clId="{F1BE4575-4B97-496F-B3A9-8FCAA2E3D1B0}" dt="2023-06-09T08:32:50.849" v="723" actId="478"/>
          <ac:picMkLst>
            <pc:docMk/>
            <pc:sldMk cId="1760373903" sldId="2147469841"/>
            <ac:picMk id="42" creationId="{347BBDBB-9955-8239-F42B-179B90FCE4B7}"/>
          </ac:picMkLst>
        </pc:picChg>
        <pc:picChg chg="del">
          <ac:chgData name="GATINOIS Laure (CA-GIP)" userId="838c54ea-ee48-466c-b4f7-0d0937afa3c0" providerId="ADAL" clId="{F1BE4575-4B97-496F-B3A9-8FCAA2E3D1B0}" dt="2023-06-09T08:32:50.849" v="723" actId="478"/>
          <ac:picMkLst>
            <pc:docMk/>
            <pc:sldMk cId="1760373903" sldId="2147469841"/>
            <ac:picMk id="45" creationId="{53EF7CD6-A7C3-B9AF-B112-499F8ADBD17A}"/>
          </ac:picMkLst>
        </pc:picChg>
      </pc:sldChg>
      <pc:sldChg chg="modSp mod">
        <pc:chgData name="GATINOIS Laure (CA-GIP)" userId="838c54ea-ee48-466c-b4f7-0d0937afa3c0" providerId="ADAL" clId="{F1BE4575-4B97-496F-B3A9-8FCAA2E3D1B0}" dt="2023-06-09T10:12:43.255" v="834" actId="20577"/>
        <pc:sldMkLst>
          <pc:docMk/>
          <pc:sldMk cId="3151543047" sldId="2147469874"/>
        </pc:sldMkLst>
        <pc:spChg chg="mod">
          <ac:chgData name="GATINOIS Laure (CA-GIP)" userId="838c54ea-ee48-466c-b4f7-0d0937afa3c0" providerId="ADAL" clId="{F1BE4575-4B97-496F-B3A9-8FCAA2E3D1B0}" dt="2023-06-09T10:12:43.255" v="834" actId="20577"/>
          <ac:spMkLst>
            <pc:docMk/>
            <pc:sldMk cId="3151543047" sldId="2147469874"/>
            <ac:spMk id="10" creationId="{8358D74C-4804-E26A-A663-A72EC1B44D29}"/>
          </ac:spMkLst>
        </pc:spChg>
      </pc:sldChg>
      <pc:sldChg chg="modSp mod">
        <pc:chgData name="GATINOIS Laure (CA-GIP)" userId="838c54ea-ee48-466c-b4f7-0d0937afa3c0" providerId="ADAL" clId="{F1BE4575-4B97-496F-B3A9-8FCAA2E3D1B0}" dt="2023-06-09T08:29:19.640" v="721" actId="20577"/>
        <pc:sldMkLst>
          <pc:docMk/>
          <pc:sldMk cId="3600605660" sldId="2147471278"/>
        </pc:sldMkLst>
        <pc:spChg chg="mod">
          <ac:chgData name="GATINOIS Laure (CA-GIP)" userId="838c54ea-ee48-466c-b4f7-0d0937afa3c0" providerId="ADAL" clId="{F1BE4575-4B97-496F-B3A9-8FCAA2E3D1B0}" dt="2023-06-09T08:29:19.640" v="721" actId="20577"/>
          <ac:spMkLst>
            <pc:docMk/>
            <pc:sldMk cId="3600605660" sldId="2147471278"/>
            <ac:spMk id="4" creationId="{52AFB3F8-88A7-4D69-8A52-45D00774625C}"/>
          </ac:spMkLst>
        </pc:spChg>
      </pc:sldChg>
      <pc:sldChg chg="addSp delSp modSp new mod">
        <pc:chgData name="GATINOIS Laure (CA-GIP)" userId="838c54ea-ee48-466c-b4f7-0d0937afa3c0" providerId="ADAL" clId="{F1BE4575-4B97-496F-B3A9-8FCAA2E3D1B0}" dt="2023-06-09T08:26:44.581" v="713" actId="20577"/>
        <pc:sldMkLst>
          <pc:docMk/>
          <pc:sldMk cId="2912895374" sldId="2147471279"/>
        </pc:sldMkLst>
        <pc:spChg chg="del">
          <ac:chgData name="GATINOIS Laure (CA-GIP)" userId="838c54ea-ee48-466c-b4f7-0d0937afa3c0" providerId="ADAL" clId="{F1BE4575-4B97-496F-B3A9-8FCAA2E3D1B0}" dt="2023-06-09T08:00:03.027" v="2" actId="478"/>
          <ac:spMkLst>
            <pc:docMk/>
            <pc:sldMk cId="2912895374" sldId="2147471279"/>
            <ac:spMk id="2" creationId="{E9518B7D-BC9A-4262-A583-89C8CBB08FB3}"/>
          </ac:spMkLst>
        </pc:spChg>
        <pc:spChg chg="del">
          <ac:chgData name="GATINOIS Laure (CA-GIP)" userId="838c54ea-ee48-466c-b4f7-0d0937afa3c0" providerId="ADAL" clId="{F1BE4575-4B97-496F-B3A9-8FCAA2E3D1B0}" dt="2023-06-09T08:00:00.845" v="1" actId="478"/>
          <ac:spMkLst>
            <pc:docMk/>
            <pc:sldMk cId="2912895374" sldId="2147471279"/>
            <ac:spMk id="3" creationId="{888536A4-DA55-4D44-9B52-69B3DECFEB21}"/>
          </ac:spMkLst>
        </pc:spChg>
        <pc:spChg chg="mod">
          <ac:chgData name="GATINOIS Laure (CA-GIP)" userId="838c54ea-ee48-466c-b4f7-0d0937afa3c0" providerId="ADAL" clId="{F1BE4575-4B97-496F-B3A9-8FCAA2E3D1B0}" dt="2023-06-09T08:05:12.707" v="290" actId="1076"/>
          <ac:spMkLst>
            <pc:docMk/>
            <pc:sldMk cId="2912895374" sldId="2147471279"/>
            <ac:spMk id="5" creationId="{B94A40B7-1DF4-4311-907A-C69AA462E98F}"/>
          </ac:spMkLst>
        </pc:spChg>
        <pc:spChg chg="mod">
          <ac:chgData name="GATINOIS Laure (CA-GIP)" userId="838c54ea-ee48-466c-b4f7-0d0937afa3c0" providerId="ADAL" clId="{F1BE4575-4B97-496F-B3A9-8FCAA2E3D1B0}" dt="2023-06-09T08:05:12.707" v="290" actId="1076"/>
          <ac:spMkLst>
            <pc:docMk/>
            <pc:sldMk cId="2912895374" sldId="2147471279"/>
            <ac:spMk id="6" creationId="{B31D4F90-CECC-490E-AFB9-CDFC5896E767}"/>
          </ac:spMkLst>
        </pc:spChg>
        <pc:spChg chg="add mod">
          <ac:chgData name="GATINOIS Laure (CA-GIP)" userId="838c54ea-ee48-466c-b4f7-0d0937afa3c0" providerId="ADAL" clId="{F1BE4575-4B97-496F-B3A9-8FCAA2E3D1B0}" dt="2023-06-09T08:15:57.496" v="697" actId="1076"/>
          <ac:spMkLst>
            <pc:docMk/>
            <pc:sldMk cId="2912895374" sldId="2147471279"/>
            <ac:spMk id="7" creationId="{23CD0DBA-A717-4E6D-A6A9-91E5E418EFB0}"/>
          </ac:spMkLst>
        </pc:spChg>
        <pc:spChg chg="add mod">
          <ac:chgData name="GATINOIS Laure (CA-GIP)" userId="838c54ea-ee48-466c-b4f7-0d0937afa3c0" providerId="ADAL" clId="{F1BE4575-4B97-496F-B3A9-8FCAA2E3D1B0}" dt="2023-06-09T08:12:55.050" v="606"/>
          <ac:spMkLst>
            <pc:docMk/>
            <pc:sldMk cId="2912895374" sldId="2147471279"/>
            <ac:spMk id="8" creationId="{90E9473B-84B1-4FCA-BAFA-C04653819DC3}"/>
          </ac:spMkLst>
        </pc:spChg>
        <pc:spChg chg="add mod">
          <ac:chgData name="GATINOIS Laure (CA-GIP)" userId="838c54ea-ee48-466c-b4f7-0d0937afa3c0" providerId="ADAL" clId="{F1BE4575-4B97-496F-B3A9-8FCAA2E3D1B0}" dt="2023-06-09T08:15:10.585" v="695" actId="14100"/>
          <ac:spMkLst>
            <pc:docMk/>
            <pc:sldMk cId="2912895374" sldId="2147471279"/>
            <ac:spMk id="9" creationId="{46C549B4-8423-42B0-8F81-A733075837E5}"/>
          </ac:spMkLst>
        </pc:spChg>
        <pc:spChg chg="add mod">
          <ac:chgData name="GATINOIS Laure (CA-GIP)" userId="838c54ea-ee48-466c-b4f7-0d0937afa3c0" providerId="ADAL" clId="{F1BE4575-4B97-496F-B3A9-8FCAA2E3D1B0}" dt="2023-06-09T08:26:44.581" v="713" actId="20577"/>
          <ac:spMkLst>
            <pc:docMk/>
            <pc:sldMk cId="2912895374" sldId="2147471279"/>
            <ac:spMk id="10" creationId="{862065CE-A149-4961-91C3-409F886BDCBB}"/>
          </ac:spMkLst>
        </pc:spChg>
        <pc:spChg chg="add mod">
          <ac:chgData name="GATINOIS Laure (CA-GIP)" userId="838c54ea-ee48-466c-b4f7-0d0937afa3c0" providerId="ADAL" clId="{F1BE4575-4B97-496F-B3A9-8FCAA2E3D1B0}" dt="2023-06-09T08:15:03.999" v="694" actId="20577"/>
          <ac:spMkLst>
            <pc:docMk/>
            <pc:sldMk cId="2912895374" sldId="2147471279"/>
            <ac:spMk id="11" creationId="{7D2C3BA2-03AC-45A2-87C8-FF66D3B8FE7F}"/>
          </ac:spMkLst>
        </pc:spChg>
        <pc:spChg chg="add mod">
          <ac:chgData name="GATINOIS Laure (CA-GIP)" userId="838c54ea-ee48-466c-b4f7-0d0937afa3c0" providerId="ADAL" clId="{F1BE4575-4B97-496F-B3A9-8FCAA2E3D1B0}" dt="2023-06-09T08:15:17.351" v="696" actId="688"/>
          <ac:spMkLst>
            <pc:docMk/>
            <pc:sldMk cId="2912895374" sldId="2147471279"/>
            <ac:spMk id="12" creationId="{5B864E1A-45BD-4192-B53D-BD36CDFECC0A}"/>
          </ac:spMkLst>
        </pc:spChg>
        <pc:spChg chg="add mod">
          <ac:chgData name="GATINOIS Laure (CA-GIP)" userId="838c54ea-ee48-466c-b4f7-0d0937afa3c0" providerId="ADAL" clId="{F1BE4575-4B97-496F-B3A9-8FCAA2E3D1B0}" dt="2023-06-09T08:10:35.646" v="496" actId="1076"/>
          <ac:spMkLst>
            <pc:docMk/>
            <pc:sldMk cId="2912895374" sldId="2147471279"/>
            <ac:spMk id="13" creationId="{77795033-10C1-420F-946E-EF78B7C92ED7}"/>
          </ac:spMkLst>
        </pc:spChg>
        <pc:spChg chg="add del mod">
          <ac:chgData name="GATINOIS Laure (CA-GIP)" userId="838c54ea-ee48-466c-b4f7-0d0937afa3c0" providerId="ADAL" clId="{F1BE4575-4B97-496F-B3A9-8FCAA2E3D1B0}" dt="2023-06-09T08:05:33.313" v="293" actId="478"/>
          <ac:spMkLst>
            <pc:docMk/>
            <pc:sldMk cId="2912895374" sldId="2147471279"/>
            <ac:spMk id="14" creationId="{418FA75B-38D2-4E23-991B-1C475793C882}"/>
          </ac:spMkLst>
        </pc:spChg>
        <pc:spChg chg="add mod">
          <ac:chgData name="GATINOIS Laure (CA-GIP)" userId="838c54ea-ee48-466c-b4f7-0d0937afa3c0" providerId="ADAL" clId="{F1BE4575-4B97-496F-B3A9-8FCAA2E3D1B0}" dt="2023-06-09T08:08:33.478" v="372" actId="1076"/>
          <ac:spMkLst>
            <pc:docMk/>
            <pc:sldMk cId="2912895374" sldId="2147471279"/>
            <ac:spMk id="15" creationId="{C9E039ED-2AA1-4A75-8405-9F70742397C1}"/>
          </ac:spMkLst>
        </pc:spChg>
        <pc:spChg chg="add del mod">
          <ac:chgData name="GATINOIS Laure (CA-GIP)" userId="838c54ea-ee48-466c-b4f7-0d0937afa3c0" providerId="ADAL" clId="{F1BE4575-4B97-496F-B3A9-8FCAA2E3D1B0}" dt="2023-06-09T08:05:47.447" v="297" actId="478"/>
          <ac:spMkLst>
            <pc:docMk/>
            <pc:sldMk cId="2912895374" sldId="2147471279"/>
            <ac:spMk id="16" creationId="{5D38FCA8-19EC-4884-8696-D397D4551064}"/>
          </ac:spMkLst>
        </pc:spChg>
        <pc:spChg chg="add mod">
          <ac:chgData name="GATINOIS Laure (CA-GIP)" userId="838c54ea-ee48-466c-b4f7-0d0937afa3c0" providerId="ADAL" clId="{F1BE4575-4B97-496F-B3A9-8FCAA2E3D1B0}" dt="2023-06-09T08:06:15.400" v="302" actId="14100"/>
          <ac:spMkLst>
            <pc:docMk/>
            <pc:sldMk cId="2912895374" sldId="2147471279"/>
            <ac:spMk id="17" creationId="{750845B3-07AD-418D-83FC-C4F38104E495}"/>
          </ac:spMkLst>
        </pc:spChg>
        <pc:spChg chg="add del mod">
          <ac:chgData name="GATINOIS Laure (CA-GIP)" userId="838c54ea-ee48-466c-b4f7-0d0937afa3c0" providerId="ADAL" clId="{F1BE4575-4B97-496F-B3A9-8FCAA2E3D1B0}" dt="2023-06-09T08:06:30.063" v="305"/>
          <ac:spMkLst>
            <pc:docMk/>
            <pc:sldMk cId="2912895374" sldId="2147471279"/>
            <ac:spMk id="18" creationId="{9B51C5C7-496B-4F04-A042-8F1848DBC18A}"/>
          </ac:spMkLst>
        </pc:spChg>
        <pc:spChg chg="add del mod">
          <ac:chgData name="GATINOIS Laure (CA-GIP)" userId="838c54ea-ee48-466c-b4f7-0d0937afa3c0" providerId="ADAL" clId="{F1BE4575-4B97-496F-B3A9-8FCAA2E3D1B0}" dt="2023-06-09T08:06:34.228" v="307"/>
          <ac:spMkLst>
            <pc:docMk/>
            <pc:sldMk cId="2912895374" sldId="2147471279"/>
            <ac:spMk id="19" creationId="{0E69A6DD-25C9-44C9-BFF6-DDD0AEA091DB}"/>
          </ac:spMkLst>
        </pc:spChg>
        <pc:spChg chg="add mod">
          <ac:chgData name="GATINOIS Laure (CA-GIP)" userId="838c54ea-ee48-466c-b4f7-0d0937afa3c0" providerId="ADAL" clId="{F1BE4575-4B97-496F-B3A9-8FCAA2E3D1B0}" dt="2023-06-09T08:06:52.049" v="311" actId="1076"/>
          <ac:spMkLst>
            <pc:docMk/>
            <pc:sldMk cId="2912895374" sldId="2147471279"/>
            <ac:spMk id="20" creationId="{EAA60585-FB0A-449D-BB23-9C9C59792DC3}"/>
          </ac:spMkLst>
        </pc:spChg>
        <pc:spChg chg="add mod">
          <ac:chgData name="GATINOIS Laure (CA-GIP)" userId="838c54ea-ee48-466c-b4f7-0d0937afa3c0" providerId="ADAL" clId="{F1BE4575-4B97-496F-B3A9-8FCAA2E3D1B0}" dt="2023-06-09T08:08:04.843" v="347" actId="14100"/>
          <ac:spMkLst>
            <pc:docMk/>
            <pc:sldMk cId="2912895374" sldId="2147471279"/>
            <ac:spMk id="21" creationId="{26F25400-92C9-4875-A92D-0EEB1F6E897F}"/>
          </ac:spMkLst>
        </pc:spChg>
        <pc:spChg chg="add mod">
          <ac:chgData name="GATINOIS Laure (CA-GIP)" userId="838c54ea-ee48-466c-b4f7-0d0937afa3c0" providerId="ADAL" clId="{F1BE4575-4B97-496F-B3A9-8FCAA2E3D1B0}" dt="2023-06-09T08:07:40.206" v="338" actId="1076"/>
          <ac:spMkLst>
            <pc:docMk/>
            <pc:sldMk cId="2912895374" sldId="2147471279"/>
            <ac:spMk id="22" creationId="{223755E7-A90C-4814-8723-659BD1EF0050}"/>
          </ac:spMkLst>
        </pc:spChg>
        <pc:spChg chg="add mod">
          <ac:chgData name="GATINOIS Laure (CA-GIP)" userId="838c54ea-ee48-466c-b4f7-0d0937afa3c0" providerId="ADAL" clId="{F1BE4575-4B97-496F-B3A9-8FCAA2E3D1B0}" dt="2023-06-09T08:07:50.244" v="342" actId="20577"/>
          <ac:spMkLst>
            <pc:docMk/>
            <pc:sldMk cId="2912895374" sldId="2147471279"/>
            <ac:spMk id="23" creationId="{C8F560E5-24DE-4E5B-BAD6-85C6FA33962F}"/>
          </ac:spMkLst>
        </pc:spChg>
        <pc:spChg chg="add mod">
          <ac:chgData name="GATINOIS Laure (CA-GIP)" userId="838c54ea-ee48-466c-b4f7-0d0937afa3c0" providerId="ADAL" clId="{F1BE4575-4B97-496F-B3A9-8FCAA2E3D1B0}" dt="2023-06-09T08:16:00.309" v="698" actId="1076"/>
          <ac:spMkLst>
            <pc:docMk/>
            <pc:sldMk cId="2912895374" sldId="2147471279"/>
            <ac:spMk id="24" creationId="{3ABB51AD-4D68-4397-98C4-7714DCCF6EA6}"/>
          </ac:spMkLst>
        </pc:spChg>
        <pc:spChg chg="add mod">
          <ac:chgData name="GATINOIS Laure (CA-GIP)" userId="838c54ea-ee48-466c-b4f7-0d0937afa3c0" providerId="ADAL" clId="{F1BE4575-4B97-496F-B3A9-8FCAA2E3D1B0}" dt="2023-06-09T08:10:42.811" v="506" actId="5793"/>
          <ac:spMkLst>
            <pc:docMk/>
            <pc:sldMk cId="2912895374" sldId="2147471279"/>
            <ac:spMk id="25" creationId="{F6F43AEE-3CBB-4CAD-A353-4A926570F3EF}"/>
          </ac:spMkLst>
        </pc:spChg>
        <pc:spChg chg="add mod">
          <ac:chgData name="GATINOIS Laure (CA-GIP)" userId="838c54ea-ee48-466c-b4f7-0d0937afa3c0" providerId="ADAL" clId="{F1BE4575-4B97-496F-B3A9-8FCAA2E3D1B0}" dt="2023-06-09T08:10:57.190" v="510" actId="1076"/>
          <ac:spMkLst>
            <pc:docMk/>
            <pc:sldMk cId="2912895374" sldId="2147471279"/>
            <ac:spMk id="26" creationId="{D62710B7-11E1-413D-BA17-16DE8ED2402F}"/>
          </ac:spMkLst>
        </pc:spChg>
        <pc:spChg chg="add mod">
          <ac:chgData name="GATINOIS Laure (CA-GIP)" userId="838c54ea-ee48-466c-b4f7-0d0937afa3c0" providerId="ADAL" clId="{F1BE4575-4B97-496F-B3A9-8FCAA2E3D1B0}" dt="2023-06-09T08:12:02.173" v="547" actId="20577"/>
          <ac:spMkLst>
            <pc:docMk/>
            <pc:sldMk cId="2912895374" sldId="2147471279"/>
            <ac:spMk id="27" creationId="{2865F840-D196-4E72-8580-CAAE46BD90F3}"/>
          </ac:spMkLst>
        </pc:spChg>
        <pc:spChg chg="add mod">
          <ac:chgData name="GATINOIS Laure (CA-GIP)" userId="838c54ea-ee48-466c-b4f7-0d0937afa3c0" providerId="ADAL" clId="{F1BE4575-4B97-496F-B3A9-8FCAA2E3D1B0}" dt="2023-06-09T08:13:17.025" v="614" actId="1076"/>
          <ac:spMkLst>
            <pc:docMk/>
            <pc:sldMk cId="2912895374" sldId="2147471279"/>
            <ac:spMk id="28" creationId="{BD601A1C-AD54-40D0-A17A-27D07722F118}"/>
          </ac:spMkLst>
        </pc:spChg>
        <pc:spChg chg="add mod">
          <ac:chgData name="GATINOIS Laure (CA-GIP)" userId="838c54ea-ee48-466c-b4f7-0d0937afa3c0" providerId="ADAL" clId="{F1BE4575-4B97-496F-B3A9-8FCAA2E3D1B0}" dt="2023-06-09T08:14:14.275" v="685" actId="20577"/>
          <ac:spMkLst>
            <pc:docMk/>
            <pc:sldMk cId="2912895374" sldId="2147471279"/>
            <ac:spMk id="29" creationId="{A4863FFC-9A21-4802-93EF-3E9C87EF5C35}"/>
          </ac:spMkLst>
        </pc:spChg>
        <pc:spChg chg="add mod">
          <ac:chgData name="GATINOIS Laure (CA-GIP)" userId="838c54ea-ee48-466c-b4f7-0d0937afa3c0" providerId="ADAL" clId="{F1BE4575-4B97-496F-B3A9-8FCAA2E3D1B0}" dt="2023-06-09T08:19:23.714" v="701" actId="14100"/>
          <ac:spMkLst>
            <pc:docMk/>
            <pc:sldMk cId="2912895374" sldId="2147471279"/>
            <ac:spMk id="30" creationId="{F9EA0667-41F6-42E8-A593-FA06A4A3A673}"/>
          </ac:spMkLst>
        </pc:spChg>
      </pc:sldChg>
      <pc:sldChg chg="addSp delSp modSp add mod">
        <pc:chgData name="GATINOIS Laure (CA-GIP)" userId="838c54ea-ee48-466c-b4f7-0d0937afa3c0" providerId="ADAL" clId="{F1BE4575-4B97-496F-B3A9-8FCAA2E3D1B0}" dt="2023-06-09T08:36:26.841" v="766" actId="478"/>
        <pc:sldMkLst>
          <pc:docMk/>
          <pc:sldMk cId="2574754570" sldId="2147471280"/>
        </pc:sldMkLst>
        <pc:graphicFrameChg chg="add del mod">
          <ac:chgData name="GATINOIS Laure (CA-GIP)" userId="838c54ea-ee48-466c-b4f7-0d0937afa3c0" providerId="ADAL" clId="{F1BE4575-4B97-496F-B3A9-8FCAA2E3D1B0}" dt="2023-06-09T08:36:26.841" v="766" actId="478"/>
          <ac:graphicFrameMkLst>
            <pc:docMk/>
            <pc:sldMk cId="2574754570" sldId="2147471280"/>
            <ac:graphicFrameMk id="31" creationId="{C32885D2-EDA1-4FE8-A1C8-36FF6801526C}"/>
          </ac:graphicFrameMkLst>
        </pc:graphicFrameChg>
      </pc:sldChg>
      <pc:sldChg chg="modSp mod">
        <pc:chgData name="GATINOIS Laure (CA-GIP)" userId="838c54ea-ee48-466c-b4f7-0d0937afa3c0" providerId="ADAL" clId="{F1BE4575-4B97-496F-B3A9-8FCAA2E3D1B0}" dt="2023-06-09T10:17:17.257" v="902" actId="20577"/>
        <pc:sldMkLst>
          <pc:docMk/>
          <pc:sldMk cId="4273655780" sldId="2147471280"/>
        </pc:sldMkLst>
        <pc:spChg chg="mod">
          <ac:chgData name="GATINOIS Laure (CA-GIP)" userId="838c54ea-ee48-466c-b4f7-0d0937afa3c0" providerId="ADAL" clId="{F1BE4575-4B97-496F-B3A9-8FCAA2E3D1B0}" dt="2023-06-09T10:14:12.237" v="839" actId="208"/>
          <ac:spMkLst>
            <pc:docMk/>
            <pc:sldMk cId="4273655780" sldId="2147471280"/>
            <ac:spMk id="3" creationId="{D2E94A04-15CC-EF08-C19D-25E493102900}"/>
          </ac:spMkLst>
        </pc:spChg>
        <pc:spChg chg="mod">
          <ac:chgData name="GATINOIS Laure (CA-GIP)" userId="838c54ea-ee48-466c-b4f7-0d0937afa3c0" providerId="ADAL" clId="{F1BE4575-4B97-496F-B3A9-8FCAA2E3D1B0}" dt="2023-06-09T10:14:35.687" v="841" actId="207"/>
          <ac:spMkLst>
            <pc:docMk/>
            <pc:sldMk cId="4273655780" sldId="2147471280"/>
            <ac:spMk id="5" creationId="{A9456968-FB4D-4B9F-DAA1-57908F93CD69}"/>
          </ac:spMkLst>
        </pc:spChg>
        <pc:spChg chg="mod">
          <ac:chgData name="GATINOIS Laure (CA-GIP)" userId="838c54ea-ee48-466c-b4f7-0d0937afa3c0" providerId="ADAL" clId="{F1BE4575-4B97-496F-B3A9-8FCAA2E3D1B0}" dt="2023-06-09T10:14:20.126" v="840" actId="207"/>
          <ac:spMkLst>
            <pc:docMk/>
            <pc:sldMk cId="4273655780" sldId="2147471280"/>
            <ac:spMk id="65" creationId="{8E8A5FA6-C467-6187-9179-912B42B3BA50}"/>
          </ac:spMkLst>
        </pc:spChg>
        <pc:spChg chg="mod">
          <ac:chgData name="GATINOIS Laure (CA-GIP)" userId="838c54ea-ee48-466c-b4f7-0d0937afa3c0" providerId="ADAL" clId="{F1BE4575-4B97-496F-B3A9-8FCAA2E3D1B0}" dt="2023-06-09T10:14:38.509" v="842" actId="207"/>
          <ac:spMkLst>
            <pc:docMk/>
            <pc:sldMk cId="4273655780" sldId="2147471280"/>
            <ac:spMk id="66" creationId="{6D08FCD8-9DFD-84F3-9223-6FC4587D5AD4}"/>
          </ac:spMkLst>
        </pc:spChg>
        <pc:spChg chg="mod">
          <ac:chgData name="GATINOIS Laure (CA-GIP)" userId="838c54ea-ee48-466c-b4f7-0d0937afa3c0" providerId="ADAL" clId="{F1BE4575-4B97-496F-B3A9-8FCAA2E3D1B0}" dt="2023-06-09T10:11:34.707" v="829" actId="20577"/>
          <ac:spMkLst>
            <pc:docMk/>
            <pc:sldMk cId="4273655780" sldId="2147471280"/>
            <ac:spMk id="67" creationId="{51C7E8FE-8196-9822-4DBC-CF620ABA1B00}"/>
          </ac:spMkLst>
        </pc:spChg>
        <pc:spChg chg="mod">
          <ac:chgData name="GATINOIS Laure (CA-GIP)" userId="838c54ea-ee48-466c-b4f7-0d0937afa3c0" providerId="ADAL" clId="{F1BE4575-4B97-496F-B3A9-8FCAA2E3D1B0}" dt="2023-06-09T10:17:17.257" v="902" actId="20577"/>
          <ac:spMkLst>
            <pc:docMk/>
            <pc:sldMk cId="4273655780" sldId="2147471280"/>
            <ac:spMk id="93" creationId="{C4B66C5D-7CAF-9291-6097-B645CF6D0533}"/>
          </ac:spMkLst>
        </pc:spChg>
        <pc:spChg chg="mod">
          <ac:chgData name="GATINOIS Laure (CA-GIP)" userId="838c54ea-ee48-466c-b4f7-0d0937afa3c0" providerId="ADAL" clId="{F1BE4575-4B97-496F-B3A9-8FCAA2E3D1B0}" dt="2023-06-09T10:15:13.456" v="847" actId="20577"/>
          <ac:spMkLst>
            <pc:docMk/>
            <pc:sldMk cId="4273655780" sldId="2147471280"/>
            <ac:spMk id="95" creationId="{620E570B-8B29-BA10-E1DC-E9979E34B19C}"/>
          </ac:spMkLst>
        </pc:spChg>
        <pc:spChg chg="mod">
          <ac:chgData name="GATINOIS Laure (CA-GIP)" userId="838c54ea-ee48-466c-b4f7-0d0937afa3c0" providerId="ADAL" clId="{F1BE4575-4B97-496F-B3A9-8FCAA2E3D1B0}" dt="2023-06-09T10:16:37.889" v="899" actId="20577"/>
          <ac:spMkLst>
            <pc:docMk/>
            <pc:sldMk cId="4273655780" sldId="2147471280"/>
            <ac:spMk id="101" creationId="{D0C6F070-E475-B288-9F11-6547C0A1CA24}"/>
          </ac:spMkLst>
        </pc:spChg>
        <pc:grpChg chg="mod">
          <ac:chgData name="GATINOIS Laure (CA-GIP)" userId="838c54ea-ee48-466c-b4f7-0d0937afa3c0" providerId="ADAL" clId="{F1BE4575-4B97-496F-B3A9-8FCAA2E3D1B0}" dt="2023-06-09T10:16:29.979" v="886" actId="14100"/>
          <ac:grpSpMkLst>
            <pc:docMk/>
            <pc:sldMk cId="4273655780" sldId="2147471280"/>
            <ac:grpSpMk id="100" creationId="{35D14364-0046-137E-8B34-01F69E889036}"/>
          </ac:grpSpMkLst>
        </pc:grpChg>
      </pc:sldChg>
      <pc:sldChg chg="modSp mod">
        <pc:chgData name="GATINOIS Laure (CA-GIP)" userId="838c54ea-ee48-466c-b4f7-0d0937afa3c0" providerId="ADAL" clId="{F1BE4575-4B97-496F-B3A9-8FCAA2E3D1B0}" dt="2023-06-20T13:52:20.815" v="906" actId="20577"/>
        <pc:sldMkLst>
          <pc:docMk/>
          <pc:sldMk cId="3600652313" sldId="2147471288"/>
        </pc:sldMkLst>
        <pc:graphicFrameChg chg="modGraphic">
          <ac:chgData name="GATINOIS Laure (CA-GIP)" userId="838c54ea-ee48-466c-b4f7-0d0937afa3c0" providerId="ADAL" clId="{F1BE4575-4B97-496F-B3A9-8FCAA2E3D1B0}" dt="2023-06-20T13:52:20.815" v="906" actId="20577"/>
          <ac:graphicFrameMkLst>
            <pc:docMk/>
            <pc:sldMk cId="3600652313" sldId="2147471288"/>
            <ac:graphicFrameMk id="5" creationId="{7D8E5C88-0B5B-5061-4ACC-4F44631A7E82}"/>
          </ac:graphicFrameMkLst>
        </pc:graphicFrameChg>
      </pc:sldChg>
    </pc:docChg>
  </pc:docChgLst>
  <pc:docChgLst>
    <pc:chgData name="Paul LEGEARD" userId="S::paul.legeard_tribu-conseil.com#ext#@cacommun.onmicrosoft.com::d93005c4-da71-4b00-9907-059060be94dc" providerId="AD" clId="Web-{7A740751-1DE7-4820-A9DC-2D44AA48EFB5}"/>
    <pc:docChg chg="modSld">
      <pc:chgData name="Paul LEGEARD" userId="S::paul.legeard_tribu-conseil.com#ext#@cacommun.onmicrosoft.com::d93005c4-da71-4b00-9907-059060be94dc" providerId="AD" clId="Web-{7A740751-1DE7-4820-A9DC-2D44AA48EFB5}" dt="2023-09-27T12:31:21.901" v="131" actId="20577"/>
      <pc:docMkLst>
        <pc:docMk/>
      </pc:docMkLst>
      <pc:sldChg chg="addSp delSp modSp">
        <pc:chgData name="Paul LEGEARD" userId="S::paul.legeard_tribu-conseil.com#ext#@cacommun.onmicrosoft.com::d93005c4-da71-4b00-9907-059060be94dc" providerId="AD" clId="Web-{7A740751-1DE7-4820-A9DC-2D44AA48EFB5}" dt="2023-09-27T12:31:21.901" v="131" actId="20577"/>
        <pc:sldMkLst>
          <pc:docMk/>
          <pc:sldMk cId="1428402382" sldId="2147471330"/>
        </pc:sldMkLst>
        <pc:spChg chg="add mod">
          <ac:chgData name="Paul LEGEARD" userId="S::paul.legeard_tribu-conseil.com#ext#@cacommun.onmicrosoft.com::d93005c4-da71-4b00-9907-059060be94dc" providerId="AD" clId="Web-{7A740751-1DE7-4820-A9DC-2D44AA48EFB5}" dt="2023-09-27T12:30:30.991" v="84" actId="20577"/>
          <ac:spMkLst>
            <pc:docMk/>
            <pc:sldMk cId="1428402382" sldId="2147471330"/>
            <ac:spMk id="4" creationId="{1416F2CA-3DDF-7D90-43B2-81D4A06EB397}"/>
          </ac:spMkLst>
        </pc:spChg>
        <pc:spChg chg="add del mod">
          <ac:chgData name="Paul LEGEARD" userId="S::paul.legeard_tribu-conseil.com#ext#@cacommun.onmicrosoft.com::d93005c4-da71-4b00-9907-059060be94dc" providerId="AD" clId="Web-{7A740751-1DE7-4820-A9DC-2D44AA48EFB5}" dt="2023-09-27T12:30:25.225" v="69"/>
          <ac:spMkLst>
            <pc:docMk/>
            <pc:sldMk cId="1428402382" sldId="2147471330"/>
            <ac:spMk id="5" creationId="{31370438-0FB2-C0D9-E6A0-29C646EC7423}"/>
          </ac:spMkLst>
        </pc:spChg>
        <pc:spChg chg="add mod">
          <ac:chgData name="Paul LEGEARD" userId="S::paul.legeard_tribu-conseil.com#ext#@cacommun.onmicrosoft.com::d93005c4-da71-4b00-9907-059060be94dc" providerId="AD" clId="Web-{7A740751-1DE7-4820-A9DC-2D44AA48EFB5}" dt="2023-09-27T12:29:56.567" v="12" actId="20577"/>
          <ac:spMkLst>
            <pc:docMk/>
            <pc:sldMk cId="1428402382" sldId="2147471330"/>
            <ac:spMk id="14" creationId="{E592AE45-506F-7E04-2673-55FFAACCCFAA}"/>
          </ac:spMkLst>
        </pc:spChg>
        <pc:spChg chg="add mod">
          <ac:chgData name="Paul LEGEARD" userId="S::paul.legeard_tribu-conseil.com#ext#@cacommun.onmicrosoft.com::d93005c4-da71-4b00-9907-059060be94dc" providerId="AD" clId="Web-{7A740751-1DE7-4820-A9DC-2D44AA48EFB5}" dt="2023-09-27T12:31:21.901" v="131" actId="20577"/>
          <ac:spMkLst>
            <pc:docMk/>
            <pc:sldMk cId="1428402382" sldId="2147471330"/>
            <ac:spMk id="15" creationId="{9310DA14-7E29-05A9-6BAB-014FF53EAF16}"/>
          </ac:spMkLst>
        </pc:spChg>
        <pc:spChg chg="add mod">
          <ac:chgData name="Paul LEGEARD" userId="S::paul.legeard_tribu-conseil.com#ext#@cacommun.onmicrosoft.com::d93005c4-da71-4b00-9907-059060be94dc" providerId="AD" clId="Web-{7A740751-1DE7-4820-A9DC-2D44AA48EFB5}" dt="2023-09-27T12:30:58.165" v="98" actId="20577"/>
          <ac:spMkLst>
            <pc:docMk/>
            <pc:sldMk cId="1428402382" sldId="2147471330"/>
            <ac:spMk id="25" creationId="{4806E9E8-2675-D2B4-21A3-C56433D11C2E}"/>
          </ac:spMkLst>
        </pc:spChg>
      </pc:sldChg>
    </pc:docChg>
  </pc:docChgLst>
  <pc:docChgLst>
    <pc:chgData name="Paul LEGEARD" userId="73b5704d-da1d-4b70-8e12-6d54d32b01a3" providerId="ADAL" clId="{7E21ABAC-2CC9-43D2-B356-F36799891C85}"/>
    <pc:docChg chg="undo custSel addSld delSld modSld sldOrd delSection modSection">
      <pc:chgData name="Paul LEGEARD" userId="73b5704d-da1d-4b70-8e12-6d54d32b01a3" providerId="ADAL" clId="{7E21ABAC-2CC9-43D2-B356-F36799891C85}" dt="2023-04-04T08:09:12.269" v="9613" actId="572"/>
      <pc:docMkLst>
        <pc:docMk/>
      </pc:docMkLst>
      <pc:sldChg chg="addSp delSp modSp del mod ord modNotesTx">
        <pc:chgData name="Paul LEGEARD" userId="73b5704d-da1d-4b70-8e12-6d54d32b01a3" providerId="ADAL" clId="{7E21ABAC-2CC9-43D2-B356-F36799891C85}" dt="2023-03-29T13:24:15.789" v="7715" actId="47"/>
        <pc:sldMkLst>
          <pc:docMk/>
          <pc:sldMk cId="4285589144" sldId="272"/>
        </pc:sldMkLst>
        <pc:spChg chg="del mod">
          <ac:chgData name="Paul LEGEARD" userId="73b5704d-da1d-4b70-8e12-6d54d32b01a3" providerId="ADAL" clId="{7E21ABAC-2CC9-43D2-B356-F36799891C85}" dt="2023-03-29T07:41:18.949" v="563" actId="478"/>
          <ac:spMkLst>
            <pc:docMk/>
            <pc:sldMk cId="4285589144" sldId="272"/>
            <ac:spMk id="2" creationId="{70DFD3DA-903A-AA08-96E0-3A5C17BFF08D}"/>
          </ac:spMkLst>
        </pc:spChg>
        <pc:spChg chg="del">
          <ac:chgData name="Paul LEGEARD" userId="73b5704d-da1d-4b70-8e12-6d54d32b01a3" providerId="ADAL" clId="{7E21ABAC-2CC9-43D2-B356-F36799891C85}" dt="2023-03-29T07:41:18.949" v="563" actId="478"/>
          <ac:spMkLst>
            <pc:docMk/>
            <pc:sldMk cId="4285589144" sldId="272"/>
            <ac:spMk id="3" creationId="{3F824071-304F-9167-CCFF-2F0CF2932980}"/>
          </ac:spMkLst>
        </pc:spChg>
        <pc:spChg chg="del">
          <ac:chgData name="Paul LEGEARD" userId="73b5704d-da1d-4b70-8e12-6d54d32b01a3" providerId="ADAL" clId="{7E21ABAC-2CC9-43D2-B356-F36799891C85}" dt="2023-03-29T07:41:18.949" v="563" actId="478"/>
          <ac:spMkLst>
            <pc:docMk/>
            <pc:sldMk cId="4285589144" sldId="272"/>
            <ac:spMk id="4" creationId="{FE256AB3-185B-0765-A3DC-8B128712A5A4}"/>
          </ac:spMkLst>
        </pc:spChg>
        <pc:spChg chg="mod">
          <ac:chgData name="Paul LEGEARD" userId="73b5704d-da1d-4b70-8e12-6d54d32b01a3" providerId="ADAL" clId="{7E21ABAC-2CC9-43D2-B356-F36799891C85}" dt="2023-03-29T12:44:10.386" v="6071" actId="164"/>
          <ac:spMkLst>
            <pc:docMk/>
            <pc:sldMk cId="4285589144" sldId="272"/>
            <ac:spMk id="7" creationId="{59BCFFF0-477D-4D31-924D-84A55F1BEDEE}"/>
          </ac:spMkLst>
        </pc:spChg>
        <pc:spChg chg="del mod">
          <ac:chgData name="Paul LEGEARD" userId="73b5704d-da1d-4b70-8e12-6d54d32b01a3" providerId="ADAL" clId="{7E21ABAC-2CC9-43D2-B356-F36799891C85}" dt="2023-03-29T07:42:23.355" v="589"/>
          <ac:spMkLst>
            <pc:docMk/>
            <pc:sldMk cId="4285589144" sldId="272"/>
            <ac:spMk id="8" creationId="{2997F0F1-FCC6-4C93-894D-7126CF1B266A}"/>
          </ac:spMkLst>
        </pc:spChg>
        <pc:spChg chg="del mod">
          <ac:chgData name="Paul LEGEARD" userId="73b5704d-da1d-4b70-8e12-6d54d32b01a3" providerId="ADAL" clId="{7E21ABAC-2CC9-43D2-B356-F36799891C85}" dt="2023-03-29T07:43:56.958" v="615"/>
          <ac:spMkLst>
            <pc:docMk/>
            <pc:sldMk cId="4285589144" sldId="272"/>
            <ac:spMk id="9" creationId="{AC166BAE-16E2-4B7C-8F5C-B1E687422AF0}"/>
          </ac:spMkLst>
        </pc:spChg>
        <pc:spChg chg="del">
          <ac:chgData name="Paul LEGEARD" userId="73b5704d-da1d-4b70-8e12-6d54d32b01a3" providerId="ADAL" clId="{7E21ABAC-2CC9-43D2-B356-F36799891C85}" dt="2023-03-29T07:41:27.608" v="566" actId="478"/>
          <ac:spMkLst>
            <pc:docMk/>
            <pc:sldMk cId="4285589144" sldId="272"/>
            <ac:spMk id="10" creationId="{0FC80396-C522-4D69-9BBC-335B7687716C}"/>
          </ac:spMkLst>
        </pc:spChg>
        <pc:spChg chg="add del mod">
          <ac:chgData name="Paul LEGEARD" userId="73b5704d-da1d-4b70-8e12-6d54d32b01a3" providerId="ADAL" clId="{7E21ABAC-2CC9-43D2-B356-F36799891C85}" dt="2023-03-29T07:44:20.645" v="627"/>
          <ac:spMkLst>
            <pc:docMk/>
            <pc:sldMk cId="4285589144" sldId="272"/>
            <ac:spMk id="11" creationId="{7D5ED08E-0DDE-654F-84FB-A410307EEFDC}"/>
          </ac:spMkLst>
        </pc:spChg>
        <pc:spChg chg="add mod">
          <ac:chgData name="Paul LEGEARD" userId="73b5704d-da1d-4b70-8e12-6d54d32b01a3" providerId="ADAL" clId="{7E21ABAC-2CC9-43D2-B356-F36799891C85}" dt="2023-03-29T12:44:23.277" v="6073" actId="164"/>
          <ac:spMkLst>
            <pc:docMk/>
            <pc:sldMk cId="4285589144" sldId="272"/>
            <ac:spMk id="12" creationId="{7D99FEB7-91E2-F52D-4DCC-E4DD34DD25EB}"/>
          </ac:spMkLst>
        </pc:spChg>
        <pc:spChg chg="add mod">
          <ac:chgData name="Paul LEGEARD" userId="73b5704d-da1d-4b70-8e12-6d54d32b01a3" providerId="ADAL" clId="{7E21ABAC-2CC9-43D2-B356-F36799891C85}" dt="2023-03-29T12:44:35.695" v="6075" actId="164"/>
          <ac:spMkLst>
            <pc:docMk/>
            <pc:sldMk cId="4285589144" sldId="272"/>
            <ac:spMk id="13" creationId="{222F7E56-9146-FD44-0BBC-1E44CC75C309}"/>
          </ac:spMkLst>
        </pc:spChg>
        <pc:spChg chg="del">
          <ac:chgData name="Paul LEGEARD" userId="73b5704d-da1d-4b70-8e12-6d54d32b01a3" providerId="ADAL" clId="{7E21ABAC-2CC9-43D2-B356-F36799891C85}" dt="2023-03-29T07:41:18.949" v="563" actId="478"/>
          <ac:spMkLst>
            <pc:docMk/>
            <pc:sldMk cId="4285589144" sldId="272"/>
            <ac:spMk id="14" creationId="{6A8E6958-96A9-4C60-823C-08F1CEFFFEBF}"/>
          </ac:spMkLst>
        </pc:spChg>
        <pc:spChg chg="del">
          <ac:chgData name="Paul LEGEARD" userId="73b5704d-da1d-4b70-8e12-6d54d32b01a3" providerId="ADAL" clId="{7E21ABAC-2CC9-43D2-B356-F36799891C85}" dt="2023-03-29T07:41:59.877" v="579" actId="478"/>
          <ac:spMkLst>
            <pc:docMk/>
            <pc:sldMk cId="4285589144" sldId="272"/>
            <ac:spMk id="15" creationId="{2ECABDA0-D5B2-4C84-98D4-91D58FDF3628}"/>
          </ac:spMkLst>
        </pc:spChg>
        <pc:spChg chg="add mod">
          <ac:chgData name="Paul LEGEARD" userId="73b5704d-da1d-4b70-8e12-6d54d32b01a3" providerId="ADAL" clId="{7E21ABAC-2CC9-43D2-B356-F36799891C85}" dt="2023-03-29T12:44:29.809" v="6074" actId="164"/>
          <ac:spMkLst>
            <pc:docMk/>
            <pc:sldMk cId="4285589144" sldId="272"/>
            <ac:spMk id="16" creationId="{C4DB43A7-E514-37D7-2E97-FEA8171B42CE}"/>
          </ac:spMkLst>
        </pc:spChg>
        <pc:spChg chg="add mod">
          <ac:chgData name="Paul LEGEARD" userId="73b5704d-da1d-4b70-8e12-6d54d32b01a3" providerId="ADAL" clId="{7E21ABAC-2CC9-43D2-B356-F36799891C85}" dt="2023-03-29T12:44:10.386" v="6071" actId="164"/>
          <ac:spMkLst>
            <pc:docMk/>
            <pc:sldMk cId="4285589144" sldId="272"/>
            <ac:spMk id="17" creationId="{A6E0DE38-32CC-89FF-A1B7-84117D4825E0}"/>
          </ac:spMkLst>
        </pc:spChg>
        <pc:spChg chg="add mod">
          <ac:chgData name="Paul LEGEARD" userId="73b5704d-da1d-4b70-8e12-6d54d32b01a3" providerId="ADAL" clId="{7E21ABAC-2CC9-43D2-B356-F36799891C85}" dt="2023-03-29T12:44:23.277" v="6073" actId="164"/>
          <ac:spMkLst>
            <pc:docMk/>
            <pc:sldMk cId="4285589144" sldId="272"/>
            <ac:spMk id="18" creationId="{B9EC97AA-0F81-81C4-F9E2-7C5CD3F439E5}"/>
          </ac:spMkLst>
        </pc:spChg>
        <pc:spChg chg="add mod">
          <ac:chgData name="Paul LEGEARD" userId="73b5704d-da1d-4b70-8e12-6d54d32b01a3" providerId="ADAL" clId="{7E21ABAC-2CC9-43D2-B356-F36799891C85}" dt="2023-03-29T12:44:35.695" v="6075" actId="164"/>
          <ac:spMkLst>
            <pc:docMk/>
            <pc:sldMk cId="4285589144" sldId="272"/>
            <ac:spMk id="19" creationId="{B44FFF47-3EF7-45C1-AA12-84DD82FC794B}"/>
          </ac:spMkLst>
        </pc:spChg>
        <pc:spChg chg="add mod">
          <ac:chgData name="Paul LEGEARD" userId="73b5704d-da1d-4b70-8e12-6d54d32b01a3" providerId="ADAL" clId="{7E21ABAC-2CC9-43D2-B356-F36799891C85}" dt="2023-03-29T12:44:29.809" v="6074" actId="164"/>
          <ac:spMkLst>
            <pc:docMk/>
            <pc:sldMk cId="4285589144" sldId="272"/>
            <ac:spMk id="20" creationId="{FDEEE074-FD8C-0798-28FD-58754316CEFC}"/>
          </ac:spMkLst>
        </pc:spChg>
        <pc:spChg chg="add mod">
          <ac:chgData name="Paul LEGEARD" userId="73b5704d-da1d-4b70-8e12-6d54d32b01a3" providerId="ADAL" clId="{7E21ABAC-2CC9-43D2-B356-F36799891C85}" dt="2023-03-29T12:44:16.058" v="6072" actId="164"/>
          <ac:spMkLst>
            <pc:docMk/>
            <pc:sldMk cId="4285589144" sldId="272"/>
            <ac:spMk id="21" creationId="{B7FB3C49-F4EF-A186-D9B6-0105F09BF570}"/>
          </ac:spMkLst>
        </pc:spChg>
        <pc:spChg chg="add mod">
          <ac:chgData name="Paul LEGEARD" userId="73b5704d-da1d-4b70-8e12-6d54d32b01a3" providerId="ADAL" clId="{7E21ABAC-2CC9-43D2-B356-F36799891C85}" dt="2023-03-29T12:44:16.058" v="6072" actId="164"/>
          <ac:spMkLst>
            <pc:docMk/>
            <pc:sldMk cId="4285589144" sldId="272"/>
            <ac:spMk id="22" creationId="{A117FC4D-8BD5-42EA-B7A0-DECA181A541B}"/>
          </ac:spMkLst>
        </pc:spChg>
        <pc:spChg chg="del mod">
          <ac:chgData name="Paul LEGEARD" userId="73b5704d-da1d-4b70-8e12-6d54d32b01a3" providerId="ADAL" clId="{7E21ABAC-2CC9-43D2-B356-F36799891C85}" dt="2023-03-29T07:41:18.949" v="563" actId="478"/>
          <ac:spMkLst>
            <pc:docMk/>
            <pc:sldMk cId="4285589144" sldId="272"/>
            <ac:spMk id="26" creationId="{9D1EEE4B-78EC-48E1-AFA6-106DD357A33D}"/>
          </ac:spMkLst>
        </pc:spChg>
        <pc:spChg chg="del">
          <ac:chgData name="Paul LEGEARD" userId="73b5704d-da1d-4b70-8e12-6d54d32b01a3" providerId="ADAL" clId="{7E21ABAC-2CC9-43D2-B356-F36799891C85}" dt="2023-03-29T07:41:18.949" v="563" actId="478"/>
          <ac:spMkLst>
            <pc:docMk/>
            <pc:sldMk cId="4285589144" sldId="272"/>
            <ac:spMk id="32" creationId="{39ACA408-FBE5-45D0-A102-1D42EB9FC067}"/>
          </ac:spMkLst>
        </pc:spChg>
        <pc:spChg chg="del mod">
          <ac:chgData name="Paul LEGEARD" userId="73b5704d-da1d-4b70-8e12-6d54d32b01a3" providerId="ADAL" clId="{7E21ABAC-2CC9-43D2-B356-F36799891C85}" dt="2023-03-29T07:42:40.673" v="597"/>
          <ac:spMkLst>
            <pc:docMk/>
            <pc:sldMk cId="4285589144" sldId="272"/>
            <ac:spMk id="36" creationId="{E957C0EF-18D3-4002-AE6E-7D92CDED9514}"/>
          </ac:spMkLst>
        </pc:spChg>
        <pc:spChg chg="mod">
          <ac:chgData name="Paul LEGEARD" userId="73b5704d-da1d-4b70-8e12-6d54d32b01a3" providerId="ADAL" clId="{7E21ABAC-2CC9-43D2-B356-F36799891C85}" dt="2023-03-29T09:09:51.210" v="3789" actId="20577"/>
          <ac:spMkLst>
            <pc:docMk/>
            <pc:sldMk cId="4285589144" sldId="272"/>
            <ac:spMk id="79" creationId="{9007893F-DE3F-4277-8B72-135CF4773651}"/>
          </ac:spMkLst>
        </pc:spChg>
        <pc:grpChg chg="add mod">
          <ac:chgData name="Paul LEGEARD" userId="73b5704d-da1d-4b70-8e12-6d54d32b01a3" providerId="ADAL" clId="{7E21ABAC-2CC9-43D2-B356-F36799891C85}" dt="2023-03-29T12:44:10.386" v="6071" actId="164"/>
          <ac:grpSpMkLst>
            <pc:docMk/>
            <pc:sldMk cId="4285589144" sldId="272"/>
            <ac:grpSpMk id="2" creationId="{C474635C-59D7-3AC9-BE3F-9D18DE083204}"/>
          </ac:grpSpMkLst>
        </pc:grpChg>
        <pc:grpChg chg="add mod">
          <ac:chgData name="Paul LEGEARD" userId="73b5704d-da1d-4b70-8e12-6d54d32b01a3" providerId="ADAL" clId="{7E21ABAC-2CC9-43D2-B356-F36799891C85}" dt="2023-03-29T12:44:16.058" v="6072" actId="164"/>
          <ac:grpSpMkLst>
            <pc:docMk/>
            <pc:sldMk cId="4285589144" sldId="272"/>
            <ac:grpSpMk id="3" creationId="{9FC5ECC7-66B0-CC5C-1B40-3254CBB390AA}"/>
          </ac:grpSpMkLst>
        </pc:grpChg>
        <pc:grpChg chg="add mod">
          <ac:chgData name="Paul LEGEARD" userId="73b5704d-da1d-4b70-8e12-6d54d32b01a3" providerId="ADAL" clId="{7E21ABAC-2CC9-43D2-B356-F36799891C85}" dt="2023-03-29T12:44:23.277" v="6073" actId="164"/>
          <ac:grpSpMkLst>
            <pc:docMk/>
            <pc:sldMk cId="4285589144" sldId="272"/>
            <ac:grpSpMk id="4" creationId="{217AD1FD-6A77-18A7-42FE-7C0E9899B555}"/>
          </ac:grpSpMkLst>
        </pc:grpChg>
        <pc:grpChg chg="add mod">
          <ac:chgData name="Paul LEGEARD" userId="73b5704d-da1d-4b70-8e12-6d54d32b01a3" providerId="ADAL" clId="{7E21ABAC-2CC9-43D2-B356-F36799891C85}" dt="2023-03-29T12:44:29.809" v="6074" actId="164"/>
          <ac:grpSpMkLst>
            <pc:docMk/>
            <pc:sldMk cId="4285589144" sldId="272"/>
            <ac:grpSpMk id="8" creationId="{E4D946E0-5C3E-C709-1A92-C653CEAC6FDA}"/>
          </ac:grpSpMkLst>
        </pc:grpChg>
        <pc:grpChg chg="add mod">
          <ac:chgData name="Paul LEGEARD" userId="73b5704d-da1d-4b70-8e12-6d54d32b01a3" providerId="ADAL" clId="{7E21ABAC-2CC9-43D2-B356-F36799891C85}" dt="2023-03-29T12:44:38.591" v="6076" actId="1036"/>
          <ac:grpSpMkLst>
            <pc:docMk/>
            <pc:sldMk cId="4285589144" sldId="272"/>
            <ac:grpSpMk id="9" creationId="{491520EA-D0B0-5932-8735-CA04F20594F1}"/>
          </ac:grpSpMkLst>
        </pc:grpChg>
        <pc:picChg chg="del mod">
          <ac:chgData name="Paul LEGEARD" userId="73b5704d-da1d-4b70-8e12-6d54d32b01a3" providerId="ADAL" clId="{7E21ABAC-2CC9-43D2-B356-F36799891C85}" dt="2023-03-29T07:46:37.436" v="678" actId="478"/>
          <ac:picMkLst>
            <pc:docMk/>
            <pc:sldMk cId="4285589144" sldId="272"/>
            <ac:picMk id="37" creationId="{B8996DF7-A6D8-6274-4C96-5C33ED910DE0}"/>
          </ac:picMkLst>
        </pc:picChg>
      </pc:sldChg>
      <pc:sldChg chg="add del">
        <pc:chgData name="Paul LEGEARD" userId="73b5704d-da1d-4b70-8e12-6d54d32b01a3" providerId="ADAL" clId="{7E21ABAC-2CC9-43D2-B356-F36799891C85}" dt="2023-03-29T07:41:00.053" v="562" actId="47"/>
        <pc:sldMkLst>
          <pc:docMk/>
          <pc:sldMk cId="3502700992" sldId="1218"/>
        </pc:sldMkLst>
      </pc:sldChg>
      <pc:sldChg chg="modSp mod ord">
        <pc:chgData name="Paul LEGEARD" userId="73b5704d-da1d-4b70-8e12-6d54d32b01a3" providerId="ADAL" clId="{7E21ABAC-2CC9-43D2-B356-F36799891C85}" dt="2023-04-04T07:41:08.904" v="9200" actId="20577"/>
        <pc:sldMkLst>
          <pc:docMk/>
          <pc:sldMk cId="447334412" sldId="2146849061"/>
        </pc:sldMkLst>
        <pc:spChg chg="mod">
          <ac:chgData name="Paul LEGEARD" userId="73b5704d-da1d-4b70-8e12-6d54d32b01a3" providerId="ADAL" clId="{7E21ABAC-2CC9-43D2-B356-F36799891C85}" dt="2023-04-04T07:41:08.904" v="9200" actId="20577"/>
          <ac:spMkLst>
            <pc:docMk/>
            <pc:sldMk cId="447334412" sldId="2146849061"/>
            <ac:spMk id="3" creationId="{5651475B-1860-4269-9502-E1ED8141E2C6}"/>
          </ac:spMkLst>
        </pc:spChg>
        <pc:spChg chg="mod">
          <ac:chgData name="Paul LEGEARD" userId="73b5704d-da1d-4b70-8e12-6d54d32b01a3" providerId="ADAL" clId="{7E21ABAC-2CC9-43D2-B356-F36799891C85}" dt="2023-03-29T13:20:16.249" v="7535" actId="1076"/>
          <ac:spMkLst>
            <pc:docMk/>
            <pc:sldMk cId="447334412" sldId="2146849061"/>
            <ac:spMk id="4" creationId="{52AFB3F8-88A7-4D69-8A52-45D00774625C}"/>
          </ac:spMkLst>
        </pc:spChg>
        <pc:spChg chg="mod">
          <ac:chgData name="Paul LEGEARD" userId="73b5704d-da1d-4b70-8e12-6d54d32b01a3" providerId="ADAL" clId="{7E21ABAC-2CC9-43D2-B356-F36799891C85}" dt="2023-03-31T09:56:44.888" v="8853" actId="1035"/>
          <ac:spMkLst>
            <pc:docMk/>
            <pc:sldMk cId="447334412" sldId="2146849061"/>
            <ac:spMk id="7" creationId="{DA1AD9D0-5909-417F-B4DB-54B90712406C}"/>
          </ac:spMkLst>
        </pc:spChg>
      </pc:sldChg>
      <pc:sldChg chg="del">
        <pc:chgData name="Paul LEGEARD" userId="73b5704d-da1d-4b70-8e12-6d54d32b01a3" providerId="ADAL" clId="{7E21ABAC-2CC9-43D2-B356-F36799891C85}" dt="2023-03-29T07:50:40.216" v="852" actId="47"/>
        <pc:sldMkLst>
          <pc:docMk/>
          <pc:sldMk cId="2778680381" sldId="2147374841"/>
        </pc:sldMkLst>
      </pc:sldChg>
      <pc:sldChg chg="addSp delSp modSp del mod ord modNotesTx">
        <pc:chgData name="Paul LEGEARD" userId="73b5704d-da1d-4b70-8e12-6d54d32b01a3" providerId="ADAL" clId="{7E21ABAC-2CC9-43D2-B356-F36799891C85}" dt="2023-03-29T13:19:58.816" v="7532" actId="47"/>
        <pc:sldMkLst>
          <pc:docMk/>
          <pc:sldMk cId="255724830" sldId="2147374864"/>
        </pc:sldMkLst>
        <pc:spChg chg="del mod">
          <ac:chgData name="Paul LEGEARD" userId="73b5704d-da1d-4b70-8e12-6d54d32b01a3" providerId="ADAL" clId="{7E21ABAC-2CC9-43D2-B356-F36799891C85}" dt="2023-03-29T08:51:37.289" v="3444" actId="478"/>
          <ac:spMkLst>
            <pc:docMk/>
            <pc:sldMk cId="255724830" sldId="2147374864"/>
            <ac:spMk id="2" creationId="{6EA44C6A-5FA1-D04E-241B-F55AACB3508E}"/>
          </ac:spMkLst>
        </pc:spChg>
        <pc:spChg chg="add mod">
          <ac:chgData name="Paul LEGEARD" userId="73b5704d-da1d-4b70-8e12-6d54d32b01a3" providerId="ADAL" clId="{7E21ABAC-2CC9-43D2-B356-F36799891C85}" dt="2023-03-29T07:47:25.463" v="757" actId="20577"/>
          <ac:spMkLst>
            <pc:docMk/>
            <pc:sldMk cId="255724830" sldId="2147374864"/>
            <ac:spMk id="3" creationId="{2542E260-657B-5A84-C560-715EE27811FF}"/>
          </ac:spMkLst>
        </pc:spChg>
        <pc:spChg chg="add mod">
          <ac:chgData name="Paul LEGEARD" userId="73b5704d-da1d-4b70-8e12-6d54d32b01a3" providerId="ADAL" clId="{7E21ABAC-2CC9-43D2-B356-F36799891C85}" dt="2023-03-29T08:54:36.372" v="3559" actId="1076"/>
          <ac:spMkLst>
            <pc:docMk/>
            <pc:sldMk cId="255724830" sldId="2147374864"/>
            <ac:spMk id="4" creationId="{FB6FF8B7-7790-209E-F2FF-2008D7A699A7}"/>
          </ac:spMkLst>
        </pc:spChg>
        <pc:spChg chg="add del mod">
          <ac:chgData name="Paul LEGEARD" userId="73b5704d-da1d-4b70-8e12-6d54d32b01a3" providerId="ADAL" clId="{7E21ABAC-2CC9-43D2-B356-F36799891C85}" dt="2023-03-29T09:22:30.029" v="4385" actId="478"/>
          <ac:spMkLst>
            <pc:docMk/>
            <pc:sldMk cId="255724830" sldId="2147374864"/>
            <ac:spMk id="7" creationId="{8A97EB6E-777B-348E-E13F-02A18E459192}"/>
          </ac:spMkLst>
        </pc:spChg>
        <pc:spChg chg="add mod">
          <ac:chgData name="Paul LEGEARD" userId="73b5704d-da1d-4b70-8e12-6d54d32b01a3" providerId="ADAL" clId="{7E21ABAC-2CC9-43D2-B356-F36799891C85}" dt="2023-03-29T09:22:41.726" v="4405" actId="20577"/>
          <ac:spMkLst>
            <pc:docMk/>
            <pc:sldMk cId="255724830" sldId="2147374864"/>
            <ac:spMk id="8" creationId="{85A3F79D-7596-1653-E0C8-D667A90BF2F7}"/>
          </ac:spMkLst>
        </pc:spChg>
        <pc:spChg chg="add mod">
          <ac:chgData name="Paul LEGEARD" userId="73b5704d-da1d-4b70-8e12-6d54d32b01a3" providerId="ADAL" clId="{7E21ABAC-2CC9-43D2-B356-F36799891C85}" dt="2023-03-29T08:54:36.372" v="3559" actId="1076"/>
          <ac:spMkLst>
            <pc:docMk/>
            <pc:sldMk cId="255724830" sldId="2147374864"/>
            <ac:spMk id="12" creationId="{577F66DB-C839-C908-DEB2-61E351A2BFCA}"/>
          </ac:spMkLst>
        </pc:spChg>
        <pc:spChg chg="add mod">
          <ac:chgData name="Paul LEGEARD" userId="73b5704d-da1d-4b70-8e12-6d54d32b01a3" providerId="ADAL" clId="{7E21ABAC-2CC9-43D2-B356-F36799891C85}" dt="2023-03-29T08:54:36.372" v="3559" actId="1076"/>
          <ac:spMkLst>
            <pc:docMk/>
            <pc:sldMk cId="255724830" sldId="2147374864"/>
            <ac:spMk id="13" creationId="{A4D64E19-7C1B-51A4-1471-8F1FAE3E5091}"/>
          </ac:spMkLst>
        </pc:spChg>
        <pc:spChg chg="add mod">
          <ac:chgData name="Paul LEGEARD" userId="73b5704d-da1d-4b70-8e12-6d54d32b01a3" providerId="ADAL" clId="{7E21ABAC-2CC9-43D2-B356-F36799891C85}" dt="2023-03-29T08:54:36.372" v="3559" actId="1076"/>
          <ac:spMkLst>
            <pc:docMk/>
            <pc:sldMk cId="255724830" sldId="2147374864"/>
            <ac:spMk id="14" creationId="{53E3E606-5D40-EEDE-50D2-6E20584C6381}"/>
          </ac:spMkLst>
        </pc:spChg>
        <pc:spChg chg="add del mod">
          <ac:chgData name="Paul LEGEARD" userId="73b5704d-da1d-4b70-8e12-6d54d32b01a3" providerId="ADAL" clId="{7E21ABAC-2CC9-43D2-B356-F36799891C85}" dt="2023-03-29T08:51:05.091" v="3392" actId="478"/>
          <ac:spMkLst>
            <pc:docMk/>
            <pc:sldMk cId="255724830" sldId="2147374864"/>
            <ac:spMk id="15" creationId="{AF7208F0-ED3F-D6AB-5997-6808217EA7F3}"/>
          </ac:spMkLst>
        </pc:spChg>
        <pc:spChg chg="add mod">
          <ac:chgData name="Paul LEGEARD" userId="73b5704d-da1d-4b70-8e12-6d54d32b01a3" providerId="ADAL" clId="{7E21ABAC-2CC9-43D2-B356-F36799891C85}" dt="2023-03-29T08:54:36.372" v="3559" actId="1076"/>
          <ac:spMkLst>
            <pc:docMk/>
            <pc:sldMk cId="255724830" sldId="2147374864"/>
            <ac:spMk id="16" creationId="{90B5451B-17D2-2A16-0E2E-C530FD72AC31}"/>
          </ac:spMkLst>
        </pc:spChg>
        <pc:spChg chg="add mod">
          <ac:chgData name="Paul LEGEARD" userId="73b5704d-da1d-4b70-8e12-6d54d32b01a3" providerId="ADAL" clId="{7E21ABAC-2CC9-43D2-B356-F36799891C85}" dt="2023-03-29T08:54:36.372" v="3559" actId="1076"/>
          <ac:spMkLst>
            <pc:docMk/>
            <pc:sldMk cId="255724830" sldId="2147374864"/>
            <ac:spMk id="18" creationId="{377FB32D-44DD-B897-7C78-9FA470F991F9}"/>
          </ac:spMkLst>
        </pc:spChg>
        <pc:spChg chg="add mod">
          <ac:chgData name="Paul LEGEARD" userId="73b5704d-da1d-4b70-8e12-6d54d32b01a3" providerId="ADAL" clId="{7E21ABAC-2CC9-43D2-B356-F36799891C85}" dt="2023-03-29T08:54:36.372" v="3559" actId="1076"/>
          <ac:spMkLst>
            <pc:docMk/>
            <pc:sldMk cId="255724830" sldId="2147374864"/>
            <ac:spMk id="19" creationId="{C3250F73-58D2-5297-770F-E349D6C7881C}"/>
          </ac:spMkLst>
        </pc:spChg>
        <pc:spChg chg="add del mod">
          <ac:chgData name="Paul LEGEARD" userId="73b5704d-da1d-4b70-8e12-6d54d32b01a3" providerId="ADAL" clId="{7E21ABAC-2CC9-43D2-B356-F36799891C85}" dt="2023-03-29T09:22:31.571" v="4386" actId="478"/>
          <ac:spMkLst>
            <pc:docMk/>
            <pc:sldMk cId="255724830" sldId="2147374864"/>
            <ac:spMk id="20" creationId="{26A79694-7127-87A4-532A-170F16714895}"/>
          </ac:spMkLst>
        </pc:spChg>
        <pc:spChg chg="add mod">
          <ac:chgData name="Paul LEGEARD" userId="73b5704d-da1d-4b70-8e12-6d54d32b01a3" providerId="ADAL" clId="{7E21ABAC-2CC9-43D2-B356-F36799891C85}" dt="2023-03-29T09:22:46.913" v="4418" actId="6549"/>
          <ac:spMkLst>
            <pc:docMk/>
            <pc:sldMk cId="255724830" sldId="2147374864"/>
            <ac:spMk id="21" creationId="{2F7565A1-5547-D3C3-FD61-26CDD9E8411F}"/>
          </ac:spMkLst>
        </pc:spChg>
        <pc:spChg chg="add mod">
          <ac:chgData name="Paul LEGEARD" userId="73b5704d-da1d-4b70-8e12-6d54d32b01a3" providerId="ADAL" clId="{7E21ABAC-2CC9-43D2-B356-F36799891C85}" dt="2023-03-29T08:54:36.372" v="3559" actId="1076"/>
          <ac:spMkLst>
            <pc:docMk/>
            <pc:sldMk cId="255724830" sldId="2147374864"/>
            <ac:spMk id="22" creationId="{CE50721D-9FFE-C0C0-7876-8B90039A92BB}"/>
          </ac:spMkLst>
        </pc:spChg>
        <pc:spChg chg="add del mod">
          <ac:chgData name="Paul LEGEARD" userId="73b5704d-da1d-4b70-8e12-6d54d32b01a3" providerId="ADAL" clId="{7E21ABAC-2CC9-43D2-B356-F36799891C85}" dt="2023-03-29T08:52:54.230" v="3485" actId="478"/>
          <ac:spMkLst>
            <pc:docMk/>
            <pc:sldMk cId="255724830" sldId="2147374864"/>
            <ac:spMk id="23" creationId="{E9231F28-88F4-ED1A-AC27-E35916664127}"/>
          </ac:spMkLst>
        </pc:spChg>
        <pc:spChg chg="add mod">
          <ac:chgData name="Paul LEGEARD" userId="73b5704d-da1d-4b70-8e12-6d54d32b01a3" providerId="ADAL" clId="{7E21ABAC-2CC9-43D2-B356-F36799891C85}" dt="2023-03-29T08:54:36.372" v="3559" actId="1076"/>
          <ac:spMkLst>
            <pc:docMk/>
            <pc:sldMk cId="255724830" sldId="2147374864"/>
            <ac:spMk id="24" creationId="{1B8DC04A-A5C7-352F-3A1D-77B5FD3718A6}"/>
          </ac:spMkLst>
        </pc:spChg>
        <pc:spChg chg="add mod">
          <ac:chgData name="Paul LEGEARD" userId="73b5704d-da1d-4b70-8e12-6d54d32b01a3" providerId="ADAL" clId="{7E21ABAC-2CC9-43D2-B356-F36799891C85}" dt="2023-03-29T08:54:36.372" v="3559" actId="1076"/>
          <ac:spMkLst>
            <pc:docMk/>
            <pc:sldMk cId="255724830" sldId="2147374864"/>
            <ac:spMk id="25" creationId="{DE5E1CC0-703A-BF03-FFA9-B3E810CB0B6E}"/>
          </ac:spMkLst>
        </pc:spChg>
        <pc:spChg chg="add mod">
          <ac:chgData name="Paul LEGEARD" userId="73b5704d-da1d-4b70-8e12-6d54d32b01a3" providerId="ADAL" clId="{7E21ABAC-2CC9-43D2-B356-F36799891C85}" dt="2023-03-29T08:54:36.372" v="3559" actId="1076"/>
          <ac:spMkLst>
            <pc:docMk/>
            <pc:sldMk cId="255724830" sldId="2147374864"/>
            <ac:spMk id="26" creationId="{910EBA45-D123-9B1F-A78B-05B21E2C2801}"/>
          </ac:spMkLst>
        </pc:spChg>
        <pc:spChg chg="add mod">
          <ac:chgData name="Paul LEGEARD" userId="73b5704d-da1d-4b70-8e12-6d54d32b01a3" providerId="ADAL" clId="{7E21ABAC-2CC9-43D2-B356-F36799891C85}" dt="2023-03-29T08:54:36.372" v="3559" actId="1076"/>
          <ac:spMkLst>
            <pc:docMk/>
            <pc:sldMk cId="255724830" sldId="2147374864"/>
            <ac:spMk id="27" creationId="{89E3A68A-CE77-B3AC-8748-5E0DFAFAC18C}"/>
          </ac:spMkLst>
        </pc:spChg>
        <pc:spChg chg="add del mod">
          <ac:chgData name="Paul LEGEARD" userId="73b5704d-da1d-4b70-8e12-6d54d32b01a3" providerId="ADAL" clId="{7E21ABAC-2CC9-43D2-B356-F36799891C85}" dt="2023-03-29T09:22:31.571" v="4386" actId="478"/>
          <ac:spMkLst>
            <pc:docMk/>
            <pc:sldMk cId="255724830" sldId="2147374864"/>
            <ac:spMk id="28" creationId="{29BDCC44-D159-DB8A-45D3-E884D77AE8A5}"/>
          </ac:spMkLst>
        </pc:spChg>
        <pc:spChg chg="add mod">
          <ac:chgData name="Paul LEGEARD" userId="73b5704d-da1d-4b70-8e12-6d54d32b01a3" providerId="ADAL" clId="{7E21ABAC-2CC9-43D2-B356-F36799891C85}" dt="2023-03-29T09:22:57.753" v="4448" actId="20577"/>
          <ac:spMkLst>
            <pc:docMk/>
            <pc:sldMk cId="255724830" sldId="2147374864"/>
            <ac:spMk id="29" creationId="{335A1348-8108-195D-0763-1470F8A839C3}"/>
          </ac:spMkLst>
        </pc:spChg>
        <pc:spChg chg="add mod">
          <ac:chgData name="Paul LEGEARD" userId="73b5704d-da1d-4b70-8e12-6d54d32b01a3" providerId="ADAL" clId="{7E21ABAC-2CC9-43D2-B356-F36799891C85}" dt="2023-03-29T09:21:50.817" v="4384" actId="20577"/>
          <ac:spMkLst>
            <pc:docMk/>
            <pc:sldMk cId="255724830" sldId="2147374864"/>
            <ac:spMk id="30" creationId="{20DA67DC-2D48-1728-1E71-812041EB162C}"/>
          </ac:spMkLst>
        </pc:spChg>
        <pc:spChg chg="add mod">
          <ac:chgData name="Paul LEGEARD" userId="73b5704d-da1d-4b70-8e12-6d54d32b01a3" providerId="ADAL" clId="{7E21ABAC-2CC9-43D2-B356-F36799891C85}" dt="2023-03-29T08:54:36.372" v="3559" actId="1076"/>
          <ac:spMkLst>
            <pc:docMk/>
            <pc:sldMk cId="255724830" sldId="2147374864"/>
            <ac:spMk id="31" creationId="{0FFBCCE8-730D-3659-4E43-0E00E519172E}"/>
          </ac:spMkLst>
        </pc:spChg>
        <pc:spChg chg="add mod">
          <ac:chgData name="Paul LEGEARD" userId="73b5704d-da1d-4b70-8e12-6d54d32b01a3" providerId="ADAL" clId="{7E21ABAC-2CC9-43D2-B356-F36799891C85}" dt="2023-03-29T08:54:36.372" v="3559" actId="1076"/>
          <ac:spMkLst>
            <pc:docMk/>
            <pc:sldMk cId="255724830" sldId="2147374864"/>
            <ac:spMk id="32" creationId="{7376F9C2-8713-2FF3-F2FA-C2CACB13F59F}"/>
          </ac:spMkLst>
        </pc:spChg>
        <pc:spChg chg="add mod">
          <ac:chgData name="Paul LEGEARD" userId="73b5704d-da1d-4b70-8e12-6d54d32b01a3" providerId="ADAL" clId="{7E21ABAC-2CC9-43D2-B356-F36799891C85}" dt="2023-03-29T08:55:44.760" v="3650" actId="313"/>
          <ac:spMkLst>
            <pc:docMk/>
            <pc:sldMk cId="255724830" sldId="2147374864"/>
            <ac:spMk id="33" creationId="{79556D07-AB02-936F-02D2-775761A71254}"/>
          </ac:spMkLst>
        </pc:spChg>
        <pc:spChg chg="add del mod">
          <ac:chgData name="Paul LEGEARD" userId="73b5704d-da1d-4b70-8e12-6d54d32b01a3" providerId="ADAL" clId="{7E21ABAC-2CC9-43D2-B356-F36799891C85}" dt="2023-03-29T09:22:51.160" v="4419" actId="478"/>
          <ac:spMkLst>
            <pc:docMk/>
            <pc:sldMk cId="255724830" sldId="2147374864"/>
            <ac:spMk id="34" creationId="{AD38917A-6115-B9A8-F5E1-B96D7D1F4D3E}"/>
          </ac:spMkLst>
        </pc:spChg>
        <pc:spChg chg="mod">
          <ac:chgData name="Paul LEGEARD" userId="73b5704d-da1d-4b70-8e12-6d54d32b01a3" providerId="ADAL" clId="{7E21ABAC-2CC9-43D2-B356-F36799891C85}" dt="2023-03-29T07:47:02.708" v="680"/>
          <ac:spMkLst>
            <pc:docMk/>
            <pc:sldMk cId="255724830" sldId="2147374864"/>
            <ac:spMk id="79" creationId="{9007893F-DE3F-4277-8B72-135CF4773651}"/>
          </ac:spMkLst>
        </pc:spChg>
        <pc:picChg chg="add del mod">
          <ac:chgData name="Paul LEGEARD" userId="73b5704d-da1d-4b70-8e12-6d54d32b01a3" providerId="ADAL" clId="{7E21ABAC-2CC9-43D2-B356-F36799891C85}" dt="2023-03-29T08:48:24.832" v="3275" actId="478"/>
          <ac:picMkLst>
            <pc:docMk/>
            <pc:sldMk cId="255724830" sldId="2147374864"/>
            <ac:picMk id="9" creationId="{6F71C9F1-A653-18EB-4F1B-D635AE23280A}"/>
          </ac:picMkLst>
        </pc:picChg>
        <pc:picChg chg="add del mod">
          <ac:chgData name="Paul LEGEARD" userId="73b5704d-da1d-4b70-8e12-6d54d32b01a3" providerId="ADAL" clId="{7E21ABAC-2CC9-43D2-B356-F36799891C85}" dt="2023-03-29T08:48:31.989" v="3278" actId="478"/>
          <ac:picMkLst>
            <pc:docMk/>
            <pc:sldMk cId="255724830" sldId="2147374864"/>
            <ac:picMk id="10" creationId="{E4084673-5F16-C57B-8183-C5E5BC8F6F59}"/>
          </ac:picMkLst>
        </pc:picChg>
        <pc:picChg chg="add del mod">
          <ac:chgData name="Paul LEGEARD" userId="73b5704d-da1d-4b70-8e12-6d54d32b01a3" providerId="ADAL" clId="{7E21ABAC-2CC9-43D2-B356-F36799891C85}" dt="2023-03-29T08:48:32.586" v="3279" actId="478"/>
          <ac:picMkLst>
            <pc:docMk/>
            <pc:sldMk cId="255724830" sldId="2147374864"/>
            <ac:picMk id="11" creationId="{A59BDC37-B8F9-2A34-8F3F-6358DACB0254}"/>
          </ac:picMkLst>
        </pc:picChg>
        <pc:picChg chg="add del mod">
          <ac:chgData name="Paul LEGEARD" userId="73b5704d-da1d-4b70-8e12-6d54d32b01a3" providerId="ADAL" clId="{7E21ABAC-2CC9-43D2-B356-F36799891C85}" dt="2023-03-29T08:51:05.091" v="3392" actId="478"/>
          <ac:picMkLst>
            <pc:docMk/>
            <pc:sldMk cId="255724830" sldId="2147374864"/>
            <ac:picMk id="17" creationId="{605BD1B2-2864-3986-C8C9-4C2AD1F4E4B8}"/>
          </ac:picMkLst>
        </pc:picChg>
        <pc:picChg chg="add del mod">
          <ac:chgData name="Paul LEGEARD" userId="73b5704d-da1d-4b70-8e12-6d54d32b01a3" providerId="ADAL" clId="{7E21ABAC-2CC9-43D2-B356-F36799891C85}" dt="2023-03-29T09:22:51.160" v="4419" actId="478"/>
          <ac:picMkLst>
            <pc:docMk/>
            <pc:sldMk cId="255724830" sldId="2147374864"/>
            <ac:picMk id="35" creationId="{60697A47-E7FC-2BA6-8711-E89F88E2438F}"/>
          </ac:picMkLst>
        </pc:picChg>
        <pc:picChg chg="add del mod">
          <ac:chgData name="Paul LEGEARD" userId="73b5704d-da1d-4b70-8e12-6d54d32b01a3" providerId="ADAL" clId="{7E21ABAC-2CC9-43D2-B356-F36799891C85}" dt="2023-03-29T09:22:51.160" v="4419" actId="478"/>
          <ac:picMkLst>
            <pc:docMk/>
            <pc:sldMk cId="255724830" sldId="2147374864"/>
            <ac:picMk id="36" creationId="{A8B927BD-5CD2-B83A-60A0-A2A28A68561A}"/>
          </ac:picMkLst>
        </pc:picChg>
        <pc:picChg chg="add del mod">
          <ac:chgData name="Paul LEGEARD" userId="73b5704d-da1d-4b70-8e12-6d54d32b01a3" providerId="ADAL" clId="{7E21ABAC-2CC9-43D2-B356-F36799891C85}" dt="2023-03-29T09:22:51.160" v="4419" actId="478"/>
          <ac:picMkLst>
            <pc:docMk/>
            <pc:sldMk cId="255724830" sldId="2147374864"/>
            <ac:picMk id="37" creationId="{403BB97D-A211-DBB5-A088-7607FF141EF1}"/>
          </ac:picMkLst>
        </pc:picChg>
        <pc:picChg chg="add mod">
          <ac:chgData name="Paul LEGEARD" userId="73b5704d-da1d-4b70-8e12-6d54d32b01a3" providerId="ADAL" clId="{7E21ABAC-2CC9-43D2-B356-F36799891C85}" dt="2023-03-29T09:23:09.644" v="4451" actId="1076"/>
          <ac:picMkLst>
            <pc:docMk/>
            <pc:sldMk cId="255724830" sldId="2147374864"/>
            <ac:picMk id="38" creationId="{E21A9AAB-6C42-A93D-BBCA-EAA5091C53AC}"/>
          </ac:picMkLst>
        </pc:picChg>
        <pc:picChg chg="add mod">
          <ac:chgData name="Paul LEGEARD" userId="73b5704d-da1d-4b70-8e12-6d54d32b01a3" providerId="ADAL" clId="{7E21ABAC-2CC9-43D2-B356-F36799891C85}" dt="2023-03-29T09:23:11.430" v="4452" actId="1076"/>
          <ac:picMkLst>
            <pc:docMk/>
            <pc:sldMk cId="255724830" sldId="2147374864"/>
            <ac:picMk id="39" creationId="{06864E40-164D-6AA6-F81F-06590EFA5F97}"/>
          </ac:picMkLst>
        </pc:picChg>
        <pc:picChg chg="add mod">
          <ac:chgData name="Paul LEGEARD" userId="73b5704d-da1d-4b70-8e12-6d54d32b01a3" providerId="ADAL" clId="{7E21ABAC-2CC9-43D2-B356-F36799891C85}" dt="2023-03-29T09:23:12.724" v="4453" actId="1076"/>
          <ac:picMkLst>
            <pc:docMk/>
            <pc:sldMk cId="255724830" sldId="2147374864"/>
            <ac:picMk id="40" creationId="{D1A19C02-8C5B-6335-5ECC-8C8C0A2562E7}"/>
          </ac:picMkLst>
        </pc:picChg>
      </pc:sldChg>
      <pc:sldChg chg="addSp delSp modSp mod ord modNotesTx">
        <pc:chgData name="Paul LEGEARD" userId="73b5704d-da1d-4b70-8e12-6d54d32b01a3" providerId="ADAL" clId="{7E21ABAC-2CC9-43D2-B356-F36799891C85}" dt="2023-04-04T07:45:34.278" v="9328" actId="207"/>
        <pc:sldMkLst>
          <pc:docMk/>
          <pc:sldMk cId="3569893162" sldId="2147374865"/>
        </pc:sldMkLst>
        <pc:spChg chg="add del mod">
          <ac:chgData name="Paul LEGEARD" userId="73b5704d-da1d-4b70-8e12-6d54d32b01a3" providerId="ADAL" clId="{7E21ABAC-2CC9-43D2-B356-F36799891C85}" dt="2023-03-29T13:19:04.415" v="7505" actId="478"/>
          <ac:spMkLst>
            <pc:docMk/>
            <pc:sldMk cId="3569893162" sldId="2147374865"/>
            <ac:spMk id="2" creationId="{963D3A05-26EF-DC35-529C-CE716C9A8B4B}"/>
          </ac:spMkLst>
        </pc:spChg>
        <pc:spChg chg="add del mod">
          <ac:chgData name="Paul LEGEARD" userId="73b5704d-da1d-4b70-8e12-6d54d32b01a3" providerId="ADAL" clId="{7E21ABAC-2CC9-43D2-B356-F36799891C85}" dt="2023-03-29T13:19:04.415" v="7505" actId="478"/>
          <ac:spMkLst>
            <pc:docMk/>
            <pc:sldMk cId="3569893162" sldId="2147374865"/>
            <ac:spMk id="3" creationId="{41168FB0-7183-14DD-A135-3D189696C402}"/>
          </ac:spMkLst>
        </pc:spChg>
        <pc:spChg chg="add del mod">
          <ac:chgData name="Paul LEGEARD" userId="73b5704d-da1d-4b70-8e12-6d54d32b01a3" providerId="ADAL" clId="{7E21ABAC-2CC9-43D2-B356-F36799891C85}" dt="2023-03-29T13:19:26.423" v="7529" actId="478"/>
          <ac:spMkLst>
            <pc:docMk/>
            <pc:sldMk cId="3569893162" sldId="2147374865"/>
            <ac:spMk id="4" creationId="{552760AE-4406-6992-BECC-44D3A3427268}"/>
          </ac:spMkLst>
        </pc:spChg>
        <pc:spChg chg="add mod">
          <ac:chgData name="Paul LEGEARD" userId="73b5704d-da1d-4b70-8e12-6d54d32b01a3" providerId="ADAL" clId="{7E21ABAC-2CC9-43D2-B356-F36799891C85}" dt="2023-03-29T13:19:14.264" v="7507" actId="14100"/>
          <ac:spMkLst>
            <pc:docMk/>
            <pc:sldMk cId="3569893162" sldId="2147374865"/>
            <ac:spMk id="5" creationId="{2360AAEC-4CAC-6DF1-6210-5D9F214C835D}"/>
          </ac:spMkLst>
        </pc:spChg>
        <pc:spChg chg="add del mod">
          <ac:chgData name="Paul LEGEARD" userId="73b5704d-da1d-4b70-8e12-6d54d32b01a3" providerId="ADAL" clId="{7E21ABAC-2CC9-43D2-B356-F36799891C85}" dt="2023-03-29T12:46:10.404" v="6088" actId="478"/>
          <ac:spMkLst>
            <pc:docMk/>
            <pc:sldMk cId="3569893162" sldId="2147374865"/>
            <ac:spMk id="6" creationId="{43C28F1F-0626-FD8F-6825-F438B9B1D4FC}"/>
          </ac:spMkLst>
        </pc:spChg>
        <pc:spChg chg="add mod">
          <ac:chgData name="Paul LEGEARD" userId="73b5704d-da1d-4b70-8e12-6d54d32b01a3" providerId="ADAL" clId="{7E21ABAC-2CC9-43D2-B356-F36799891C85}" dt="2023-04-04T07:44:31.798" v="9296" actId="1076"/>
          <ac:spMkLst>
            <pc:docMk/>
            <pc:sldMk cId="3569893162" sldId="2147374865"/>
            <ac:spMk id="7" creationId="{4D71F10D-83D5-BD15-EB01-F5B92DAB529A}"/>
          </ac:spMkLst>
        </pc:spChg>
        <pc:spChg chg="add mod">
          <ac:chgData name="Paul LEGEARD" userId="73b5704d-da1d-4b70-8e12-6d54d32b01a3" providerId="ADAL" clId="{7E21ABAC-2CC9-43D2-B356-F36799891C85}" dt="2023-03-29T13:19:01.524" v="7504" actId="113"/>
          <ac:spMkLst>
            <pc:docMk/>
            <pc:sldMk cId="3569893162" sldId="2147374865"/>
            <ac:spMk id="9" creationId="{BB997EE3-F5FF-B177-EFA1-405467ED8F13}"/>
          </ac:spMkLst>
        </pc:spChg>
        <pc:spChg chg="add mod">
          <ac:chgData name="Paul LEGEARD" userId="73b5704d-da1d-4b70-8e12-6d54d32b01a3" providerId="ADAL" clId="{7E21ABAC-2CC9-43D2-B356-F36799891C85}" dt="2023-03-29T13:19:24.597" v="7528" actId="20577"/>
          <ac:spMkLst>
            <pc:docMk/>
            <pc:sldMk cId="3569893162" sldId="2147374865"/>
            <ac:spMk id="10" creationId="{4E74B778-093B-DB0A-1C28-D5B503641FB1}"/>
          </ac:spMkLst>
        </pc:spChg>
        <pc:spChg chg="del">
          <ac:chgData name="Paul LEGEARD" userId="73b5704d-da1d-4b70-8e12-6d54d32b01a3" providerId="ADAL" clId="{7E21ABAC-2CC9-43D2-B356-F36799891C85}" dt="2023-03-29T13:18:20.760" v="7483" actId="478"/>
          <ac:spMkLst>
            <pc:docMk/>
            <pc:sldMk cId="3569893162" sldId="2147374865"/>
            <ac:spMk id="13" creationId="{0BEF1CFF-9B96-D7DC-B2C2-EF198EADA05B}"/>
          </ac:spMkLst>
        </pc:spChg>
        <pc:spChg chg="mod">
          <ac:chgData name="Paul LEGEARD" userId="73b5704d-da1d-4b70-8e12-6d54d32b01a3" providerId="ADAL" clId="{7E21ABAC-2CC9-43D2-B356-F36799891C85}" dt="2023-03-29T13:18:26.587" v="7484" actId="1076"/>
          <ac:spMkLst>
            <pc:docMk/>
            <pc:sldMk cId="3569893162" sldId="2147374865"/>
            <ac:spMk id="20" creationId="{DD937DF7-9687-6E10-EBBC-905F418EA2ED}"/>
          </ac:spMkLst>
        </pc:spChg>
        <pc:spChg chg="mod">
          <ac:chgData name="Paul LEGEARD" userId="73b5704d-da1d-4b70-8e12-6d54d32b01a3" providerId="ADAL" clId="{7E21ABAC-2CC9-43D2-B356-F36799891C85}" dt="2023-03-29T13:18:26.587" v="7484" actId="1076"/>
          <ac:spMkLst>
            <pc:docMk/>
            <pc:sldMk cId="3569893162" sldId="2147374865"/>
            <ac:spMk id="22" creationId="{7A197921-3C1E-E155-6DD7-3F5E99ED3E17}"/>
          </ac:spMkLst>
        </pc:spChg>
        <pc:spChg chg="mod">
          <ac:chgData name="Paul LEGEARD" userId="73b5704d-da1d-4b70-8e12-6d54d32b01a3" providerId="ADAL" clId="{7E21ABAC-2CC9-43D2-B356-F36799891C85}" dt="2023-03-29T13:18:26.587" v="7484" actId="1076"/>
          <ac:spMkLst>
            <pc:docMk/>
            <pc:sldMk cId="3569893162" sldId="2147374865"/>
            <ac:spMk id="23" creationId="{810B9ECC-CAFB-9599-0761-8969457FB1BC}"/>
          </ac:spMkLst>
        </pc:spChg>
        <pc:spChg chg="mod">
          <ac:chgData name="Paul LEGEARD" userId="73b5704d-da1d-4b70-8e12-6d54d32b01a3" providerId="ADAL" clId="{7E21ABAC-2CC9-43D2-B356-F36799891C85}" dt="2023-03-29T13:18:26.587" v="7484" actId="1076"/>
          <ac:spMkLst>
            <pc:docMk/>
            <pc:sldMk cId="3569893162" sldId="2147374865"/>
            <ac:spMk id="24" creationId="{1EDB947B-8462-D24E-8EDE-79A901EF5CBD}"/>
          </ac:spMkLst>
        </pc:spChg>
        <pc:spChg chg="mod ord">
          <ac:chgData name="Paul LEGEARD" userId="73b5704d-da1d-4b70-8e12-6d54d32b01a3" providerId="ADAL" clId="{7E21ABAC-2CC9-43D2-B356-F36799891C85}" dt="2023-04-04T07:45:34.278" v="9328" actId="207"/>
          <ac:spMkLst>
            <pc:docMk/>
            <pc:sldMk cId="3569893162" sldId="2147374865"/>
            <ac:spMk id="25" creationId="{8AAB3FBD-B03B-F05B-F74F-77AF4052AFA1}"/>
          </ac:spMkLst>
        </pc:spChg>
        <pc:spChg chg="mod">
          <ac:chgData name="Paul LEGEARD" userId="73b5704d-da1d-4b70-8e12-6d54d32b01a3" providerId="ADAL" clId="{7E21ABAC-2CC9-43D2-B356-F36799891C85}" dt="2023-04-04T07:43:27.268" v="9286" actId="14100"/>
          <ac:spMkLst>
            <pc:docMk/>
            <pc:sldMk cId="3569893162" sldId="2147374865"/>
            <ac:spMk id="27" creationId="{CC66BA12-0877-526A-20BE-A4EC24BBE7C7}"/>
          </ac:spMkLst>
        </pc:spChg>
        <pc:spChg chg="mod">
          <ac:chgData name="Paul LEGEARD" userId="73b5704d-da1d-4b70-8e12-6d54d32b01a3" providerId="ADAL" clId="{7E21ABAC-2CC9-43D2-B356-F36799891C85}" dt="2023-04-04T07:43:01.339" v="9213" actId="14100"/>
          <ac:spMkLst>
            <pc:docMk/>
            <pc:sldMk cId="3569893162" sldId="2147374865"/>
            <ac:spMk id="28" creationId="{A3DDF4F6-F41F-7459-9726-B603748CAACB}"/>
          </ac:spMkLst>
        </pc:spChg>
        <pc:spChg chg="mod">
          <ac:chgData name="Paul LEGEARD" userId="73b5704d-da1d-4b70-8e12-6d54d32b01a3" providerId="ADAL" clId="{7E21ABAC-2CC9-43D2-B356-F36799891C85}" dt="2023-04-04T07:45:22.907" v="9311" actId="113"/>
          <ac:spMkLst>
            <pc:docMk/>
            <pc:sldMk cId="3569893162" sldId="2147374865"/>
            <ac:spMk id="61" creationId="{A57701A6-4FB7-1FAA-DF9D-60AA433FD62A}"/>
          </ac:spMkLst>
        </pc:spChg>
        <pc:spChg chg="mod">
          <ac:chgData name="Paul LEGEARD" userId="73b5704d-da1d-4b70-8e12-6d54d32b01a3" providerId="ADAL" clId="{7E21ABAC-2CC9-43D2-B356-F36799891C85}" dt="2023-03-29T13:18:26.587" v="7484" actId="1076"/>
          <ac:spMkLst>
            <pc:docMk/>
            <pc:sldMk cId="3569893162" sldId="2147374865"/>
            <ac:spMk id="65" creationId="{0CD773FC-DB89-C3B5-A279-051A155F455A}"/>
          </ac:spMkLst>
        </pc:spChg>
        <pc:spChg chg="mod">
          <ac:chgData name="Paul LEGEARD" userId="73b5704d-da1d-4b70-8e12-6d54d32b01a3" providerId="ADAL" clId="{7E21ABAC-2CC9-43D2-B356-F36799891C85}" dt="2023-03-29T13:24:08.707" v="7714" actId="404"/>
          <ac:spMkLst>
            <pc:docMk/>
            <pc:sldMk cId="3569893162" sldId="2147374865"/>
            <ac:spMk id="79" creationId="{9007893F-DE3F-4277-8B72-135CF4773651}"/>
          </ac:spMkLst>
        </pc:spChg>
        <pc:picChg chg="add mod">
          <ac:chgData name="Paul LEGEARD" userId="73b5704d-da1d-4b70-8e12-6d54d32b01a3" providerId="ADAL" clId="{7E21ABAC-2CC9-43D2-B356-F36799891C85}" dt="2023-04-04T07:44:38.963" v="9298" actId="1076"/>
          <ac:picMkLst>
            <pc:docMk/>
            <pc:sldMk cId="3569893162" sldId="2147374865"/>
            <ac:picMk id="3" creationId="{C2086E58-E5E5-609F-0DAB-DC5B44540E45}"/>
          </ac:picMkLst>
        </pc:picChg>
        <pc:picChg chg="mod">
          <ac:chgData name="Paul LEGEARD" userId="73b5704d-da1d-4b70-8e12-6d54d32b01a3" providerId="ADAL" clId="{7E21ABAC-2CC9-43D2-B356-F36799891C85}" dt="2023-03-29T13:18:26.587" v="7484" actId="1076"/>
          <ac:picMkLst>
            <pc:docMk/>
            <pc:sldMk cId="3569893162" sldId="2147374865"/>
            <ac:picMk id="16" creationId="{7EEC1ACD-5A73-FA4A-A243-02F24B9BF258}"/>
          </ac:picMkLst>
        </pc:picChg>
        <pc:picChg chg="mod">
          <ac:chgData name="Paul LEGEARD" userId="73b5704d-da1d-4b70-8e12-6d54d32b01a3" providerId="ADAL" clId="{7E21ABAC-2CC9-43D2-B356-F36799891C85}" dt="2023-03-29T13:18:26.587" v="7484" actId="1076"/>
          <ac:picMkLst>
            <pc:docMk/>
            <pc:sldMk cId="3569893162" sldId="2147374865"/>
            <ac:picMk id="17" creationId="{FDB4FD84-28F4-9771-9969-069DB9581DFC}"/>
          </ac:picMkLst>
        </pc:picChg>
        <pc:picChg chg="mod">
          <ac:chgData name="Paul LEGEARD" userId="73b5704d-da1d-4b70-8e12-6d54d32b01a3" providerId="ADAL" clId="{7E21ABAC-2CC9-43D2-B356-F36799891C85}" dt="2023-03-29T13:18:26.587" v="7484" actId="1076"/>
          <ac:picMkLst>
            <pc:docMk/>
            <pc:sldMk cId="3569893162" sldId="2147374865"/>
            <ac:picMk id="18" creationId="{07D19EE7-A092-F25A-DA9B-A0200AFA7982}"/>
          </ac:picMkLst>
        </pc:picChg>
        <pc:picChg chg="mod">
          <ac:chgData name="Paul LEGEARD" userId="73b5704d-da1d-4b70-8e12-6d54d32b01a3" providerId="ADAL" clId="{7E21ABAC-2CC9-43D2-B356-F36799891C85}" dt="2023-03-29T13:18:26.587" v="7484" actId="1076"/>
          <ac:picMkLst>
            <pc:docMk/>
            <pc:sldMk cId="3569893162" sldId="2147374865"/>
            <ac:picMk id="19" creationId="{55802FB7-EB13-831E-65F4-8D511139B233}"/>
          </ac:picMkLst>
        </pc:picChg>
        <pc:picChg chg="del mod">
          <ac:chgData name="Paul LEGEARD" userId="73b5704d-da1d-4b70-8e12-6d54d32b01a3" providerId="ADAL" clId="{7E21ABAC-2CC9-43D2-B356-F36799891C85}" dt="2023-04-04T07:44:29.070" v="9294" actId="478"/>
          <ac:picMkLst>
            <pc:docMk/>
            <pc:sldMk cId="3569893162" sldId="2147374865"/>
            <ac:picMk id="60" creationId="{0E603337-25E3-496B-A054-D04DBED48B37}"/>
          </ac:picMkLst>
        </pc:picChg>
        <pc:picChg chg="del mod">
          <ac:chgData name="Paul LEGEARD" userId="73b5704d-da1d-4b70-8e12-6d54d32b01a3" providerId="ADAL" clId="{7E21ABAC-2CC9-43D2-B356-F36799891C85}" dt="2023-04-04T07:43:50.363" v="9287" actId="478"/>
          <ac:picMkLst>
            <pc:docMk/>
            <pc:sldMk cId="3569893162" sldId="2147374865"/>
            <ac:picMk id="64" creationId="{44E5409A-B9EE-70BF-1CAB-1D958083C4C8}"/>
          </ac:picMkLst>
        </pc:picChg>
        <pc:picChg chg="add mod">
          <ac:chgData name="Paul LEGEARD" userId="73b5704d-da1d-4b70-8e12-6d54d32b01a3" providerId="ADAL" clId="{7E21ABAC-2CC9-43D2-B356-F36799891C85}" dt="2023-04-04T07:43:58.151" v="9292" actId="1076"/>
          <ac:picMkLst>
            <pc:docMk/>
            <pc:sldMk cId="3569893162" sldId="2147374865"/>
            <ac:picMk id="1026" creationId="{8CE31846-3D79-56C4-1A39-5B6B74D85EAB}"/>
          </ac:picMkLst>
        </pc:picChg>
        <pc:cxnChg chg="mod">
          <ac:chgData name="Paul LEGEARD" userId="73b5704d-da1d-4b70-8e12-6d54d32b01a3" providerId="ADAL" clId="{7E21ABAC-2CC9-43D2-B356-F36799891C85}" dt="2023-03-29T13:18:26.587" v="7484" actId="1076"/>
          <ac:cxnSpMkLst>
            <pc:docMk/>
            <pc:sldMk cId="3569893162" sldId="2147374865"/>
            <ac:cxnSpMk id="56" creationId="{95E5282C-CF41-F458-C64B-A4F8FB83E556}"/>
          </ac:cxnSpMkLst>
        </pc:cxnChg>
        <pc:cxnChg chg="mod">
          <ac:chgData name="Paul LEGEARD" userId="73b5704d-da1d-4b70-8e12-6d54d32b01a3" providerId="ADAL" clId="{7E21ABAC-2CC9-43D2-B356-F36799891C85}" dt="2023-04-04T07:44:29.070" v="9294" actId="478"/>
          <ac:cxnSpMkLst>
            <pc:docMk/>
            <pc:sldMk cId="3569893162" sldId="2147374865"/>
            <ac:cxnSpMk id="70" creationId="{91AB48DD-8558-CC63-EA68-5B0237B71A9C}"/>
          </ac:cxnSpMkLst>
        </pc:cxnChg>
        <pc:cxnChg chg="mod">
          <ac:chgData name="Paul LEGEARD" userId="73b5704d-da1d-4b70-8e12-6d54d32b01a3" providerId="ADAL" clId="{7E21ABAC-2CC9-43D2-B356-F36799891C85}" dt="2023-03-29T13:18:26.587" v="7484" actId="1076"/>
          <ac:cxnSpMkLst>
            <pc:docMk/>
            <pc:sldMk cId="3569893162" sldId="2147374865"/>
            <ac:cxnSpMk id="73" creationId="{AB9ADE3B-2B4C-CA60-DFA1-8B3400E63D02}"/>
          </ac:cxnSpMkLst>
        </pc:cxnChg>
        <pc:cxnChg chg="mod">
          <ac:chgData name="Paul LEGEARD" userId="73b5704d-da1d-4b70-8e12-6d54d32b01a3" providerId="ADAL" clId="{7E21ABAC-2CC9-43D2-B356-F36799891C85}" dt="2023-03-29T13:18:26.587" v="7484" actId="1076"/>
          <ac:cxnSpMkLst>
            <pc:docMk/>
            <pc:sldMk cId="3569893162" sldId="2147374865"/>
            <ac:cxnSpMk id="74" creationId="{F4EACF21-B6D3-7236-DD13-8B928BACA7C1}"/>
          </ac:cxnSpMkLst>
        </pc:cxnChg>
      </pc:sldChg>
      <pc:sldChg chg="modSp mod">
        <pc:chgData name="Paul LEGEARD" userId="73b5704d-da1d-4b70-8e12-6d54d32b01a3" providerId="ADAL" clId="{7E21ABAC-2CC9-43D2-B356-F36799891C85}" dt="2023-03-29T09:25:43.208" v="4561" actId="313"/>
        <pc:sldMkLst>
          <pc:docMk/>
          <pc:sldMk cId="3632184580" sldId="2147374866"/>
        </pc:sldMkLst>
        <pc:spChg chg="mod">
          <ac:chgData name="Paul LEGEARD" userId="73b5704d-da1d-4b70-8e12-6d54d32b01a3" providerId="ADAL" clId="{7E21ABAC-2CC9-43D2-B356-F36799891C85}" dt="2023-03-29T09:25:43.208" v="4561" actId="313"/>
          <ac:spMkLst>
            <pc:docMk/>
            <pc:sldMk cId="3632184580" sldId="2147374866"/>
            <ac:spMk id="5" creationId="{62EC2C63-67F0-42BF-BBD4-DB9781BF0F7F}"/>
          </ac:spMkLst>
        </pc:spChg>
      </pc:sldChg>
      <pc:sldChg chg="addSp delSp modSp mod">
        <pc:chgData name="Paul LEGEARD" userId="73b5704d-da1d-4b70-8e12-6d54d32b01a3" providerId="ADAL" clId="{7E21ABAC-2CC9-43D2-B356-F36799891C85}" dt="2023-04-04T07:58:17.546" v="9604" actId="14100"/>
        <pc:sldMkLst>
          <pc:docMk/>
          <pc:sldMk cId="1944891775" sldId="2147374868"/>
        </pc:sldMkLst>
        <pc:spChg chg="add del mod">
          <ac:chgData name="Paul LEGEARD" userId="73b5704d-da1d-4b70-8e12-6d54d32b01a3" providerId="ADAL" clId="{7E21ABAC-2CC9-43D2-B356-F36799891C85}" dt="2023-03-29T13:31:17.866" v="8036" actId="478"/>
          <ac:spMkLst>
            <pc:docMk/>
            <pc:sldMk cId="1944891775" sldId="2147374868"/>
            <ac:spMk id="2" creationId="{7C8F697F-04CE-EA16-7254-45513F8D0DA7}"/>
          </ac:spMkLst>
        </pc:spChg>
        <pc:spChg chg="del mod">
          <ac:chgData name="Paul LEGEARD" userId="73b5704d-da1d-4b70-8e12-6d54d32b01a3" providerId="ADAL" clId="{7E21ABAC-2CC9-43D2-B356-F36799891C85}" dt="2023-03-29T13:30:11.286" v="7932" actId="478"/>
          <ac:spMkLst>
            <pc:docMk/>
            <pc:sldMk cId="1944891775" sldId="2147374868"/>
            <ac:spMk id="3" creationId="{80FE4617-E315-E194-31EA-3ABABC524F08}"/>
          </ac:spMkLst>
        </pc:spChg>
        <pc:spChg chg="add del mod">
          <ac:chgData name="Paul LEGEARD" userId="73b5704d-da1d-4b70-8e12-6d54d32b01a3" providerId="ADAL" clId="{7E21ABAC-2CC9-43D2-B356-F36799891C85}" dt="2023-03-29T13:31:19.551" v="8037" actId="478"/>
          <ac:spMkLst>
            <pc:docMk/>
            <pc:sldMk cId="1944891775" sldId="2147374868"/>
            <ac:spMk id="4" creationId="{841FC921-8DFE-09F2-3A17-943E101C7506}"/>
          </ac:spMkLst>
        </pc:spChg>
        <pc:spChg chg="del">
          <ac:chgData name="Paul LEGEARD" userId="73b5704d-da1d-4b70-8e12-6d54d32b01a3" providerId="ADAL" clId="{7E21ABAC-2CC9-43D2-B356-F36799891C85}" dt="2023-03-29T13:29:35.612" v="7911" actId="478"/>
          <ac:spMkLst>
            <pc:docMk/>
            <pc:sldMk cId="1944891775" sldId="2147374868"/>
            <ac:spMk id="5" creationId="{6DE49BA5-1C67-4899-A6FD-68896B94F078}"/>
          </ac:spMkLst>
        </pc:spChg>
        <pc:spChg chg="del">
          <ac:chgData name="Paul LEGEARD" userId="73b5704d-da1d-4b70-8e12-6d54d32b01a3" providerId="ADAL" clId="{7E21ABAC-2CC9-43D2-B356-F36799891C85}" dt="2023-03-29T13:29:35.612" v="7911" actId="478"/>
          <ac:spMkLst>
            <pc:docMk/>
            <pc:sldMk cId="1944891775" sldId="2147374868"/>
            <ac:spMk id="6" creationId="{9FD44200-2B2E-471A-8D8E-3847F4191214}"/>
          </ac:spMkLst>
        </pc:spChg>
        <pc:spChg chg="del mod">
          <ac:chgData name="Paul LEGEARD" userId="73b5704d-da1d-4b70-8e12-6d54d32b01a3" providerId="ADAL" clId="{7E21ABAC-2CC9-43D2-B356-F36799891C85}" dt="2023-03-29T13:30:49.906" v="7971" actId="478"/>
          <ac:spMkLst>
            <pc:docMk/>
            <pc:sldMk cId="1944891775" sldId="2147374868"/>
            <ac:spMk id="7" creationId="{B24894BC-EE60-D117-FA68-D8CEF39935FC}"/>
          </ac:spMkLst>
        </pc:spChg>
        <pc:spChg chg="add mod">
          <ac:chgData name="Paul LEGEARD" userId="73b5704d-da1d-4b70-8e12-6d54d32b01a3" providerId="ADAL" clId="{7E21ABAC-2CC9-43D2-B356-F36799891C85}" dt="2023-03-29T13:30:34.933" v="7938" actId="164"/>
          <ac:spMkLst>
            <pc:docMk/>
            <pc:sldMk cId="1944891775" sldId="2147374868"/>
            <ac:spMk id="8" creationId="{150F9721-99FB-3ED8-A18E-B85BCAF36890}"/>
          </ac:spMkLst>
        </pc:spChg>
        <pc:spChg chg="del mod">
          <ac:chgData name="Paul LEGEARD" userId="73b5704d-da1d-4b70-8e12-6d54d32b01a3" providerId="ADAL" clId="{7E21ABAC-2CC9-43D2-B356-F36799891C85}" dt="2023-03-29T13:31:02.607" v="8007" actId="478"/>
          <ac:spMkLst>
            <pc:docMk/>
            <pc:sldMk cId="1944891775" sldId="2147374868"/>
            <ac:spMk id="9" creationId="{83DA3DA6-C9FF-47A8-F573-2BD16BCBBD84}"/>
          </ac:spMkLst>
        </pc:spChg>
        <pc:spChg chg="del">
          <ac:chgData name="Paul LEGEARD" userId="73b5704d-da1d-4b70-8e12-6d54d32b01a3" providerId="ADAL" clId="{7E21ABAC-2CC9-43D2-B356-F36799891C85}" dt="2023-03-29T13:32:56.959" v="8155" actId="478"/>
          <ac:spMkLst>
            <pc:docMk/>
            <pc:sldMk cId="1944891775" sldId="2147374868"/>
            <ac:spMk id="11" creationId="{DFF6C333-FBB3-C6A0-342B-1883428B3ABF}"/>
          </ac:spMkLst>
        </pc:spChg>
        <pc:spChg chg="mod topLvl">
          <ac:chgData name="Paul LEGEARD" userId="73b5704d-da1d-4b70-8e12-6d54d32b01a3" providerId="ADAL" clId="{7E21ABAC-2CC9-43D2-B356-F36799891C85}" dt="2023-04-04T07:50:18.725" v="9349" actId="115"/>
          <ac:spMkLst>
            <pc:docMk/>
            <pc:sldMk cId="1944891775" sldId="2147374868"/>
            <ac:spMk id="12" creationId="{03210A24-24BA-3904-A7E2-DFB6D05AD77D}"/>
          </ac:spMkLst>
        </pc:spChg>
        <pc:spChg chg="del topLvl">
          <ac:chgData name="Paul LEGEARD" userId="73b5704d-da1d-4b70-8e12-6d54d32b01a3" providerId="ADAL" clId="{7E21ABAC-2CC9-43D2-B356-F36799891C85}" dt="2023-03-29T13:32:58.353" v="8156" actId="478"/>
          <ac:spMkLst>
            <pc:docMk/>
            <pc:sldMk cId="1944891775" sldId="2147374868"/>
            <ac:spMk id="13" creationId="{F04CC8CE-2A02-5A44-DBE6-9A0A36D0747E}"/>
          </ac:spMkLst>
        </pc:spChg>
        <pc:spChg chg="del mod">
          <ac:chgData name="Paul LEGEARD" userId="73b5704d-da1d-4b70-8e12-6d54d32b01a3" providerId="ADAL" clId="{7E21ABAC-2CC9-43D2-B356-F36799891C85}" dt="2023-03-29T13:30:09.108" v="7931" actId="478"/>
          <ac:spMkLst>
            <pc:docMk/>
            <pc:sldMk cId="1944891775" sldId="2147374868"/>
            <ac:spMk id="15" creationId="{2C6824A7-4F2F-FA26-655C-1788546D4902}"/>
          </ac:spMkLst>
        </pc:spChg>
        <pc:spChg chg="del mod">
          <ac:chgData name="Paul LEGEARD" userId="73b5704d-da1d-4b70-8e12-6d54d32b01a3" providerId="ADAL" clId="{7E21ABAC-2CC9-43D2-B356-F36799891C85}" dt="2023-03-29T13:30:47.978" v="7970" actId="478"/>
          <ac:spMkLst>
            <pc:docMk/>
            <pc:sldMk cId="1944891775" sldId="2147374868"/>
            <ac:spMk id="16" creationId="{B4804A09-4A07-EB55-341E-248A698074F2}"/>
          </ac:spMkLst>
        </pc:spChg>
        <pc:spChg chg="del mod">
          <ac:chgData name="Paul LEGEARD" userId="73b5704d-da1d-4b70-8e12-6d54d32b01a3" providerId="ADAL" clId="{7E21ABAC-2CC9-43D2-B356-F36799891C85}" dt="2023-03-29T13:31:01.781" v="8006" actId="478"/>
          <ac:spMkLst>
            <pc:docMk/>
            <pc:sldMk cId="1944891775" sldId="2147374868"/>
            <ac:spMk id="17" creationId="{9FBBD978-1C3C-2ECA-105D-A23C2A9B2A45}"/>
          </ac:spMkLst>
        </pc:spChg>
        <pc:spChg chg="add mod">
          <ac:chgData name="Paul LEGEARD" userId="73b5704d-da1d-4b70-8e12-6d54d32b01a3" providerId="ADAL" clId="{7E21ABAC-2CC9-43D2-B356-F36799891C85}" dt="2023-03-29T13:30:34.933" v="7938" actId="164"/>
          <ac:spMkLst>
            <pc:docMk/>
            <pc:sldMk cId="1944891775" sldId="2147374868"/>
            <ac:spMk id="18" creationId="{81850EEC-59C3-B5E6-65AF-6DC7EA664052}"/>
          </ac:spMkLst>
        </pc:spChg>
        <pc:spChg chg="add mod">
          <ac:chgData name="Paul LEGEARD" userId="73b5704d-da1d-4b70-8e12-6d54d32b01a3" providerId="ADAL" clId="{7E21ABAC-2CC9-43D2-B356-F36799891C85}" dt="2023-04-04T07:58:02.472" v="9601" actId="14100"/>
          <ac:spMkLst>
            <pc:docMk/>
            <pc:sldMk cId="1944891775" sldId="2147374868"/>
            <ac:spMk id="19" creationId="{5BA37996-2F19-7C73-D7A3-ECE23BAA580B}"/>
          </ac:spMkLst>
        </pc:spChg>
        <pc:spChg chg="add del mod">
          <ac:chgData name="Paul LEGEARD" userId="73b5704d-da1d-4b70-8e12-6d54d32b01a3" providerId="ADAL" clId="{7E21ABAC-2CC9-43D2-B356-F36799891C85}" dt="2023-03-29T13:29:35.612" v="7911" actId="478"/>
          <ac:spMkLst>
            <pc:docMk/>
            <pc:sldMk cId="1944891775" sldId="2147374868"/>
            <ac:spMk id="23" creationId="{07F8B12B-AE8B-6133-4542-5C7217D80EAE}"/>
          </ac:spMkLst>
        </pc:spChg>
        <pc:spChg chg="add del mod">
          <ac:chgData name="Paul LEGEARD" userId="73b5704d-da1d-4b70-8e12-6d54d32b01a3" providerId="ADAL" clId="{7E21ABAC-2CC9-43D2-B356-F36799891C85}" dt="2023-03-29T13:29:37.671" v="7913" actId="478"/>
          <ac:spMkLst>
            <pc:docMk/>
            <pc:sldMk cId="1944891775" sldId="2147374868"/>
            <ac:spMk id="24" creationId="{61673554-FA17-8563-182A-FB0CA97FE69B}"/>
          </ac:spMkLst>
        </pc:spChg>
        <pc:spChg chg="add del mod">
          <ac:chgData name="Paul LEGEARD" userId="73b5704d-da1d-4b70-8e12-6d54d32b01a3" providerId="ADAL" clId="{7E21ABAC-2CC9-43D2-B356-F36799891C85}" dt="2023-03-29T13:29:35.612" v="7911" actId="478"/>
          <ac:spMkLst>
            <pc:docMk/>
            <pc:sldMk cId="1944891775" sldId="2147374868"/>
            <ac:spMk id="28" creationId="{D584D17C-C621-5B73-D06D-3C67FB6234E4}"/>
          </ac:spMkLst>
        </pc:spChg>
        <pc:spChg chg="add del mod">
          <ac:chgData name="Paul LEGEARD" userId="73b5704d-da1d-4b70-8e12-6d54d32b01a3" providerId="ADAL" clId="{7E21ABAC-2CC9-43D2-B356-F36799891C85}" dt="2023-03-29T13:29:38.327" v="7914" actId="478"/>
          <ac:spMkLst>
            <pc:docMk/>
            <pc:sldMk cId="1944891775" sldId="2147374868"/>
            <ac:spMk id="29" creationId="{ACD5AAB0-351C-CAF9-EDF5-131F2A783294}"/>
          </ac:spMkLst>
        </pc:spChg>
        <pc:spChg chg="add del mod">
          <ac:chgData name="Paul LEGEARD" userId="73b5704d-da1d-4b70-8e12-6d54d32b01a3" providerId="ADAL" clId="{7E21ABAC-2CC9-43D2-B356-F36799891C85}" dt="2023-03-29T13:29:35.612" v="7911" actId="478"/>
          <ac:spMkLst>
            <pc:docMk/>
            <pc:sldMk cId="1944891775" sldId="2147374868"/>
            <ac:spMk id="31" creationId="{1DE064E4-DFB5-0E7E-4CCE-3FEE9E7D7EDF}"/>
          </ac:spMkLst>
        </pc:spChg>
        <pc:spChg chg="mod">
          <ac:chgData name="Paul LEGEARD" userId="73b5704d-da1d-4b70-8e12-6d54d32b01a3" providerId="ADAL" clId="{7E21ABAC-2CC9-43D2-B356-F36799891C85}" dt="2023-03-29T13:30:36.712" v="7939"/>
          <ac:spMkLst>
            <pc:docMk/>
            <pc:sldMk cId="1944891775" sldId="2147374868"/>
            <ac:spMk id="35" creationId="{A13BABEB-6FD9-DC1C-A41C-3F1EA5E5938E}"/>
          </ac:spMkLst>
        </pc:spChg>
        <pc:spChg chg="mod">
          <ac:chgData name="Paul LEGEARD" userId="73b5704d-da1d-4b70-8e12-6d54d32b01a3" providerId="ADAL" clId="{7E21ABAC-2CC9-43D2-B356-F36799891C85}" dt="2023-03-29T13:30:41.432" v="7942" actId="20577"/>
          <ac:spMkLst>
            <pc:docMk/>
            <pc:sldMk cId="1944891775" sldId="2147374868"/>
            <ac:spMk id="36" creationId="{0C375E29-8530-6988-687F-A20E711AA293}"/>
          </ac:spMkLst>
        </pc:spChg>
        <pc:spChg chg="mod">
          <ac:chgData name="Paul LEGEARD" userId="73b5704d-da1d-4b70-8e12-6d54d32b01a3" providerId="ADAL" clId="{7E21ABAC-2CC9-43D2-B356-F36799891C85}" dt="2023-04-04T07:58:09.866" v="9602" actId="14100"/>
          <ac:spMkLst>
            <pc:docMk/>
            <pc:sldMk cId="1944891775" sldId="2147374868"/>
            <ac:spMk id="37" creationId="{5E8B4DD9-8267-69D0-278D-4FE1B68D3F23}"/>
          </ac:spMkLst>
        </pc:spChg>
        <pc:spChg chg="mod">
          <ac:chgData name="Paul LEGEARD" userId="73b5704d-da1d-4b70-8e12-6d54d32b01a3" providerId="ADAL" clId="{7E21ABAC-2CC9-43D2-B356-F36799891C85}" dt="2023-03-29T13:30:53.079" v="7973"/>
          <ac:spMkLst>
            <pc:docMk/>
            <pc:sldMk cId="1944891775" sldId="2147374868"/>
            <ac:spMk id="39" creationId="{9A0979AC-02EC-F93F-F8F9-6B876C1C626E}"/>
          </ac:spMkLst>
        </pc:spChg>
        <pc:spChg chg="mod">
          <ac:chgData name="Paul LEGEARD" userId="73b5704d-da1d-4b70-8e12-6d54d32b01a3" providerId="ADAL" clId="{7E21ABAC-2CC9-43D2-B356-F36799891C85}" dt="2023-03-29T13:30:54.937" v="7975" actId="20577"/>
          <ac:spMkLst>
            <pc:docMk/>
            <pc:sldMk cId="1944891775" sldId="2147374868"/>
            <ac:spMk id="40" creationId="{2D0C9ED1-C38A-A586-4C40-CA18AE126A63}"/>
          </ac:spMkLst>
        </pc:spChg>
        <pc:spChg chg="mod">
          <ac:chgData name="Paul LEGEARD" userId="73b5704d-da1d-4b70-8e12-6d54d32b01a3" providerId="ADAL" clId="{7E21ABAC-2CC9-43D2-B356-F36799891C85}" dt="2023-04-04T07:58:13.892" v="9603" actId="14100"/>
          <ac:spMkLst>
            <pc:docMk/>
            <pc:sldMk cId="1944891775" sldId="2147374868"/>
            <ac:spMk id="41" creationId="{7E18302F-224C-4823-6A4E-CEBE2504A275}"/>
          </ac:spMkLst>
        </pc:spChg>
        <pc:spChg chg="mod">
          <ac:chgData name="Paul LEGEARD" userId="73b5704d-da1d-4b70-8e12-6d54d32b01a3" providerId="ADAL" clId="{7E21ABAC-2CC9-43D2-B356-F36799891C85}" dt="2023-03-29T13:31:05.916" v="8009"/>
          <ac:spMkLst>
            <pc:docMk/>
            <pc:sldMk cId="1944891775" sldId="2147374868"/>
            <ac:spMk id="43" creationId="{1159161F-B60F-950E-33DC-CA73D63F2128}"/>
          </ac:spMkLst>
        </pc:spChg>
        <pc:spChg chg="mod">
          <ac:chgData name="Paul LEGEARD" userId="73b5704d-da1d-4b70-8e12-6d54d32b01a3" providerId="ADAL" clId="{7E21ABAC-2CC9-43D2-B356-F36799891C85}" dt="2023-03-29T13:31:08.177" v="8012" actId="6549"/>
          <ac:spMkLst>
            <pc:docMk/>
            <pc:sldMk cId="1944891775" sldId="2147374868"/>
            <ac:spMk id="44" creationId="{A50796E1-0582-F2F6-6065-75963EFE2E20}"/>
          </ac:spMkLst>
        </pc:spChg>
        <pc:spChg chg="mod">
          <ac:chgData name="Paul LEGEARD" userId="73b5704d-da1d-4b70-8e12-6d54d32b01a3" providerId="ADAL" clId="{7E21ABAC-2CC9-43D2-B356-F36799891C85}" dt="2023-04-04T07:58:17.546" v="9604" actId="14100"/>
          <ac:spMkLst>
            <pc:docMk/>
            <pc:sldMk cId="1944891775" sldId="2147374868"/>
            <ac:spMk id="45" creationId="{8C9FE126-EB0E-C4A7-C243-0BE61F2A3B69}"/>
          </ac:spMkLst>
        </pc:spChg>
        <pc:spChg chg="add mod">
          <ac:chgData name="Paul LEGEARD" userId="73b5704d-da1d-4b70-8e12-6d54d32b01a3" providerId="ADAL" clId="{7E21ABAC-2CC9-43D2-B356-F36799891C85}" dt="2023-03-29T13:33:29.640" v="8164" actId="1076"/>
          <ac:spMkLst>
            <pc:docMk/>
            <pc:sldMk cId="1944891775" sldId="2147374868"/>
            <ac:spMk id="46" creationId="{9BA33B49-B9F0-5EE2-608C-A702F2449A9F}"/>
          </ac:spMkLst>
        </pc:spChg>
        <pc:spChg chg="mod">
          <ac:chgData name="Paul LEGEARD" userId="73b5704d-da1d-4b70-8e12-6d54d32b01a3" providerId="ADAL" clId="{7E21ABAC-2CC9-43D2-B356-F36799891C85}" dt="2023-03-29T09:26:49.136" v="4603" actId="20577"/>
          <ac:spMkLst>
            <pc:docMk/>
            <pc:sldMk cId="1944891775" sldId="2147374868"/>
            <ac:spMk id="79" creationId="{9007893F-DE3F-4277-8B72-135CF4773651}"/>
          </ac:spMkLst>
        </pc:spChg>
        <pc:grpChg chg="del">
          <ac:chgData name="Paul LEGEARD" userId="73b5704d-da1d-4b70-8e12-6d54d32b01a3" providerId="ADAL" clId="{7E21ABAC-2CC9-43D2-B356-F36799891C85}" dt="2023-03-29T13:32:58.353" v="8156" actId="478"/>
          <ac:grpSpMkLst>
            <pc:docMk/>
            <pc:sldMk cId="1944891775" sldId="2147374868"/>
            <ac:grpSpMk id="10" creationId="{EF9378C9-71AE-DD8B-6121-358FFF0B7C56}"/>
          </ac:grpSpMkLst>
        </pc:grpChg>
        <pc:grpChg chg="add mod">
          <ac:chgData name="Paul LEGEARD" userId="73b5704d-da1d-4b70-8e12-6d54d32b01a3" providerId="ADAL" clId="{7E21ABAC-2CC9-43D2-B356-F36799891C85}" dt="2023-03-29T13:33:29.640" v="8164" actId="1076"/>
          <ac:grpSpMkLst>
            <pc:docMk/>
            <pc:sldMk cId="1944891775" sldId="2147374868"/>
            <ac:grpSpMk id="33" creationId="{24E7CACF-22B9-F26E-2BC2-64342BD7472D}"/>
          </ac:grpSpMkLst>
        </pc:grpChg>
        <pc:grpChg chg="add mod">
          <ac:chgData name="Paul LEGEARD" userId="73b5704d-da1d-4b70-8e12-6d54d32b01a3" providerId="ADAL" clId="{7E21ABAC-2CC9-43D2-B356-F36799891C85}" dt="2023-03-29T13:33:29.640" v="8164" actId="1076"/>
          <ac:grpSpMkLst>
            <pc:docMk/>
            <pc:sldMk cId="1944891775" sldId="2147374868"/>
            <ac:grpSpMk id="34" creationId="{19D51204-E212-9FEA-2E92-393FA2F8E1A7}"/>
          </ac:grpSpMkLst>
        </pc:grpChg>
        <pc:grpChg chg="add mod">
          <ac:chgData name="Paul LEGEARD" userId="73b5704d-da1d-4b70-8e12-6d54d32b01a3" providerId="ADAL" clId="{7E21ABAC-2CC9-43D2-B356-F36799891C85}" dt="2023-03-29T13:33:29.640" v="8164" actId="1076"/>
          <ac:grpSpMkLst>
            <pc:docMk/>
            <pc:sldMk cId="1944891775" sldId="2147374868"/>
            <ac:grpSpMk id="38" creationId="{9796FC3E-9210-3704-6A51-F54E3B5BCA76}"/>
          </ac:grpSpMkLst>
        </pc:grpChg>
        <pc:grpChg chg="add mod">
          <ac:chgData name="Paul LEGEARD" userId="73b5704d-da1d-4b70-8e12-6d54d32b01a3" providerId="ADAL" clId="{7E21ABAC-2CC9-43D2-B356-F36799891C85}" dt="2023-03-29T13:33:29.640" v="8164" actId="1076"/>
          <ac:grpSpMkLst>
            <pc:docMk/>
            <pc:sldMk cId="1944891775" sldId="2147374868"/>
            <ac:grpSpMk id="42" creationId="{8DD11924-BB86-63B3-832C-01B006F43914}"/>
          </ac:grpSpMkLst>
        </pc:grpChg>
        <pc:picChg chg="del">
          <ac:chgData name="Paul LEGEARD" userId="73b5704d-da1d-4b70-8e12-6d54d32b01a3" providerId="ADAL" clId="{7E21ABAC-2CC9-43D2-B356-F36799891C85}" dt="2023-03-29T13:29:35.612" v="7911" actId="478"/>
          <ac:picMkLst>
            <pc:docMk/>
            <pc:sldMk cId="1944891775" sldId="2147374868"/>
            <ac:picMk id="14" creationId="{4D9936E3-0D3C-6407-3DF7-6EF49BF82687}"/>
          </ac:picMkLst>
        </pc:picChg>
        <pc:picChg chg="add del mod">
          <ac:chgData name="Paul LEGEARD" userId="73b5704d-da1d-4b70-8e12-6d54d32b01a3" providerId="ADAL" clId="{7E21ABAC-2CC9-43D2-B356-F36799891C85}" dt="2023-03-29T13:29:35.612" v="7911" actId="478"/>
          <ac:picMkLst>
            <pc:docMk/>
            <pc:sldMk cId="1944891775" sldId="2147374868"/>
            <ac:picMk id="20" creationId="{62E091A9-F3DA-3E96-0733-45F8E1C18D9E}"/>
          </ac:picMkLst>
        </pc:picChg>
        <pc:picChg chg="add del mod">
          <ac:chgData name="Paul LEGEARD" userId="73b5704d-da1d-4b70-8e12-6d54d32b01a3" providerId="ADAL" clId="{7E21ABAC-2CC9-43D2-B356-F36799891C85}" dt="2023-03-29T13:29:35.612" v="7911" actId="478"/>
          <ac:picMkLst>
            <pc:docMk/>
            <pc:sldMk cId="1944891775" sldId="2147374868"/>
            <ac:picMk id="21" creationId="{BE4C044D-DE7D-E8F6-6E76-812604828120}"/>
          </ac:picMkLst>
        </pc:picChg>
        <pc:picChg chg="add del mod">
          <ac:chgData name="Paul LEGEARD" userId="73b5704d-da1d-4b70-8e12-6d54d32b01a3" providerId="ADAL" clId="{7E21ABAC-2CC9-43D2-B356-F36799891C85}" dt="2023-03-29T13:29:27.066" v="7907" actId="478"/>
          <ac:picMkLst>
            <pc:docMk/>
            <pc:sldMk cId="1944891775" sldId="2147374868"/>
            <ac:picMk id="22" creationId="{329F575B-6164-13A5-B63D-64F5FD1F5333}"/>
          </ac:picMkLst>
        </pc:picChg>
        <pc:picChg chg="add del mod">
          <ac:chgData name="Paul LEGEARD" userId="73b5704d-da1d-4b70-8e12-6d54d32b01a3" providerId="ADAL" clId="{7E21ABAC-2CC9-43D2-B356-F36799891C85}" dt="2023-03-29T13:29:35.612" v="7911" actId="478"/>
          <ac:picMkLst>
            <pc:docMk/>
            <pc:sldMk cId="1944891775" sldId="2147374868"/>
            <ac:picMk id="25" creationId="{86993597-514B-8F6D-75DE-FBCDE86778C9}"/>
          </ac:picMkLst>
        </pc:picChg>
        <pc:picChg chg="add del mod">
          <ac:chgData name="Paul LEGEARD" userId="73b5704d-da1d-4b70-8e12-6d54d32b01a3" providerId="ADAL" clId="{7E21ABAC-2CC9-43D2-B356-F36799891C85}" dt="2023-03-29T13:29:35.612" v="7911" actId="478"/>
          <ac:picMkLst>
            <pc:docMk/>
            <pc:sldMk cId="1944891775" sldId="2147374868"/>
            <ac:picMk id="26" creationId="{D6574D1C-9CFC-E5B1-B298-C253F36AE339}"/>
          </ac:picMkLst>
        </pc:picChg>
        <pc:picChg chg="add del mod">
          <ac:chgData name="Paul LEGEARD" userId="73b5704d-da1d-4b70-8e12-6d54d32b01a3" providerId="ADAL" clId="{7E21ABAC-2CC9-43D2-B356-F36799891C85}" dt="2023-03-29T13:29:37.056" v="7912" actId="478"/>
          <ac:picMkLst>
            <pc:docMk/>
            <pc:sldMk cId="1944891775" sldId="2147374868"/>
            <ac:picMk id="27" creationId="{2789DABD-9473-FC07-76D0-EBED9E3152B4}"/>
          </ac:picMkLst>
        </pc:picChg>
        <pc:picChg chg="add del mod">
          <ac:chgData name="Paul LEGEARD" userId="73b5704d-da1d-4b70-8e12-6d54d32b01a3" providerId="ADAL" clId="{7E21ABAC-2CC9-43D2-B356-F36799891C85}" dt="2023-03-29T13:29:35.612" v="7911" actId="478"/>
          <ac:picMkLst>
            <pc:docMk/>
            <pc:sldMk cId="1944891775" sldId="2147374868"/>
            <ac:picMk id="30" creationId="{E122DAFA-0B8A-A914-CD83-B3B0B76F2DD5}"/>
          </ac:picMkLst>
        </pc:picChg>
        <pc:picChg chg="add del mod">
          <ac:chgData name="Paul LEGEARD" userId="73b5704d-da1d-4b70-8e12-6d54d32b01a3" providerId="ADAL" clId="{7E21ABAC-2CC9-43D2-B356-F36799891C85}" dt="2023-03-29T13:29:39.133" v="7915" actId="478"/>
          <ac:picMkLst>
            <pc:docMk/>
            <pc:sldMk cId="1944891775" sldId="2147374868"/>
            <ac:picMk id="32" creationId="{2C2C909D-9B73-AD3A-1E3A-5BE537A5FC57}"/>
          </ac:picMkLst>
        </pc:picChg>
      </pc:sldChg>
      <pc:sldChg chg="addSp delSp modSp mod">
        <pc:chgData name="Paul LEGEARD" userId="73b5704d-da1d-4b70-8e12-6d54d32b01a3" providerId="ADAL" clId="{7E21ABAC-2CC9-43D2-B356-F36799891C85}" dt="2023-04-04T07:53:20.313" v="9468" actId="20577"/>
        <pc:sldMkLst>
          <pc:docMk/>
          <pc:sldMk cId="2896767368" sldId="2147374869"/>
        </pc:sldMkLst>
        <pc:spChg chg="mod">
          <ac:chgData name="Paul LEGEARD" userId="73b5704d-da1d-4b70-8e12-6d54d32b01a3" providerId="ADAL" clId="{7E21ABAC-2CC9-43D2-B356-F36799891C85}" dt="2023-03-29T08:34:27.941" v="2707" actId="164"/>
          <ac:spMkLst>
            <pc:docMk/>
            <pc:sldMk cId="2896767368" sldId="2147374869"/>
            <ac:spMk id="2" creationId="{7564C41C-41EE-C60A-2016-A87F084D66A1}"/>
          </ac:spMkLst>
        </pc:spChg>
        <pc:spChg chg="add del mod">
          <ac:chgData name="Paul LEGEARD" userId="73b5704d-da1d-4b70-8e12-6d54d32b01a3" providerId="ADAL" clId="{7E21ABAC-2CC9-43D2-B356-F36799891C85}" dt="2023-03-29T09:29:20.049" v="4604" actId="478"/>
          <ac:spMkLst>
            <pc:docMk/>
            <pc:sldMk cId="2896767368" sldId="2147374869"/>
            <ac:spMk id="3" creationId="{7B4809A7-F248-F2D4-71C8-DBE32A726542}"/>
          </ac:spMkLst>
        </pc:spChg>
        <pc:spChg chg="mod">
          <ac:chgData name="Paul LEGEARD" userId="73b5704d-da1d-4b70-8e12-6d54d32b01a3" providerId="ADAL" clId="{7E21ABAC-2CC9-43D2-B356-F36799891C85}" dt="2023-03-29T08:34:27.941" v="2707" actId="164"/>
          <ac:spMkLst>
            <pc:docMk/>
            <pc:sldMk cId="2896767368" sldId="2147374869"/>
            <ac:spMk id="4" creationId="{255F103F-6B7A-0473-692F-54D42392A037}"/>
          </ac:spMkLst>
        </pc:spChg>
        <pc:spChg chg="mod">
          <ac:chgData name="Paul LEGEARD" userId="73b5704d-da1d-4b70-8e12-6d54d32b01a3" providerId="ADAL" clId="{7E21ABAC-2CC9-43D2-B356-F36799891C85}" dt="2023-03-29T13:33:58.718" v="8219" actId="20577"/>
          <ac:spMkLst>
            <pc:docMk/>
            <pc:sldMk cId="2896767368" sldId="2147374869"/>
            <ac:spMk id="8" creationId="{627C94FC-AC1D-CAF8-8AA2-BD3CCBF871BA}"/>
          </ac:spMkLst>
        </pc:spChg>
        <pc:spChg chg="mod">
          <ac:chgData name="Paul LEGEARD" userId="73b5704d-da1d-4b70-8e12-6d54d32b01a3" providerId="ADAL" clId="{7E21ABAC-2CC9-43D2-B356-F36799891C85}" dt="2023-03-29T08:34:27.941" v="2707" actId="164"/>
          <ac:spMkLst>
            <pc:docMk/>
            <pc:sldMk cId="2896767368" sldId="2147374869"/>
            <ac:spMk id="15" creationId="{2C6824A7-4F2F-FA26-655C-1788546D4902}"/>
          </ac:spMkLst>
        </pc:spChg>
        <pc:spChg chg="del">
          <ac:chgData name="Paul LEGEARD" userId="73b5704d-da1d-4b70-8e12-6d54d32b01a3" providerId="ADAL" clId="{7E21ABAC-2CC9-43D2-B356-F36799891C85}" dt="2023-03-29T08:33:19.296" v="2696" actId="478"/>
          <ac:spMkLst>
            <pc:docMk/>
            <pc:sldMk cId="2896767368" sldId="2147374869"/>
            <ac:spMk id="18" creationId="{9378A552-0DB0-FE27-E207-E4A340B40CA9}"/>
          </ac:spMkLst>
        </pc:spChg>
        <pc:spChg chg="mod">
          <ac:chgData name="Paul LEGEARD" userId="73b5704d-da1d-4b70-8e12-6d54d32b01a3" providerId="ADAL" clId="{7E21ABAC-2CC9-43D2-B356-F36799891C85}" dt="2023-03-29T08:33:21.750" v="2697" actId="14100"/>
          <ac:spMkLst>
            <pc:docMk/>
            <pc:sldMk cId="2896767368" sldId="2147374869"/>
            <ac:spMk id="20" creationId="{848BC469-10FE-D17E-5AC4-40C3DA68B553}"/>
          </ac:spMkLst>
        </pc:spChg>
        <pc:spChg chg="del">
          <ac:chgData name="Paul LEGEARD" userId="73b5704d-da1d-4b70-8e12-6d54d32b01a3" providerId="ADAL" clId="{7E21ABAC-2CC9-43D2-B356-F36799891C85}" dt="2023-03-29T08:33:19.296" v="2696" actId="478"/>
          <ac:spMkLst>
            <pc:docMk/>
            <pc:sldMk cId="2896767368" sldId="2147374869"/>
            <ac:spMk id="21" creationId="{2E64BC48-0382-D2FC-A3B2-8C6863EF2AD5}"/>
          </ac:spMkLst>
        </pc:spChg>
        <pc:spChg chg="mod">
          <ac:chgData name="Paul LEGEARD" userId="73b5704d-da1d-4b70-8e12-6d54d32b01a3" providerId="ADAL" clId="{7E21ABAC-2CC9-43D2-B356-F36799891C85}" dt="2023-03-29T08:34:36.825" v="2709" actId="164"/>
          <ac:spMkLst>
            <pc:docMk/>
            <pc:sldMk cId="2896767368" sldId="2147374869"/>
            <ac:spMk id="22" creationId="{6E8A1A70-C30A-F58A-5752-624B5499A924}"/>
          </ac:spMkLst>
        </pc:spChg>
        <pc:spChg chg="mod">
          <ac:chgData name="Paul LEGEARD" userId="73b5704d-da1d-4b70-8e12-6d54d32b01a3" providerId="ADAL" clId="{7E21ABAC-2CC9-43D2-B356-F36799891C85}" dt="2023-03-29T08:34:36.825" v="2709" actId="164"/>
          <ac:spMkLst>
            <pc:docMk/>
            <pc:sldMk cId="2896767368" sldId="2147374869"/>
            <ac:spMk id="23" creationId="{4D2028C6-55D0-DC60-2A87-64027A67722F}"/>
          </ac:spMkLst>
        </pc:spChg>
        <pc:spChg chg="mod">
          <ac:chgData name="Paul LEGEARD" userId="73b5704d-da1d-4b70-8e12-6d54d32b01a3" providerId="ADAL" clId="{7E21ABAC-2CC9-43D2-B356-F36799891C85}" dt="2023-03-29T08:34:36.825" v="2709" actId="164"/>
          <ac:spMkLst>
            <pc:docMk/>
            <pc:sldMk cId="2896767368" sldId="2147374869"/>
            <ac:spMk id="24" creationId="{5E61037A-6049-9C1F-D8BE-61C4A27D9DE9}"/>
          </ac:spMkLst>
        </pc:spChg>
        <pc:spChg chg="mod">
          <ac:chgData name="Paul LEGEARD" userId="73b5704d-da1d-4b70-8e12-6d54d32b01a3" providerId="ADAL" clId="{7E21ABAC-2CC9-43D2-B356-F36799891C85}" dt="2023-04-04T07:51:58.772" v="9373" actId="6549"/>
          <ac:spMkLst>
            <pc:docMk/>
            <pc:sldMk cId="2896767368" sldId="2147374869"/>
            <ac:spMk id="25" creationId="{1C8258CB-A1CE-A8D5-C263-FBA89898E63B}"/>
          </ac:spMkLst>
        </pc:spChg>
        <pc:spChg chg="del">
          <ac:chgData name="Paul LEGEARD" userId="73b5704d-da1d-4b70-8e12-6d54d32b01a3" providerId="ADAL" clId="{7E21ABAC-2CC9-43D2-B356-F36799891C85}" dt="2023-03-29T08:33:19.296" v="2696" actId="478"/>
          <ac:spMkLst>
            <pc:docMk/>
            <pc:sldMk cId="2896767368" sldId="2147374869"/>
            <ac:spMk id="26" creationId="{04D82789-C7F4-3381-728A-C84C3B967252}"/>
          </ac:spMkLst>
        </pc:spChg>
        <pc:spChg chg="mod">
          <ac:chgData name="Paul LEGEARD" userId="73b5704d-da1d-4b70-8e12-6d54d32b01a3" providerId="ADAL" clId="{7E21ABAC-2CC9-43D2-B356-F36799891C85}" dt="2023-03-29T08:35:05.503" v="2742" actId="164"/>
          <ac:spMkLst>
            <pc:docMk/>
            <pc:sldMk cId="2896767368" sldId="2147374869"/>
            <ac:spMk id="27" creationId="{D0906773-ADAE-3844-933B-38F135B67496}"/>
          </ac:spMkLst>
        </pc:spChg>
        <pc:spChg chg="mod">
          <ac:chgData name="Paul LEGEARD" userId="73b5704d-da1d-4b70-8e12-6d54d32b01a3" providerId="ADAL" clId="{7E21ABAC-2CC9-43D2-B356-F36799891C85}" dt="2023-03-29T08:35:05.503" v="2742" actId="164"/>
          <ac:spMkLst>
            <pc:docMk/>
            <pc:sldMk cId="2896767368" sldId="2147374869"/>
            <ac:spMk id="28" creationId="{3FDF9AE7-ED90-8FDD-8D7D-5DC601BF4F66}"/>
          </ac:spMkLst>
        </pc:spChg>
        <pc:spChg chg="mod">
          <ac:chgData name="Paul LEGEARD" userId="73b5704d-da1d-4b70-8e12-6d54d32b01a3" providerId="ADAL" clId="{7E21ABAC-2CC9-43D2-B356-F36799891C85}" dt="2023-03-29T08:35:05.503" v="2742" actId="164"/>
          <ac:spMkLst>
            <pc:docMk/>
            <pc:sldMk cId="2896767368" sldId="2147374869"/>
            <ac:spMk id="29" creationId="{824D0491-30D2-8FEE-B1D2-E113F2C01B20}"/>
          </ac:spMkLst>
        </pc:spChg>
        <pc:spChg chg="mod">
          <ac:chgData name="Paul LEGEARD" userId="73b5704d-da1d-4b70-8e12-6d54d32b01a3" providerId="ADAL" clId="{7E21ABAC-2CC9-43D2-B356-F36799891C85}" dt="2023-04-04T07:52:56.807" v="9463" actId="6549"/>
          <ac:spMkLst>
            <pc:docMk/>
            <pc:sldMk cId="2896767368" sldId="2147374869"/>
            <ac:spMk id="30" creationId="{B16B88FA-1C96-BFEE-82D2-A097D5D526DE}"/>
          </ac:spMkLst>
        </pc:spChg>
        <pc:spChg chg="del">
          <ac:chgData name="Paul LEGEARD" userId="73b5704d-da1d-4b70-8e12-6d54d32b01a3" providerId="ADAL" clId="{7E21ABAC-2CC9-43D2-B356-F36799891C85}" dt="2023-03-29T08:33:19.296" v="2696" actId="478"/>
          <ac:spMkLst>
            <pc:docMk/>
            <pc:sldMk cId="2896767368" sldId="2147374869"/>
            <ac:spMk id="31" creationId="{910A981C-F6AC-4A52-000D-C95152026F97}"/>
          </ac:spMkLst>
        </pc:spChg>
        <pc:spChg chg="mod">
          <ac:chgData name="Paul LEGEARD" userId="73b5704d-da1d-4b70-8e12-6d54d32b01a3" providerId="ADAL" clId="{7E21ABAC-2CC9-43D2-B356-F36799891C85}" dt="2023-03-29T08:35:01.319" v="2741" actId="164"/>
          <ac:spMkLst>
            <pc:docMk/>
            <pc:sldMk cId="2896767368" sldId="2147374869"/>
            <ac:spMk id="32" creationId="{0FB8706D-EAB4-DCFA-4265-14B5DF4A900D}"/>
          </ac:spMkLst>
        </pc:spChg>
        <pc:spChg chg="mod">
          <ac:chgData name="Paul LEGEARD" userId="73b5704d-da1d-4b70-8e12-6d54d32b01a3" providerId="ADAL" clId="{7E21ABAC-2CC9-43D2-B356-F36799891C85}" dt="2023-03-29T08:35:01.319" v="2741" actId="164"/>
          <ac:spMkLst>
            <pc:docMk/>
            <pc:sldMk cId="2896767368" sldId="2147374869"/>
            <ac:spMk id="33" creationId="{18417646-6DC0-F95A-017A-9B28D1073EDB}"/>
          </ac:spMkLst>
        </pc:spChg>
        <pc:spChg chg="mod">
          <ac:chgData name="Paul LEGEARD" userId="73b5704d-da1d-4b70-8e12-6d54d32b01a3" providerId="ADAL" clId="{7E21ABAC-2CC9-43D2-B356-F36799891C85}" dt="2023-03-29T08:35:01.319" v="2741" actId="164"/>
          <ac:spMkLst>
            <pc:docMk/>
            <pc:sldMk cId="2896767368" sldId="2147374869"/>
            <ac:spMk id="34" creationId="{3988A38B-406A-0B39-EEA6-ED63D055B9CA}"/>
          </ac:spMkLst>
        </pc:spChg>
        <pc:spChg chg="mod">
          <ac:chgData name="Paul LEGEARD" userId="73b5704d-da1d-4b70-8e12-6d54d32b01a3" providerId="ADAL" clId="{7E21ABAC-2CC9-43D2-B356-F36799891C85}" dt="2023-04-04T07:53:20.313" v="9468" actId="20577"/>
          <ac:spMkLst>
            <pc:docMk/>
            <pc:sldMk cId="2896767368" sldId="2147374869"/>
            <ac:spMk id="35" creationId="{69128082-B5BE-E4F3-A8A3-08231DE691E8}"/>
          </ac:spMkLst>
        </pc:spChg>
        <pc:spChg chg="del">
          <ac:chgData name="Paul LEGEARD" userId="73b5704d-da1d-4b70-8e12-6d54d32b01a3" providerId="ADAL" clId="{7E21ABAC-2CC9-43D2-B356-F36799891C85}" dt="2023-03-29T08:33:19.296" v="2696" actId="478"/>
          <ac:spMkLst>
            <pc:docMk/>
            <pc:sldMk cId="2896767368" sldId="2147374869"/>
            <ac:spMk id="36" creationId="{81612C0D-B09C-0ABE-29B1-5E9F4AE5D325}"/>
          </ac:spMkLst>
        </pc:spChg>
        <pc:spChg chg="mod">
          <ac:chgData name="Paul LEGEARD" userId="73b5704d-da1d-4b70-8e12-6d54d32b01a3" providerId="ADAL" clId="{7E21ABAC-2CC9-43D2-B356-F36799891C85}" dt="2023-03-29T08:34:46.846" v="2738" actId="20577"/>
          <ac:spMkLst>
            <pc:docMk/>
            <pc:sldMk cId="2896767368" sldId="2147374869"/>
            <ac:spMk id="79" creationId="{9007893F-DE3F-4277-8B72-135CF4773651}"/>
          </ac:spMkLst>
        </pc:spChg>
        <pc:grpChg chg="add mod">
          <ac:chgData name="Paul LEGEARD" userId="73b5704d-da1d-4b70-8e12-6d54d32b01a3" providerId="ADAL" clId="{7E21ABAC-2CC9-43D2-B356-F36799891C85}" dt="2023-03-29T08:34:27.941" v="2707" actId="164"/>
          <ac:grpSpMkLst>
            <pc:docMk/>
            <pc:sldMk cId="2896767368" sldId="2147374869"/>
            <ac:grpSpMk id="5" creationId="{51984B22-5A98-0DF5-356E-68D158EFF2BC}"/>
          </ac:grpSpMkLst>
        </pc:grpChg>
        <pc:grpChg chg="add mod">
          <ac:chgData name="Paul LEGEARD" userId="73b5704d-da1d-4b70-8e12-6d54d32b01a3" providerId="ADAL" clId="{7E21ABAC-2CC9-43D2-B356-F36799891C85}" dt="2023-03-29T08:35:20.461" v="2758" actId="465"/>
          <ac:grpSpMkLst>
            <pc:docMk/>
            <pc:sldMk cId="2896767368" sldId="2147374869"/>
            <ac:grpSpMk id="6" creationId="{541A9E59-91CF-BBFC-87CE-BCFCE8B5B190}"/>
          </ac:grpSpMkLst>
        </pc:grpChg>
        <pc:grpChg chg="add mod">
          <ac:chgData name="Paul LEGEARD" userId="73b5704d-da1d-4b70-8e12-6d54d32b01a3" providerId="ADAL" clId="{7E21ABAC-2CC9-43D2-B356-F36799891C85}" dt="2023-03-29T08:35:15.103" v="2757" actId="1076"/>
          <ac:grpSpMkLst>
            <pc:docMk/>
            <pc:sldMk cId="2896767368" sldId="2147374869"/>
            <ac:grpSpMk id="7" creationId="{B83259FC-888B-162D-673F-6ABF4B00CD95}"/>
          </ac:grpSpMkLst>
        </pc:grpChg>
        <pc:grpChg chg="add mod">
          <ac:chgData name="Paul LEGEARD" userId="73b5704d-da1d-4b70-8e12-6d54d32b01a3" providerId="ADAL" clId="{7E21ABAC-2CC9-43D2-B356-F36799891C85}" dt="2023-03-29T08:35:20.461" v="2758" actId="465"/>
          <ac:grpSpMkLst>
            <pc:docMk/>
            <pc:sldMk cId="2896767368" sldId="2147374869"/>
            <ac:grpSpMk id="9" creationId="{6FDC5FF1-CAA2-15E8-966E-DC898A475145}"/>
          </ac:grpSpMkLst>
        </pc:grpChg>
      </pc:sldChg>
      <pc:sldChg chg="addSp delSp modSp mod">
        <pc:chgData name="Paul LEGEARD" userId="73b5704d-da1d-4b70-8e12-6d54d32b01a3" providerId="ADAL" clId="{7E21ABAC-2CC9-43D2-B356-F36799891C85}" dt="2023-04-04T07:55:11.427" v="9483" actId="404"/>
        <pc:sldMkLst>
          <pc:docMk/>
          <pc:sldMk cId="144615472" sldId="2147374870"/>
        </pc:sldMkLst>
        <pc:spChg chg="add mod">
          <ac:chgData name="Paul LEGEARD" userId="73b5704d-da1d-4b70-8e12-6d54d32b01a3" providerId="ADAL" clId="{7E21ABAC-2CC9-43D2-B356-F36799891C85}" dt="2023-04-04T07:55:11.427" v="9483" actId="404"/>
          <ac:spMkLst>
            <pc:docMk/>
            <pc:sldMk cId="144615472" sldId="2147374870"/>
            <ac:spMk id="2" creationId="{C583C801-00C2-3C77-CBD7-51F7543965E7}"/>
          </ac:spMkLst>
        </pc:spChg>
        <pc:spChg chg="add del mod">
          <ac:chgData name="Paul LEGEARD" userId="73b5704d-da1d-4b70-8e12-6d54d32b01a3" providerId="ADAL" clId="{7E21ABAC-2CC9-43D2-B356-F36799891C85}" dt="2023-03-29T08:07:43.799" v="1093" actId="478"/>
          <ac:spMkLst>
            <pc:docMk/>
            <pc:sldMk cId="144615472" sldId="2147374870"/>
            <ac:spMk id="3" creationId="{E80D1FE8-7FA5-7439-C79B-B7D3E5C1BA49}"/>
          </ac:spMkLst>
        </pc:spChg>
        <pc:spChg chg="add del mod">
          <ac:chgData name="Paul LEGEARD" userId="73b5704d-da1d-4b70-8e12-6d54d32b01a3" providerId="ADAL" clId="{7E21ABAC-2CC9-43D2-B356-F36799891C85}" dt="2023-03-29T08:07:36.544" v="1091" actId="478"/>
          <ac:spMkLst>
            <pc:docMk/>
            <pc:sldMk cId="144615472" sldId="2147374870"/>
            <ac:spMk id="12" creationId="{9383D276-5D94-6AB9-F18F-54E9C1C26A06}"/>
          </ac:spMkLst>
        </pc:spChg>
        <pc:spChg chg="add mod">
          <ac:chgData name="Paul LEGEARD" userId="73b5704d-da1d-4b70-8e12-6d54d32b01a3" providerId="ADAL" clId="{7E21ABAC-2CC9-43D2-B356-F36799891C85}" dt="2023-03-29T08:09:46.913" v="1150" actId="1076"/>
          <ac:spMkLst>
            <pc:docMk/>
            <pc:sldMk cId="144615472" sldId="2147374870"/>
            <ac:spMk id="13" creationId="{C6320FF4-3DAD-C8B4-7A3A-020E7EAC7B9A}"/>
          </ac:spMkLst>
        </pc:spChg>
        <pc:spChg chg="mod">
          <ac:chgData name="Paul LEGEARD" userId="73b5704d-da1d-4b70-8e12-6d54d32b01a3" providerId="ADAL" clId="{7E21ABAC-2CC9-43D2-B356-F36799891C85}" dt="2023-03-29T09:37:30.569" v="4716" actId="1076"/>
          <ac:spMkLst>
            <pc:docMk/>
            <pc:sldMk cId="144615472" sldId="2147374870"/>
            <ac:spMk id="14" creationId="{A4E99F72-3119-4CE3-2280-580BAE5C0B43}"/>
          </ac:spMkLst>
        </pc:spChg>
        <pc:spChg chg="add mod">
          <ac:chgData name="Paul LEGEARD" userId="73b5704d-da1d-4b70-8e12-6d54d32b01a3" providerId="ADAL" clId="{7E21ABAC-2CC9-43D2-B356-F36799891C85}" dt="2023-03-29T08:10:15.190" v="1226" actId="20577"/>
          <ac:spMkLst>
            <pc:docMk/>
            <pc:sldMk cId="144615472" sldId="2147374870"/>
            <ac:spMk id="17" creationId="{C0578604-03EF-23E5-0BAC-2BD93EF38A4F}"/>
          </ac:spMkLst>
        </pc:spChg>
        <pc:spChg chg="add mod">
          <ac:chgData name="Paul LEGEARD" userId="73b5704d-da1d-4b70-8e12-6d54d32b01a3" providerId="ADAL" clId="{7E21ABAC-2CC9-43D2-B356-F36799891C85}" dt="2023-03-29T08:13:19.708" v="1440" actId="1076"/>
          <ac:spMkLst>
            <pc:docMk/>
            <pc:sldMk cId="144615472" sldId="2147374870"/>
            <ac:spMk id="18" creationId="{AD1C2C33-2871-CD79-EC02-0717EED9B315}"/>
          </ac:spMkLst>
        </pc:spChg>
        <pc:spChg chg="add mod">
          <ac:chgData name="Paul LEGEARD" userId="73b5704d-da1d-4b70-8e12-6d54d32b01a3" providerId="ADAL" clId="{7E21ABAC-2CC9-43D2-B356-F36799891C85}" dt="2023-03-29T08:14:04.183" v="1470" actId="20577"/>
          <ac:spMkLst>
            <pc:docMk/>
            <pc:sldMk cId="144615472" sldId="2147374870"/>
            <ac:spMk id="19" creationId="{F0BDBB6C-09B1-19E1-9912-F4F3ADF1E9F1}"/>
          </ac:spMkLst>
        </pc:spChg>
        <pc:spChg chg="add del mod">
          <ac:chgData name="Paul LEGEARD" userId="73b5704d-da1d-4b70-8e12-6d54d32b01a3" providerId="ADAL" clId="{7E21ABAC-2CC9-43D2-B356-F36799891C85}" dt="2023-03-29T09:30:44.827" v="4605" actId="478"/>
          <ac:spMkLst>
            <pc:docMk/>
            <pc:sldMk cId="144615472" sldId="2147374870"/>
            <ac:spMk id="20" creationId="{7E453BAC-CB30-0E08-465A-787199B4699B}"/>
          </ac:spMkLst>
        </pc:spChg>
        <pc:spChg chg="mod">
          <ac:chgData name="Paul LEGEARD" userId="73b5704d-da1d-4b70-8e12-6d54d32b01a3" providerId="ADAL" clId="{7E21ABAC-2CC9-43D2-B356-F36799891C85}" dt="2023-03-29T09:37:05.798" v="4713" actId="1076"/>
          <ac:spMkLst>
            <pc:docMk/>
            <pc:sldMk cId="144615472" sldId="2147374870"/>
            <ac:spMk id="30" creationId="{660A2E51-A0A5-4E85-3E38-1ED06A8856BE}"/>
          </ac:spMkLst>
        </pc:spChg>
        <pc:spChg chg="mod">
          <ac:chgData name="Paul LEGEARD" userId="73b5704d-da1d-4b70-8e12-6d54d32b01a3" providerId="ADAL" clId="{7E21ABAC-2CC9-43D2-B356-F36799891C85}" dt="2023-04-04T07:55:11.427" v="9483" actId="404"/>
          <ac:spMkLst>
            <pc:docMk/>
            <pc:sldMk cId="144615472" sldId="2147374870"/>
            <ac:spMk id="36" creationId="{AA0C9A06-6A18-8C40-4D2D-A006C71107CE}"/>
          </ac:spMkLst>
        </pc:spChg>
        <pc:spChg chg="mod">
          <ac:chgData name="Paul LEGEARD" userId="73b5704d-da1d-4b70-8e12-6d54d32b01a3" providerId="ADAL" clId="{7E21ABAC-2CC9-43D2-B356-F36799891C85}" dt="2023-04-04T07:55:11.427" v="9483" actId="404"/>
          <ac:spMkLst>
            <pc:docMk/>
            <pc:sldMk cId="144615472" sldId="2147374870"/>
            <ac:spMk id="37" creationId="{FF140C7D-FA42-E545-8874-219F260CC8DB}"/>
          </ac:spMkLst>
        </pc:spChg>
        <pc:spChg chg="mod">
          <ac:chgData name="Paul LEGEARD" userId="73b5704d-da1d-4b70-8e12-6d54d32b01a3" providerId="ADAL" clId="{7E21ABAC-2CC9-43D2-B356-F36799891C85}" dt="2023-04-04T07:55:11.427" v="9483" actId="404"/>
          <ac:spMkLst>
            <pc:docMk/>
            <pc:sldMk cId="144615472" sldId="2147374870"/>
            <ac:spMk id="38" creationId="{2D1AF37D-9B2A-11AC-E494-52CA90959C06}"/>
          </ac:spMkLst>
        </pc:spChg>
        <pc:spChg chg="del mod">
          <ac:chgData name="Paul LEGEARD" userId="73b5704d-da1d-4b70-8e12-6d54d32b01a3" providerId="ADAL" clId="{7E21ABAC-2CC9-43D2-B356-F36799891C85}" dt="2023-03-31T09:44:34.393" v="8382" actId="478"/>
          <ac:spMkLst>
            <pc:docMk/>
            <pc:sldMk cId="144615472" sldId="2147374870"/>
            <ac:spMk id="39" creationId="{0F2B28F9-D2C1-09F4-0D90-34AFC52422FA}"/>
          </ac:spMkLst>
        </pc:spChg>
        <pc:spChg chg="mod">
          <ac:chgData name="Paul LEGEARD" userId="73b5704d-da1d-4b70-8e12-6d54d32b01a3" providerId="ADAL" clId="{7E21ABAC-2CC9-43D2-B356-F36799891C85}" dt="2023-04-04T07:55:11.427" v="9483" actId="404"/>
          <ac:spMkLst>
            <pc:docMk/>
            <pc:sldMk cId="144615472" sldId="2147374870"/>
            <ac:spMk id="41" creationId="{92EF87CB-7BCE-CB2B-1FCE-AEA2400A2C71}"/>
          </ac:spMkLst>
        </pc:spChg>
        <pc:spChg chg="mod">
          <ac:chgData name="Paul LEGEARD" userId="73b5704d-da1d-4b70-8e12-6d54d32b01a3" providerId="ADAL" clId="{7E21ABAC-2CC9-43D2-B356-F36799891C85}" dt="2023-04-04T07:55:11.427" v="9483" actId="404"/>
          <ac:spMkLst>
            <pc:docMk/>
            <pc:sldMk cId="144615472" sldId="2147374870"/>
            <ac:spMk id="42" creationId="{6B714DB7-306A-393A-71A2-4CD7CF4487DF}"/>
          </ac:spMkLst>
        </pc:spChg>
        <pc:spChg chg="mod">
          <ac:chgData name="Paul LEGEARD" userId="73b5704d-da1d-4b70-8e12-6d54d32b01a3" providerId="ADAL" clId="{7E21ABAC-2CC9-43D2-B356-F36799891C85}" dt="2023-04-04T07:55:11.427" v="9483" actId="404"/>
          <ac:spMkLst>
            <pc:docMk/>
            <pc:sldMk cId="144615472" sldId="2147374870"/>
            <ac:spMk id="44" creationId="{09F50408-81DD-7DDB-84BE-825176AD6522}"/>
          </ac:spMkLst>
        </pc:spChg>
        <pc:spChg chg="mod">
          <ac:chgData name="Paul LEGEARD" userId="73b5704d-da1d-4b70-8e12-6d54d32b01a3" providerId="ADAL" clId="{7E21ABAC-2CC9-43D2-B356-F36799891C85}" dt="2023-04-04T07:55:11.427" v="9483" actId="404"/>
          <ac:spMkLst>
            <pc:docMk/>
            <pc:sldMk cId="144615472" sldId="2147374870"/>
            <ac:spMk id="45" creationId="{E5D41454-3C67-6844-5FE3-048C373FEA45}"/>
          </ac:spMkLst>
        </pc:spChg>
        <pc:spChg chg="mod">
          <ac:chgData name="Paul LEGEARD" userId="73b5704d-da1d-4b70-8e12-6d54d32b01a3" providerId="ADAL" clId="{7E21ABAC-2CC9-43D2-B356-F36799891C85}" dt="2023-04-04T07:55:11.427" v="9483" actId="404"/>
          <ac:spMkLst>
            <pc:docMk/>
            <pc:sldMk cId="144615472" sldId="2147374870"/>
            <ac:spMk id="46" creationId="{516A7726-B039-63B6-BC43-A082DF3222A6}"/>
          </ac:spMkLst>
        </pc:spChg>
        <pc:spChg chg="mod">
          <ac:chgData name="Paul LEGEARD" userId="73b5704d-da1d-4b70-8e12-6d54d32b01a3" providerId="ADAL" clId="{7E21ABAC-2CC9-43D2-B356-F36799891C85}" dt="2023-04-04T07:55:11.427" v="9483" actId="404"/>
          <ac:spMkLst>
            <pc:docMk/>
            <pc:sldMk cId="144615472" sldId="2147374870"/>
            <ac:spMk id="47" creationId="{CBFB7CA8-5362-DA49-53BC-4A3CB3D71A22}"/>
          </ac:spMkLst>
        </pc:spChg>
        <pc:spChg chg="del">
          <ac:chgData name="Paul LEGEARD" userId="73b5704d-da1d-4b70-8e12-6d54d32b01a3" providerId="ADAL" clId="{7E21ABAC-2CC9-43D2-B356-F36799891C85}" dt="2023-03-29T09:37:49.083" v="4717" actId="478"/>
          <ac:spMkLst>
            <pc:docMk/>
            <pc:sldMk cId="144615472" sldId="2147374870"/>
            <ac:spMk id="48" creationId="{24913C9D-1987-2FA8-9AC1-A4BE83DE7959}"/>
          </ac:spMkLst>
        </pc:spChg>
        <pc:spChg chg="del">
          <ac:chgData name="Paul LEGEARD" userId="73b5704d-da1d-4b70-8e12-6d54d32b01a3" providerId="ADAL" clId="{7E21ABAC-2CC9-43D2-B356-F36799891C85}" dt="2023-03-29T09:37:49.083" v="4717" actId="478"/>
          <ac:spMkLst>
            <pc:docMk/>
            <pc:sldMk cId="144615472" sldId="2147374870"/>
            <ac:spMk id="49" creationId="{5D1D81FA-4969-18CC-9D77-765418EBDFEA}"/>
          </ac:spMkLst>
        </pc:spChg>
        <pc:spChg chg="del">
          <ac:chgData name="Paul LEGEARD" userId="73b5704d-da1d-4b70-8e12-6d54d32b01a3" providerId="ADAL" clId="{7E21ABAC-2CC9-43D2-B356-F36799891C85}" dt="2023-03-29T09:37:49.083" v="4717" actId="478"/>
          <ac:spMkLst>
            <pc:docMk/>
            <pc:sldMk cId="144615472" sldId="2147374870"/>
            <ac:spMk id="50" creationId="{7798B675-F392-2049-3021-D26A88D94EB1}"/>
          </ac:spMkLst>
        </pc:spChg>
        <pc:spChg chg="del">
          <ac:chgData name="Paul LEGEARD" userId="73b5704d-da1d-4b70-8e12-6d54d32b01a3" providerId="ADAL" clId="{7E21ABAC-2CC9-43D2-B356-F36799891C85}" dt="2023-03-29T09:37:49.083" v="4717" actId="478"/>
          <ac:spMkLst>
            <pc:docMk/>
            <pc:sldMk cId="144615472" sldId="2147374870"/>
            <ac:spMk id="51" creationId="{944540E4-EF1F-0B4B-094D-FED6E7C7EE78}"/>
          </ac:spMkLst>
        </pc:spChg>
        <pc:spChg chg="del">
          <ac:chgData name="Paul LEGEARD" userId="73b5704d-da1d-4b70-8e12-6d54d32b01a3" providerId="ADAL" clId="{7E21ABAC-2CC9-43D2-B356-F36799891C85}" dt="2023-03-29T09:37:49.083" v="4717" actId="478"/>
          <ac:spMkLst>
            <pc:docMk/>
            <pc:sldMk cId="144615472" sldId="2147374870"/>
            <ac:spMk id="52" creationId="{F75BCF96-8A8D-9736-CA06-4BA5D4BACCB5}"/>
          </ac:spMkLst>
        </pc:spChg>
        <pc:spChg chg="mod">
          <ac:chgData name="Paul LEGEARD" userId="73b5704d-da1d-4b70-8e12-6d54d32b01a3" providerId="ADAL" clId="{7E21ABAC-2CC9-43D2-B356-F36799891C85}" dt="2023-04-04T07:55:11.427" v="9483" actId="404"/>
          <ac:spMkLst>
            <pc:docMk/>
            <pc:sldMk cId="144615472" sldId="2147374870"/>
            <ac:spMk id="56" creationId="{8F88E245-9801-1861-4F8A-2FF33C8F66FE}"/>
          </ac:spMkLst>
        </pc:spChg>
        <pc:spChg chg="mod">
          <ac:chgData name="Paul LEGEARD" userId="73b5704d-da1d-4b70-8e12-6d54d32b01a3" providerId="ADAL" clId="{7E21ABAC-2CC9-43D2-B356-F36799891C85}" dt="2023-03-29T08:09:19.073" v="1148" actId="1035"/>
          <ac:spMkLst>
            <pc:docMk/>
            <pc:sldMk cId="144615472" sldId="2147374870"/>
            <ac:spMk id="61" creationId="{45220136-0161-5C26-5919-8130DA922B57}"/>
          </ac:spMkLst>
        </pc:spChg>
        <pc:spChg chg="mod">
          <ac:chgData name="Paul LEGEARD" userId="73b5704d-da1d-4b70-8e12-6d54d32b01a3" providerId="ADAL" clId="{7E21ABAC-2CC9-43D2-B356-F36799891C85}" dt="2023-03-29T08:09:19.073" v="1148" actId="1035"/>
          <ac:spMkLst>
            <pc:docMk/>
            <pc:sldMk cId="144615472" sldId="2147374870"/>
            <ac:spMk id="62" creationId="{458E0682-9EEC-8F9A-7250-99E0D342E645}"/>
          </ac:spMkLst>
        </pc:spChg>
        <pc:spChg chg="mod">
          <ac:chgData name="Paul LEGEARD" userId="73b5704d-da1d-4b70-8e12-6d54d32b01a3" providerId="ADAL" clId="{7E21ABAC-2CC9-43D2-B356-F36799891C85}" dt="2023-04-04T07:55:11.427" v="9483" actId="404"/>
          <ac:spMkLst>
            <pc:docMk/>
            <pc:sldMk cId="144615472" sldId="2147374870"/>
            <ac:spMk id="65" creationId="{FA2AC4DA-E236-5805-D1DC-F28274BAC1EB}"/>
          </ac:spMkLst>
        </pc:spChg>
        <pc:spChg chg="mod">
          <ac:chgData name="Paul LEGEARD" userId="73b5704d-da1d-4b70-8e12-6d54d32b01a3" providerId="ADAL" clId="{7E21ABAC-2CC9-43D2-B356-F36799891C85}" dt="2023-04-04T07:53:48.421" v="9480" actId="20577"/>
          <ac:spMkLst>
            <pc:docMk/>
            <pc:sldMk cId="144615472" sldId="2147374870"/>
            <ac:spMk id="66" creationId="{63CBC255-3AB4-FE5B-0763-B5A0A250691E}"/>
          </ac:spMkLst>
        </pc:spChg>
        <pc:spChg chg="mod">
          <ac:chgData name="Paul LEGEARD" userId="73b5704d-da1d-4b70-8e12-6d54d32b01a3" providerId="ADAL" clId="{7E21ABAC-2CC9-43D2-B356-F36799891C85}" dt="2023-03-29T09:36:55.118" v="4711" actId="20577"/>
          <ac:spMkLst>
            <pc:docMk/>
            <pc:sldMk cId="144615472" sldId="2147374870"/>
            <ac:spMk id="79" creationId="{9007893F-DE3F-4277-8B72-135CF4773651}"/>
          </ac:spMkLst>
        </pc:spChg>
        <pc:graphicFrameChg chg="modGraphic">
          <ac:chgData name="Paul LEGEARD" userId="73b5704d-da1d-4b70-8e12-6d54d32b01a3" providerId="ADAL" clId="{7E21ABAC-2CC9-43D2-B356-F36799891C85}" dt="2023-03-29T09:37:22.929" v="4715" actId="207"/>
          <ac:graphicFrameMkLst>
            <pc:docMk/>
            <pc:sldMk cId="144615472" sldId="2147374870"/>
            <ac:graphicFrameMk id="6" creationId="{A07424FC-D399-B361-0E68-57F5D0C350CC}"/>
          </ac:graphicFrameMkLst>
        </pc:graphicFrameChg>
      </pc:sldChg>
      <pc:sldChg chg="modSp mod modNotesTx">
        <pc:chgData name="Paul LEGEARD" userId="73b5704d-da1d-4b70-8e12-6d54d32b01a3" providerId="ADAL" clId="{7E21ABAC-2CC9-43D2-B356-F36799891C85}" dt="2023-04-04T08:09:12.269" v="9613" actId="572"/>
        <pc:sldMkLst>
          <pc:docMk/>
          <pc:sldMk cId="561478069" sldId="2147374871"/>
        </pc:sldMkLst>
        <pc:graphicFrameChg chg="mod modGraphic">
          <ac:chgData name="Paul LEGEARD" userId="73b5704d-da1d-4b70-8e12-6d54d32b01a3" providerId="ADAL" clId="{7E21ABAC-2CC9-43D2-B356-F36799891C85}" dt="2023-04-04T08:09:12.269" v="9613" actId="572"/>
          <ac:graphicFrameMkLst>
            <pc:docMk/>
            <pc:sldMk cId="561478069" sldId="2147374871"/>
            <ac:graphicFrameMk id="3" creationId="{C4CE32E3-6EEA-D6EA-4C98-76D6E419AA03}"/>
          </ac:graphicFrameMkLst>
        </pc:graphicFrameChg>
      </pc:sldChg>
      <pc:sldChg chg="del">
        <pc:chgData name="Paul LEGEARD" userId="73b5704d-da1d-4b70-8e12-6d54d32b01a3" providerId="ADAL" clId="{7E21ABAC-2CC9-43D2-B356-F36799891C85}" dt="2023-03-29T10:01:24.848" v="5914" actId="47"/>
        <pc:sldMkLst>
          <pc:docMk/>
          <pc:sldMk cId="3465458388" sldId="2147374872"/>
        </pc:sldMkLst>
      </pc:sldChg>
      <pc:sldChg chg="addSp delSp modSp mod ord modNotesTx">
        <pc:chgData name="Paul LEGEARD" userId="73b5704d-da1d-4b70-8e12-6d54d32b01a3" providerId="ADAL" clId="{7E21ABAC-2CC9-43D2-B356-F36799891C85}" dt="2023-04-04T07:41:44.084" v="9206" actId="12789"/>
        <pc:sldMkLst>
          <pc:docMk/>
          <pc:sldMk cId="4182100474" sldId="2147374873"/>
        </pc:sldMkLst>
        <pc:spChg chg="add del mod ord">
          <ac:chgData name="Paul LEGEARD" userId="73b5704d-da1d-4b70-8e12-6d54d32b01a3" providerId="ADAL" clId="{7E21ABAC-2CC9-43D2-B356-F36799891C85}" dt="2023-03-31T09:50:17.602" v="8737" actId="478"/>
          <ac:spMkLst>
            <pc:docMk/>
            <pc:sldMk cId="4182100474" sldId="2147374873"/>
            <ac:spMk id="2" creationId="{6AE92BD9-79CA-7821-A5BA-C0377A24D79D}"/>
          </ac:spMkLst>
        </pc:spChg>
        <pc:spChg chg="del">
          <ac:chgData name="Paul LEGEARD" userId="73b5704d-da1d-4b70-8e12-6d54d32b01a3" providerId="ADAL" clId="{7E21ABAC-2CC9-43D2-B356-F36799891C85}" dt="2023-03-29T07:51:21.945" v="853" actId="478"/>
          <ac:spMkLst>
            <pc:docMk/>
            <pc:sldMk cId="4182100474" sldId="2147374873"/>
            <ac:spMk id="2" creationId="{6EA44C6A-5FA1-D04E-241B-F55AACB3508E}"/>
          </ac:spMkLst>
        </pc:spChg>
        <pc:spChg chg="add del mod">
          <ac:chgData name="Paul LEGEARD" userId="73b5704d-da1d-4b70-8e12-6d54d32b01a3" providerId="ADAL" clId="{7E21ABAC-2CC9-43D2-B356-F36799891C85}" dt="2023-03-29T08:32:00.325" v="2623" actId="478"/>
          <ac:spMkLst>
            <pc:docMk/>
            <pc:sldMk cId="4182100474" sldId="2147374873"/>
            <ac:spMk id="3" creationId="{94646690-541E-6D7C-1074-E9103FED21A8}"/>
          </ac:spMkLst>
        </pc:spChg>
        <pc:spChg chg="add del mod">
          <ac:chgData name="Paul LEGEARD" userId="73b5704d-da1d-4b70-8e12-6d54d32b01a3" providerId="ADAL" clId="{7E21ABAC-2CC9-43D2-B356-F36799891C85}" dt="2023-03-31T09:50:32.585" v="8747" actId="478"/>
          <ac:spMkLst>
            <pc:docMk/>
            <pc:sldMk cId="4182100474" sldId="2147374873"/>
            <ac:spMk id="3" creationId="{BDFE4892-FB6F-A471-49E5-E9043C1FF7F6}"/>
          </ac:spMkLst>
        </pc:spChg>
        <pc:spChg chg="add mod topLvl">
          <ac:chgData name="Paul LEGEARD" userId="73b5704d-da1d-4b70-8e12-6d54d32b01a3" providerId="ADAL" clId="{7E21ABAC-2CC9-43D2-B356-F36799891C85}" dt="2023-04-04T07:41:31.602" v="9202" actId="1076"/>
          <ac:spMkLst>
            <pc:docMk/>
            <pc:sldMk cId="4182100474" sldId="2147374873"/>
            <ac:spMk id="4" creationId="{F67BDAD7-9BE9-6DBA-B1E1-17ED56B38A00}"/>
          </ac:spMkLst>
        </pc:spChg>
        <pc:spChg chg="add del">
          <ac:chgData name="Paul LEGEARD" userId="73b5704d-da1d-4b70-8e12-6d54d32b01a3" providerId="ADAL" clId="{7E21ABAC-2CC9-43D2-B356-F36799891C85}" dt="2023-03-31T09:50:16.014" v="8736" actId="478"/>
          <ac:spMkLst>
            <pc:docMk/>
            <pc:sldMk cId="4182100474" sldId="2147374873"/>
            <ac:spMk id="5" creationId="{6DE49BA5-1C67-4899-A6FD-68896B94F078}"/>
          </ac:spMkLst>
        </pc:spChg>
        <pc:spChg chg="add del">
          <ac:chgData name="Paul LEGEARD" userId="73b5704d-da1d-4b70-8e12-6d54d32b01a3" providerId="ADAL" clId="{7E21ABAC-2CC9-43D2-B356-F36799891C85}" dt="2023-03-31T09:50:16.014" v="8736" actId="478"/>
          <ac:spMkLst>
            <pc:docMk/>
            <pc:sldMk cId="4182100474" sldId="2147374873"/>
            <ac:spMk id="6" creationId="{9FD44200-2B2E-471A-8D8E-3847F4191214}"/>
          </ac:spMkLst>
        </pc:spChg>
        <pc:spChg chg="add del mod">
          <ac:chgData name="Paul LEGEARD" userId="73b5704d-da1d-4b70-8e12-6d54d32b01a3" providerId="ADAL" clId="{7E21ABAC-2CC9-43D2-B356-F36799891C85}" dt="2023-03-31T09:46:14.080" v="8465" actId="478"/>
          <ac:spMkLst>
            <pc:docMk/>
            <pc:sldMk cId="4182100474" sldId="2147374873"/>
            <ac:spMk id="7" creationId="{7CF615F2-1994-331E-7D5D-A7F25BB39E38}"/>
          </ac:spMkLst>
        </pc:spChg>
        <pc:spChg chg="add del mod">
          <ac:chgData name="Paul LEGEARD" userId="73b5704d-da1d-4b70-8e12-6d54d32b01a3" providerId="ADAL" clId="{7E21ABAC-2CC9-43D2-B356-F36799891C85}" dt="2023-03-31T09:50:21.345" v="8739" actId="478"/>
          <ac:spMkLst>
            <pc:docMk/>
            <pc:sldMk cId="4182100474" sldId="2147374873"/>
            <ac:spMk id="8" creationId="{8DE96893-6252-4DD9-952A-91054C014821}"/>
          </ac:spMkLst>
        </pc:spChg>
        <pc:spChg chg="add del mod">
          <ac:chgData name="Paul LEGEARD" userId="73b5704d-da1d-4b70-8e12-6d54d32b01a3" providerId="ADAL" clId="{7E21ABAC-2CC9-43D2-B356-F36799891C85}" dt="2023-03-31T09:50:18.467" v="8738" actId="478"/>
          <ac:spMkLst>
            <pc:docMk/>
            <pc:sldMk cId="4182100474" sldId="2147374873"/>
            <ac:spMk id="9" creationId="{603531B2-121C-3803-FB96-209B957D2BA0}"/>
          </ac:spMkLst>
        </pc:spChg>
        <pc:spChg chg="add del mod">
          <ac:chgData name="Paul LEGEARD" userId="73b5704d-da1d-4b70-8e12-6d54d32b01a3" providerId="ADAL" clId="{7E21ABAC-2CC9-43D2-B356-F36799891C85}" dt="2023-03-29T08:29:08.381" v="2409" actId="478"/>
          <ac:spMkLst>
            <pc:docMk/>
            <pc:sldMk cId="4182100474" sldId="2147374873"/>
            <ac:spMk id="9" creationId="{D8C946D3-F407-AA81-DC98-F37D9EA8C1C1}"/>
          </ac:spMkLst>
        </pc:spChg>
        <pc:spChg chg="add mod topLvl">
          <ac:chgData name="Paul LEGEARD" userId="73b5704d-da1d-4b70-8e12-6d54d32b01a3" providerId="ADAL" clId="{7E21ABAC-2CC9-43D2-B356-F36799891C85}" dt="2023-04-04T07:41:33.545" v="9205" actId="6549"/>
          <ac:spMkLst>
            <pc:docMk/>
            <pc:sldMk cId="4182100474" sldId="2147374873"/>
            <ac:spMk id="10" creationId="{23F55E87-1D4F-62AB-3641-5E0A49415BFC}"/>
          </ac:spMkLst>
        </pc:spChg>
        <pc:spChg chg="add del mod ord">
          <ac:chgData name="Paul LEGEARD" userId="73b5704d-da1d-4b70-8e12-6d54d32b01a3" providerId="ADAL" clId="{7E21ABAC-2CC9-43D2-B356-F36799891C85}" dt="2023-03-31T09:45:16.468" v="8397" actId="478"/>
          <ac:spMkLst>
            <pc:docMk/>
            <pc:sldMk cId="4182100474" sldId="2147374873"/>
            <ac:spMk id="11" creationId="{9A71EB09-C9AD-6ABC-8583-FD3924E1BD1A}"/>
          </ac:spMkLst>
        </pc:spChg>
        <pc:spChg chg="add del mod">
          <ac:chgData name="Paul LEGEARD" userId="73b5704d-da1d-4b70-8e12-6d54d32b01a3" providerId="ADAL" clId="{7E21ABAC-2CC9-43D2-B356-F36799891C85}" dt="2023-03-31T09:50:33.984" v="8748" actId="478"/>
          <ac:spMkLst>
            <pc:docMk/>
            <pc:sldMk cId="4182100474" sldId="2147374873"/>
            <ac:spMk id="12" creationId="{568BC256-F5C6-DC34-66B8-8F49D6CA8B10}"/>
          </ac:spMkLst>
        </pc:spChg>
        <pc:spChg chg="add del mod ord">
          <ac:chgData name="Paul LEGEARD" userId="73b5704d-da1d-4b70-8e12-6d54d32b01a3" providerId="ADAL" clId="{7E21ABAC-2CC9-43D2-B356-F36799891C85}" dt="2023-03-31T09:50:30.077" v="8746" actId="478"/>
          <ac:spMkLst>
            <pc:docMk/>
            <pc:sldMk cId="4182100474" sldId="2147374873"/>
            <ac:spMk id="13" creationId="{CD96ECF2-2239-8552-793C-4B451D26E4F4}"/>
          </ac:spMkLst>
        </pc:spChg>
        <pc:spChg chg="add del mod">
          <ac:chgData name="Paul LEGEARD" userId="73b5704d-da1d-4b70-8e12-6d54d32b01a3" providerId="ADAL" clId="{7E21ABAC-2CC9-43D2-B356-F36799891C85}" dt="2023-03-31T09:50:29.142" v="8745" actId="478"/>
          <ac:spMkLst>
            <pc:docMk/>
            <pc:sldMk cId="4182100474" sldId="2147374873"/>
            <ac:spMk id="14" creationId="{BC1B1773-FA23-31A0-3C80-EFD24BA68AD8}"/>
          </ac:spMkLst>
        </pc:spChg>
        <pc:spChg chg="add del mod">
          <ac:chgData name="Paul LEGEARD" userId="73b5704d-da1d-4b70-8e12-6d54d32b01a3" providerId="ADAL" clId="{7E21ABAC-2CC9-43D2-B356-F36799891C85}" dt="2023-03-31T09:51:07.527" v="8759" actId="478"/>
          <ac:spMkLst>
            <pc:docMk/>
            <pc:sldMk cId="4182100474" sldId="2147374873"/>
            <ac:spMk id="15" creationId="{27C966ED-59DE-84FD-8830-2F8CBD84FB4E}"/>
          </ac:spMkLst>
        </pc:spChg>
        <pc:spChg chg="add del mod">
          <ac:chgData name="Paul LEGEARD" userId="73b5704d-da1d-4b70-8e12-6d54d32b01a3" providerId="ADAL" clId="{7E21ABAC-2CC9-43D2-B356-F36799891C85}" dt="2023-03-31T09:50:23.645" v="8740" actId="478"/>
          <ac:spMkLst>
            <pc:docMk/>
            <pc:sldMk cId="4182100474" sldId="2147374873"/>
            <ac:spMk id="16" creationId="{08BE8851-0947-25EA-BD0A-249BC19CFB79}"/>
          </ac:spMkLst>
        </pc:spChg>
        <pc:spChg chg="add del mod">
          <ac:chgData name="Paul LEGEARD" userId="73b5704d-da1d-4b70-8e12-6d54d32b01a3" providerId="ADAL" clId="{7E21ABAC-2CC9-43D2-B356-F36799891C85}" dt="2023-03-31T09:50:25" v="8741" actId="478"/>
          <ac:spMkLst>
            <pc:docMk/>
            <pc:sldMk cId="4182100474" sldId="2147374873"/>
            <ac:spMk id="17" creationId="{DE442E00-4709-3BBC-6519-FECBE084205A}"/>
          </ac:spMkLst>
        </pc:spChg>
        <pc:spChg chg="add del mod">
          <ac:chgData name="Paul LEGEARD" userId="73b5704d-da1d-4b70-8e12-6d54d32b01a3" providerId="ADAL" clId="{7E21ABAC-2CC9-43D2-B356-F36799891C85}" dt="2023-03-31T09:50:25.692" v="8742" actId="478"/>
          <ac:spMkLst>
            <pc:docMk/>
            <pc:sldMk cId="4182100474" sldId="2147374873"/>
            <ac:spMk id="18" creationId="{9FE0C88C-BE0D-C7E9-C01A-4A6BA684E52F}"/>
          </ac:spMkLst>
        </pc:spChg>
        <pc:spChg chg="add del mod">
          <ac:chgData name="Paul LEGEARD" userId="73b5704d-da1d-4b70-8e12-6d54d32b01a3" providerId="ADAL" clId="{7E21ABAC-2CC9-43D2-B356-F36799891C85}" dt="2023-03-31T09:50:26.809" v="8743" actId="478"/>
          <ac:spMkLst>
            <pc:docMk/>
            <pc:sldMk cId="4182100474" sldId="2147374873"/>
            <ac:spMk id="19" creationId="{E08FC8FD-40EE-3A99-7B8A-CC287B2D3BEC}"/>
          </ac:spMkLst>
        </pc:spChg>
        <pc:spChg chg="add del mod">
          <ac:chgData name="Paul LEGEARD" userId="73b5704d-da1d-4b70-8e12-6d54d32b01a3" providerId="ADAL" clId="{7E21ABAC-2CC9-43D2-B356-F36799891C85}" dt="2023-03-31T09:50:27.862" v="8744" actId="478"/>
          <ac:spMkLst>
            <pc:docMk/>
            <pc:sldMk cId="4182100474" sldId="2147374873"/>
            <ac:spMk id="20" creationId="{E682CCF1-909D-51FA-4B0B-BE331016776B}"/>
          </ac:spMkLst>
        </pc:spChg>
        <pc:spChg chg="add del mod">
          <ac:chgData name="Paul LEGEARD" userId="73b5704d-da1d-4b70-8e12-6d54d32b01a3" providerId="ADAL" clId="{7E21ABAC-2CC9-43D2-B356-F36799891C85}" dt="2023-03-31T09:46:21.893" v="8468" actId="478"/>
          <ac:spMkLst>
            <pc:docMk/>
            <pc:sldMk cId="4182100474" sldId="2147374873"/>
            <ac:spMk id="21" creationId="{ECDADBAA-1424-6D32-D5CA-41033CD66322}"/>
          </ac:spMkLst>
        </pc:spChg>
        <pc:spChg chg="add del mod">
          <ac:chgData name="Paul LEGEARD" userId="73b5704d-da1d-4b70-8e12-6d54d32b01a3" providerId="ADAL" clId="{7E21ABAC-2CC9-43D2-B356-F36799891C85}" dt="2023-03-31T09:46:21.893" v="8468" actId="478"/>
          <ac:spMkLst>
            <pc:docMk/>
            <pc:sldMk cId="4182100474" sldId="2147374873"/>
            <ac:spMk id="22" creationId="{00DB21BF-5D2F-F930-434D-998200D1A97E}"/>
          </ac:spMkLst>
        </pc:spChg>
        <pc:spChg chg="add del mod">
          <ac:chgData name="Paul LEGEARD" userId="73b5704d-da1d-4b70-8e12-6d54d32b01a3" providerId="ADAL" clId="{7E21ABAC-2CC9-43D2-B356-F36799891C85}" dt="2023-03-31T09:46:27.996" v="8473" actId="478"/>
          <ac:spMkLst>
            <pc:docMk/>
            <pc:sldMk cId="4182100474" sldId="2147374873"/>
            <ac:spMk id="23" creationId="{E95CD030-0FC8-7020-7773-D2933D51EBBF}"/>
          </ac:spMkLst>
        </pc:spChg>
        <pc:spChg chg="add del mod">
          <ac:chgData name="Paul LEGEARD" userId="73b5704d-da1d-4b70-8e12-6d54d32b01a3" providerId="ADAL" clId="{7E21ABAC-2CC9-43D2-B356-F36799891C85}" dt="2023-03-31T09:46:27.996" v="8473" actId="478"/>
          <ac:spMkLst>
            <pc:docMk/>
            <pc:sldMk cId="4182100474" sldId="2147374873"/>
            <ac:spMk id="24" creationId="{324CD22C-D22E-92AD-143C-BF05CEC87568}"/>
          </ac:spMkLst>
        </pc:spChg>
        <pc:spChg chg="mod topLvl">
          <ac:chgData name="Paul LEGEARD" userId="73b5704d-da1d-4b70-8e12-6d54d32b01a3" providerId="ADAL" clId="{7E21ABAC-2CC9-43D2-B356-F36799891C85}" dt="2023-03-31T09:55:29.936" v="8827" actId="164"/>
          <ac:spMkLst>
            <pc:docMk/>
            <pc:sldMk cId="4182100474" sldId="2147374873"/>
            <ac:spMk id="27" creationId="{FE4C613F-E581-F8C7-DCA2-C896380DB388}"/>
          </ac:spMkLst>
        </pc:spChg>
        <pc:spChg chg="mod topLvl">
          <ac:chgData name="Paul LEGEARD" userId="73b5704d-da1d-4b70-8e12-6d54d32b01a3" providerId="ADAL" clId="{7E21ABAC-2CC9-43D2-B356-F36799891C85}" dt="2023-03-31T09:55:29.936" v="8827" actId="164"/>
          <ac:spMkLst>
            <pc:docMk/>
            <pc:sldMk cId="4182100474" sldId="2147374873"/>
            <ac:spMk id="28" creationId="{005C5CF3-D720-3A8B-F9A8-61634619CD9E}"/>
          </ac:spMkLst>
        </pc:spChg>
        <pc:spChg chg="mod topLvl">
          <ac:chgData name="Paul LEGEARD" userId="73b5704d-da1d-4b70-8e12-6d54d32b01a3" providerId="ADAL" clId="{7E21ABAC-2CC9-43D2-B356-F36799891C85}" dt="2023-04-03T15:04:29.924" v="9007" actId="20577"/>
          <ac:spMkLst>
            <pc:docMk/>
            <pc:sldMk cId="4182100474" sldId="2147374873"/>
            <ac:spMk id="30" creationId="{F7242A69-55CB-73C8-B721-65F7B388D971}"/>
          </ac:spMkLst>
        </pc:spChg>
        <pc:spChg chg="mod topLvl">
          <ac:chgData name="Paul LEGEARD" userId="73b5704d-da1d-4b70-8e12-6d54d32b01a3" providerId="ADAL" clId="{7E21ABAC-2CC9-43D2-B356-F36799891C85}" dt="2023-03-31T09:56:06.007" v="8834" actId="164"/>
          <ac:spMkLst>
            <pc:docMk/>
            <pc:sldMk cId="4182100474" sldId="2147374873"/>
            <ac:spMk id="31" creationId="{A47CA777-8757-491C-FEEB-E33E16A10BF7}"/>
          </ac:spMkLst>
        </pc:spChg>
        <pc:spChg chg="mod topLvl">
          <ac:chgData name="Paul LEGEARD" userId="73b5704d-da1d-4b70-8e12-6d54d32b01a3" providerId="ADAL" clId="{7E21ABAC-2CC9-43D2-B356-F36799891C85}" dt="2023-04-03T15:05:03.073" v="9074" actId="20577"/>
          <ac:spMkLst>
            <pc:docMk/>
            <pc:sldMk cId="4182100474" sldId="2147374873"/>
            <ac:spMk id="33" creationId="{1632FFEC-890E-B4F2-0258-A73757159E26}"/>
          </ac:spMkLst>
        </pc:spChg>
        <pc:spChg chg="mod topLvl">
          <ac:chgData name="Paul LEGEARD" userId="73b5704d-da1d-4b70-8e12-6d54d32b01a3" providerId="ADAL" clId="{7E21ABAC-2CC9-43D2-B356-F36799891C85}" dt="2023-03-31T09:55:36.697" v="8829" actId="164"/>
          <ac:spMkLst>
            <pc:docMk/>
            <pc:sldMk cId="4182100474" sldId="2147374873"/>
            <ac:spMk id="34" creationId="{F39D2A20-14D3-0A7B-171A-8093616BCCCF}"/>
          </ac:spMkLst>
        </pc:spChg>
        <pc:spChg chg="mod topLvl">
          <ac:chgData name="Paul LEGEARD" userId="73b5704d-da1d-4b70-8e12-6d54d32b01a3" providerId="ADAL" clId="{7E21ABAC-2CC9-43D2-B356-F36799891C85}" dt="2023-04-04T07:41:44.084" v="9206" actId="12789"/>
          <ac:spMkLst>
            <pc:docMk/>
            <pc:sldMk cId="4182100474" sldId="2147374873"/>
            <ac:spMk id="36" creationId="{61F7C4FD-D4D9-EC73-40F2-0A541C9D2739}"/>
          </ac:spMkLst>
        </pc:spChg>
        <pc:spChg chg="mod topLvl">
          <ac:chgData name="Paul LEGEARD" userId="73b5704d-da1d-4b70-8e12-6d54d32b01a3" providerId="ADAL" clId="{7E21ABAC-2CC9-43D2-B356-F36799891C85}" dt="2023-04-04T07:41:44.084" v="9206" actId="12789"/>
          <ac:spMkLst>
            <pc:docMk/>
            <pc:sldMk cId="4182100474" sldId="2147374873"/>
            <ac:spMk id="37" creationId="{798F65B1-A95A-34E4-95CE-82421205CA18}"/>
          </ac:spMkLst>
        </pc:spChg>
        <pc:spChg chg="mod topLvl">
          <ac:chgData name="Paul LEGEARD" userId="73b5704d-da1d-4b70-8e12-6d54d32b01a3" providerId="ADAL" clId="{7E21ABAC-2CC9-43D2-B356-F36799891C85}" dt="2023-03-31T09:55:41.370" v="8830" actId="164"/>
          <ac:spMkLst>
            <pc:docMk/>
            <pc:sldMk cId="4182100474" sldId="2147374873"/>
            <ac:spMk id="39" creationId="{D4DC465F-9003-EB65-1F35-47B86FD7AD38}"/>
          </ac:spMkLst>
        </pc:spChg>
        <pc:spChg chg="mod topLvl">
          <ac:chgData name="Paul LEGEARD" userId="73b5704d-da1d-4b70-8e12-6d54d32b01a3" providerId="ADAL" clId="{7E21ABAC-2CC9-43D2-B356-F36799891C85}" dt="2023-04-03T15:04:17.103" v="9002" actId="14100"/>
          <ac:spMkLst>
            <pc:docMk/>
            <pc:sldMk cId="4182100474" sldId="2147374873"/>
            <ac:spMk id="40" creationId="{9647CF43-A9F1-A1AB-B95F-E93E92139F20}"/>
          </ac:spMkLst>
        </pc:spChg>
        <pc:spChg chg="mod topLvl">
          <ac:chgData name="Paul LEGEARD" userId="73b5704d-da1d-4b70-8e12-6d54d32b01a3" providerId="ADAL" clId="{7E21ABAC-2CC9-43D2-B356-F36799891C85}" dt="2023-04-03T15:03:02.658" v="8929" actId="20577"/>
          <ac:spMkLst>
            <pc:docMk/>
            <pc:sldMk cId="4182100474" sldId="2147374873"/>
            <ac:spMk id="42" creationId="{090B7A44-1F18-AFC9-C4B3-C75990BE950D}"/>
          </ac:spMkLst>
        </pc:spChg>
        <pc:spChg chg="mod topLvl">
          <ac:chgData name="Paul LEGEARD" userId="73b5704d-da1d-4b70-8e12-6d54d32b01a3" providerId="ADAL" clId="{7E21ABAC-2CC9-43D2-B356-F36799891C85}" dt="2023-03-31T09:55:33.123" v="8828" actId="164"/>
          <ac:spMkLst>
            <pc:docMk/>
            <pc:sldMk cId="4182100474" sldId="2147374873"/>
            <ac:spMk id="43" creationId="{881FE700-9499-56BC-C02F-3247F034227C}"/>
          </ac:spMkLst>
        </pc:spChg>
        <pc:spChg chg="mod topLvl">
          <ac:chgData name="Paul LEGEARD" userId="73b5704d-da1d-4b70-8e12-6d54d32b01a3" providerId="ADAL" clId="{7E21ABAC-2CC9-43D2-B356-F36799891C85}" dt="2023-03-31T09:56:01.488" v="8833" actId="164"/>
          <ac:spMkLst>
            <pc:docMk/>
            <pc:sldMk cId="4182100474" sldId="2147374873"/>
            <ac:spMk id="45" creationId="{03244371-D1FD-96A9-A7FA-34D89447A8F1}"/>
          </ac:spMkLst>
        </pc:spChg>
        <pc:spChg chg="mod topLvl">
          <ac:chgData name="Paul LEGEARD" userId="73b5704d-da1d-4b70-8e12-6d54d32b01a3" providerId="ADAL" clId="{7E21ABAC-2CC9-43D2-B356-F36799891C85}" dt="2023-03-31T09:56:01.488" v="8833" actId="164"/>
          <ac:spMkLst>
            <pc:docMk/>
            <pc:sldMk cId="4182100474" sldId="2147374873"/>
            <ac:spMk id="46" creationId="{A2551F7E-B003-18B4-161A-6BDB608A56DA}"/>
          </ac:spMkLst>
        </pc:spChg>
        <pc:spChg chg="mod topLvl">
          <ac:chgData name="Paul LEGEARD" userId="73b5704d-da1d-4b70-8e12-6d54d32b01a3" providerId="ADAL" clId="{7E21ABAC-2CC9-43D2-B356-F36799891C85}" dt="2023-03-31T09:55:56.786" v="8832" actId="164"/>
          <ac:spMkLst>
            <pc:docMk/>
            <pc:sldMk cId="4182100474" sldId="2147374873"/>
            <ac:spMk id="48" creationId="{4FEE84D0-CE02-E257-602A-463014DD51A2}"/>
          </ac:spMkLst>
        </pc:spChg>
        <pc:spChg chg="mod topLvl">
          <ac:chgData name="Paul LEGEARD" userId="73b5704d-da1d-4b70-8e12-6d54d32b01a3" providerId="ADAL" clId="{7E21ABAC-2CC9-43D2-B356-F36799891C85}" dt="2023-03-31T09:55:56.786" v="8832" actId="164"/>
          <ac:spMkLst>
            <pc:docMk/>
            <pc:sldMk cId="4182100474" sldId="2147374873"/>
            <ac:spMk id="49" creationId="{70D0AD72-9195-4F5E-0547-DF9D5082F5A7}"/>
          </ac:spMkLst>
        </pc:spChg>
        <pc:spChg chg="mod topLvl">
          <ac:chgData name="Paul LEGEARD" userId="73b5704d-da1d-4b70-8e12-6d54d32b01a3" providerId="ADAL" clId="{7E21ABAC-2CC9-43D2-B356-F36799891C85}" dt="2023-03-31T09:55:47.999" v="8831" actId="164"/>
          <ac:spMkLst>
            <pc:docMk/>
            <pc:sldMk cId="4182100474" sldId="2147374873"/>
            <ac:spMk id="51" creationId="{CA940D74-52C5-2C68-9464-0D709B50E1C5}"/>
          </ac:spMkLst>
        </pc:spChg>
        <pc:spChg chg="mod topLvl">
          <ac:chgData name="Paul LEGEARD" userId="73b5704d-da1d-4b70-8e12-6d54d32b01a3" providerId="ADAL" clId="{7E21ABAC-2CC9-43D2-B356-F36799891C85}" dt="2023-03-31T09:55:47.999" v="8831" actId="164"/>
          <ac:spMkLst>
            <pc:docMk/>
            <pc:sldMk cId="4182100474" sldId="2147374873"/>
            <ac:spMk id="52" creationId="{D3A5B6EE-890C-7B96-7450-052E2BC58580}"/>
          </ac:spMkLst>
        </pc:spChg>
        <pc:spChg chg="mod">
          <ac:chgData name="Paul LEGEARD" userId="73b5704d-da1d-4b70-8e12-6d54d32b01a3" providerId="ADAL" clId="{7E21ABAC-2CC9-43D2-B356-F36799891C85}" dt="2023-03-31T09:46:23.204" v="8470" actId="1076"/>
          <ac:spMkLst>
            <pc:docMk/>
            <pc:sldMk cId="4182100474" sldId="2147374873"/>
            <ac:spMk id="79" creationId="{9007893F-DE3F-4277-8B72-135CF4773651}"/>
          </ac:spMkLst>
        </pc:spChg>
        <pc:grpChg chg="add del mod">
          <ac:chgData name="Paul LEGEARD" userId="73b5704d-da1d-4b70-8e12-6d54d32b01a3" providerId="ADAL" clId="{7E21ABAC-2CC9-43D2-B356-F36799891C85}" dt="2023-03-31T09:51:23.679" v="8761" actId="165"/>
          <ac:grpSpMkLst>
            <pc:docMk/>
            <pc:sldMk cId="4182100474" sldId="2147374873"/>
            <ac:grpSpMk id="25" creationId="{13F5D856-90C4-0CA0-C073-3387480B9326}"/>
          </ac:grpSpMkLst>
        </pc:grpChg>
        <pc:grpChg chg="add del mod">
          <ac:chgData name="Paul LEGEARD" userId="73b5704d-da1d-4b70-8e12-6d54d32b01a3" providerId="ADAL" clId="{7E21ABAC-2CC9-43D2-B356-F36799891C85}" dt="2023-03-31T09:51:23.679" v="8761" actId="165"/>
          <ac:grpSpMkLst>
            <pc:docMk/>
            <pc:sldMk cId="4182100474" sldId="2147374873"/>
            <ac:grpSpMk id="26" creationId="{2E2F0B39-004C-16C4-5FBF-54008CE5871D}"/>
          </ac:grpSpMkLst>
        </pc:grpChg>
        <pc:grpChg chg="add del mod">
          <ac:chgData name="Paul LEGEARD" userId="73b5704d-da1d-4b70-8e12-6d54d32b01a3" providerId="ADAL" clId="{7E21ABAC-2CC9-43D2-B356-F36799891C85}" dt="2023-03-31T09:51:23.679" v="8761" actId="165"/>
          <ac:grpSpMkLst>
            <pc:docMk/>
            <pc:sldMk cId="4182100474" sldId="2147374873"/>
            <ac:grpSpMk id="29" creationId="{9F2295E4-43C5-114C-EBF5-F73DC8FC1E8E}"/>
          </ac:grpSpMkLst>
        </pc:grpChg>
        <pc:grpChg chg="add del mod">
          <ac:chgData name="Paul LEGEARD" userId="73b5704d-da1d-4b70-8e12-6d54d32b01a3" providerId="ADAL" clId="{7E21ABAC-2CC9-43D2-B356-F36799891C85}" dt="2023-03-31T09:51:23.679" v="8761" actId="165"/>
          <ac:grpSpMkLst>
            <pc:docMk/>
            <pc:sldMk cId="4182100474" sldId="2147374873"/>
            <ac:grpSpMk id="32" creationId="{377AE88D-5952-32EF-0903-E39D9019E1E8}"/>
          </ac:grpSpMkLst>
        </pc:grpChg>
        <pc:grpChg chg="add del mod">
          <ac:chgData name="Paul LEGEARD" userId="73b5704d-da1d-4b70-8e12-6d54d32b01a3" providerId="ADAL" clId="{7E21ABAC-2CC9-43D2-B356-F36799891C85}" dt="2023-03-31T09:51:23.679" v="8761" actId="165"/>
          <ac:grpSpMkLst>
            <pc:docMk/>
            <pc:sldMk cId="4182100474" sldId="2147374873"/>
            <ac:grpSpMk id="35" creationId="{98C40E96-5664-B38A-E9E0-CF675B7018A0}"/>
          </ac:grpSpMkLst>
        </pc:grpChg>
        <pc:grpChg chg="add del mod">
          <ac:chgData name="Paul LEGEARD" userId="73b5704d-da1d-4b70-8e12-6d54d32b01a3" providerId="ADAL" clId="{7E21ABAC-2CC9-43D2-B356-F36799891C85}" dt="2023-03-31T09:51:23.679" v="8761" actId="165"/>
          <ac:grpSpMkLst>
            <pc:docMk/>
            <pc:sldMk cId="4182100474" sldId="2147374873"/>
            <ac:grpSpMk id="38" creationId="{5572292E-ADE7-0F0F-9D82-B327581B2E32}"/>
          </ac:grpSpMkLst>
        </pc:grpChg>
        <pc:grpChg chg="add del mod">
          <ac:chgData name="Paul LEGEARD" userId="73b5704d-da1d-4b70-8e12-6d54d32b01a3" providerId="ADAL" clId="{7E21ABAC-2CC9-43D2-B356-F36799891C85}" dt="2023-03-31T09:51:23.679" v="8761" actId="165"/>
          <ac:grpSpMkLst>
            <pc:docMk/>
            <pc:sldMk cId="4182100474" sldId="2147374873"/>
            <ac:grpSpMk id="41" creationId="{3114741C-4203-1437-589F-CE849109AB1C}"/>
          </ac:grpSpMkLst>
        </pc:grpChg>
        <pc:grpChg chg="add del mod">
          <ac:chgData name="Paul LEGEARD" userId="73b5704d-da1d-4b70-8e12-6d54d32b01a3" providerId="ADAL" clId="{7E21ABAC-2CC9-43D2-B356-F36799891C85}" dt="2023-03-31T09:51:23.679" v="8761" actId="165"/>
          <ac:grpSpMkLst>
            <pc:docMk/>
            <pc:sldMk cId="4182100474" sldId="2147374873"/>
            <ac:grpSpMk id="44" creationId="{BBAC7AE6-7CEF-FEB2-88A4-279239DDF0E6}"/>
          </ac:grpSpMkLst>
        </pc:grpChg>
        <pc:grpChg chg="add del mod">
          <ac:chgData name="Paul LEGEARD" userId="73b5704d-da1d-4b70-8e12-6d54d32b01a3" providerId="ADAL" clId="{7E21ABAC-2CC9-43D2-B356-F36799891C85}" dt="2023-03-31T09:51:23.679" v="8761" actId="165"/>
          <ac:grpSpMkLst>
            <pc:docMk/>
            <pc:sldMk cId="4182100474" sldId="2147374873"/>
            <ac:grpSpMk id="47" creationId="{C802A37D-35DD-81C6-D592-336B89A89417}"/>
          </ac:grpSpMkLst>
        </pc:grpChg>
        <pc:grpChg chg="add del mod">
          <ac:chgData name="Paul LEGEARD" userId="73b5704d-da1d-4b70-8e12-6d54d32b01a3" providerId="ADAL" clId="{7E21ABAC-2CC9-43D2-B356-F36799891C85}" dt="2023-03-31T09:51:23.679" v="8761" actId="165"/>
          <ac:grpSpMkLst>
            <pc:docMk/>
            <pc:sldMk cId="4182100474" sldId="2147374873"/>
            <ac:grpSpMk id="50" creationId="{D99CF897-1500-FDD7-43FC-CA50F9F19609}"/>
          </ac:grpSpMkLst>
        </pc:grpChg>
        <pc:grpChg chg="add mod">
          <ac:chgData name="Paul LEGEARD" userId="73b5704d-da1d-4b70-8e12-6d54d32b01a3" providerId="ADAL" clId="{7E21ABAC-2CC9-43D2-B356-F36799891C85}" dt="2023-03-31T09:56:19.633" v="8836" actId="552"/>
          <ac:grpSpMkLst>
            <pc:docMk/>
            <pc:sldMk cId="4182100474" sldId="2147374873"/>
            <ac:grpSpMk id="53" creationId="{1B6101D5-BD2D-BF30-2143-ADBC0120B1E2}"/>
          </ac:grpSpMkLst>
        </pc:grpChg>
        <pc:grpChg chg="add mod">
          <ac:chgData name="Paul LEGEARD" userId="73b5704d-da1d-4b70-8e12-6d54d32b01a3" providerId="ADAL" clId="{7E21ABAC-2CC9-43D2-B356-F36799891C85}" dt="2023-04-03T15:03:21.118" v="8973" actId="465"/>
          <ac:grpSpMkLst>
            <pc:docMk/>
            <pc:sldMk cId="4182100474" sldId="2147374873"/>
            <ac:grpSpMk id="54" creationId="{D1530A99-22D1-41EE-E461-79415451C69E}"/>
          </ac:grpSpMkLst>
        </pc:grpChg>
        <pc:grpChg chg="add mod">
          <ac:chgData name="Paul LEGEARD" userId="73b5704d-da1d-4b70-8e12-6d54d32b01a3" providerId="ADAL" clId="{7E21ABAC-2CC9-43D2-B356-F36799891C85}" dt="2023-04-03T15:03:21.118" v="8973" actId="465"/>
          <ac:grpSpMkLst>
            <pc:docMk/>
            <pc:sldMk cId="4182100474" sldId="2147374873"/>
            <ac:grpSpMk id="55" creationId="{72D3C3CB-43D4-AD7E-AD35-27244F1692E5}"/>
          </ac:grpSpMkLst>
        </pc:grpChg>
        <pc:grpChg chg="add mod">
          <ac:chgData name="Paul LEGEARD" userId="73b5704d-da1d-4b70-8e12-6d54d32b01a3" providerId="ADAL" clId="{7E21ABAC-2CC9-43D2-B356-F36799891C85}" dt="2023-04-03T15:03:21.118" v="8973" actId="465"/>
          <ac:grpSpMkLst>
            <pc:docMk/>
            <pc:sldMk cId="4182100474" sldId="2147374873"/>
            <ac:grpSpMk id="56" creationId="{A54B7D01-BCAA-7FA9-5FCD-3DD54676DD2A}"/>
          </ac:grpSpMkLst>
        </pc:grpChg>
        <pc:grpChg chg="add mod">
          <ac:chgData name="Paul LEGEARD" userId="73b5704d-da1d-4b70-8e12-6d54d32b01a3" providerId="ADAL" clId="{7E21ABAC-2CC9-43D2-B356-F36799891C85}" dt="2023-04-03T15:04:17.640" v="9003" actId="1076"/>
          <ac:grpSpMkLst>
            <pc:docMk/>
            <pc:sldMk cId="4182100474" sldId="2147374873"/>
            <ac:grpSpMk id="57" creationId="{E5583D5F-9BB3-277D-CA69-EB0FC2BB8072}"/>
          </ac:grpSpMkLst>
        </pc:grpChg>
        <pc:grpChg chg="add mod">
          <ac:chgData name="Paul LEGEARD" userId="73b5704d-da1d-4b70-8e12-6d54d32b01a3" providerId="ADAL" clId="{7E21ABAC-2CC9-43D2-B356-F36799891C85}" dt="2023-03-31T09:56:27.549" v="8838" actId="1076"/>
          <ac:grpSpMkLst>
            <pc:docMk/>
            <pc:sldMk cId="4182100474" sldId="2147374873"/>
            <ac:grpSpMk id="58" creationId="{7133932B-B902-1F44-3CC9-2446F2CD831C}"/>
          </ac:grpSpMkLst>
        </pc:grpChg>
        <pc:grpChg chg="add mod">
          <ac:chgData name="Paul LEGEARD" userId="73b5704d-da1d-4b70-8e12-6d54d32b01a3" providerId="ADAL" clId="{7E21ABAC-2CC9-43D2-B356-F36799891C85}" dt="2023-03-31T09:56:33.309" v="8839" actId="465"/>
          <ac:grpSpMkLst>
            <pc:docMk/>
            <pc:sldMk cId="4182100474" sldId="2147374873"/>
            <ac:grpSpMk id="59" creationId="{EEB3EAFE-E990-0AC3-0377-46C7E19F1A9E}"/>
          </ac:grpSpMkLst>
        </pc:grpChg>
        <pc:grpChg chg="add mod">
          <ac:chgData name="Paul LEGEARD" userId="73b5704d-da1d-4b70-8e12-6d54d32b01a3" providerId="ADAL" clId="{7E21ABAC-2CC9-43D2-B356-F36799891C85}" dt="2023-03-31T09:56:33.309" v="8839" actId="465"/>
          <ac:grpSpMkLst>
            <pc:docMk/>
            <pc:sldMk cId="4182100474" sldId="2147374873"/>
            <ac:grpSpMk id="60" creationId="{37267C44-3D24-5688-D339-8C2933634235}"/>
          </ac:grpSpMkLst>
        </pc:grpChg>
        <pc:grpChg chg="add mod">
          <ac:chgData name="Paul LEGEARD" userId="73b5704d-da1d-4b70-8e12-6d54d32b01a3" providerId="ADAL" clId="{7E21ABAC-2CC9-43D2-B356-F36799891C85}" dt="2023-03-31T09:56:27.549" v="8838" actId="1076"/>
          <ac:grpSpMkLst>
            <pc:docMk/>
            <pc:sldMk cId="4182100474" sldId="2147374873"/>
            <ac:grpSpMk id="61" creationId="{71926646-CFE0-301A-74AF-55BA745F6908}"/>
          </ac:grpSpMkLst>
        </pc:grpChg>
        <pc:grpChg chg="add mod">
          <ac:chgData name="Paul LEGEARD" userId="73b5704d-da1d-4b70-8e12-6d54d32b01a3" providerId="ADAL" clId="{7E21ABAC-2CC9-43D2-B356-F36799891C85}" dt="2023-04-03T15:04:21.022" v="9004" actId="1076"/>
          <ac:grpSpMkLst>
            <pc:docMk/>
            <pc:sldMk cId="4182100474" sldId="2147374873"/>
            <ac:grpSpMk id="62" creationId="{5B6E6522-D1BC-4775-CB20-DCD6C2BA1A4B}"/>
          </ac:grpSpMkLst>
        </pc:grpChg>
        <pc:graphicFrameChg chg="add del mod modGraphic">
          <ac:chgData name="Paul LEGEARD" userId="73b5704d-da1d-4b70-8e12-6d54d32b01a3" providerId="ADAL" clId="{7E21ABAC-2CC9-43D2-B356-F36799891C85}" dt="2023-03-29T12:55:26.211" v="6673" actId="478"/>
          <ac:graphicFrameMkLst>
            <pc:docMk/>
            <pc:sldMk cId="4182100474" sldId="2147374873"/>
            <ac:graphicFrameMk id="10" creationId="{9F05E04F-A32D-8E4A-F795-49ACEB9665FF}"/>
          </ac:graphicFrameMkLst>
        </pc:graphicFrameChg>
      </pc:sldChg>
      <pc:sldChg chg="addSp delSp modSp mod">
        <pc:chgData name="Paul LEGEARD" userId="73b5704d-da1d-4b70-8e12-6d54d32b01a3" providerId="ADAL" clId="{7E21ABAC-2CC9-43D2-B356-F36799891C85}" dt="2023-04-04T07:57:40.762" v="9572" actId="207"/>
        <pc:sldMkLst>
          <pc:docMk/>
          <pc:sldMk cId="4271609884" sldId="2147374874"/>
        </pc:sldMkLst>
        <pc:spChg chg="del">
          <ac:chgData name="Paul LEGEARD" userId="73b5704d-da1d-4b70-8e12-6d54d32b01a3" providerId="ADAL" clId="{7E21ABAC-2CC9-43D2-B356-F36799891C85}" dt="2023-03-29T07:53:07.674" v="856" actId="478"/>
          <ac:spMkLst>
            <pc:docMk/>
            <pc:sldMk cId="4271609884" sldId="2147374874"/>
            <ac:spMk id="2" creationId="{6EA44C6A-5FA1-D04E-241B-F55AACB3508E}"/>
          </ac:spMkLst>
        </pc:spChg>
        <pc:spChg chg="add del mod">
          <ac:chgData name="Paul LEGEARD" userId="73b5704d-da1d-4b70-8e12-6d54d32b01a3" providerId="ADAL" clId="{7E21ABAC-2CC9-43D2-B356-F36799891C85}" dt="2023-03-29T07:53:14.178" v="878" actId="478"/>
          <ac:spMkLst>
            <pc:docMk/>
            <pc:sldMk cId="4271609884" sldId="2147374874"/>
            <ac:spMk id="3" creationId="{E960ACF2-3DEE-4867-3616-4F5D964B761A}"/>
          </ac:spMkLst>
        </pc:spChg>
        <pc:spChg chg="add del mod">
          <ac:chgData name="Paul LEGEARD" userId="73b5704d-da1d-4b70-8e12-6d54d32b01a3" providerId="ADAL" clId="{7E21ABAC-2CC9-43D2-B356-F36799891C85}" dt="2023-03-29T08:19:27.471" v="2112" actId="478"/>
          <ac:spMkLst>
            <pc:docMk/>
            <pc:sldMk cId="4271609884" sldId="2147374874"/>
            <ac:spMk id="4" creationId="{B97868D7-EC88-148A-9DE5-9BCF86918205}"/>
          </ac:spMkLst>
        </pc:spChg>
        <pc:spChg chg="add del mod">
          <ac:chgData name="Paul LEGEARD" userId="73b5704d-da1d-4b70-8e12-6d54d32b01a3" providerId="ADAL" clId="{7E21ABAC-2CC9-43D2-B356-F36799891C85}" dt="2023-03-29T07:53:59.197" v="907" actId="478"/>
          <ac:spMkLst>
            <pc:docMk/>
            <pc:sldMk cId="4271609884" sldId="2147374874"/>
            <ac:spMk id="7" creationId="{B04952D1-7DE4-E7EA-E74E-67FC9F93700B}"/>
          </ac:spMkLst>
        </pc:spChg>
        <pc:spChg chg="add del mod">
          <ac:chgData name="Paul LEGEARD" userId="73b5704d-da1d-4b70-8e12-6d54d32b01a3" providerId="ADAL" clId="{7E21ABAC-2CC9-43D2-B356-F36799891C85}" dt="2023-03-29T08:19:27.471" v="2112" actId="478"/>
          <ac:spMkLst>
            <pc:docMk/>
            <pc:sldMk cId="4271609884" sldId="2147374874"/>
            <ac:spMk id="8" creationId="{3076768E-D354-1473-5B0A-79A3D343AC44}"/>
          </ac:spMkLst>
        </pc:spChg>
        <pc:spChg chg="add del mod">
          <ac:chgData name="Paul LEGEARD" userId="73b5704d-da1d-4b70-8e12-6d54d32b01a3" providerId="ADAL" clId="{7E21ABAC-2CC9-43D2-B356-F36799891C85}" dt="2023-03-29T08:17:28.209" v="1806" actId="478"/>
          <ac:spMkLst>
            <pc:docMk/>
            <pc:sldMk cId="4271609884" sldId="2147374874"/>
            <ac:spMk id="9" creationId="{B533653F-7CAC-B66A-DCFD-AEDFFBD0E1C6}"/>
          </ac:spMkLst>
        </pc:spChg>
        <pc:spChg chg="add del mod">
          <ac:chgData name="Paul LEGEARD" userId="73b5704d-da1d-4b70-8e12-6d54d32b01a3" providerId="ADAL" clId="{7E21ABAC-2CC9-43D2-B356-F36799891C85}" dt="2023-03-29T08:19:27.471" v="2112" actId="478"/>
          <ac:spMkLst>
            <pc:docMk/>
            <pc:sldMk cId="4271609884" sldId="2147374874"/>
            <ac:spMk id="10" creationId="{17ADB1BC-75CD-C3CD-96A9-1F973424AE3F}"/>
          </ac:spMkLst>
        </pc:spChg>
        <pc:spChg chg="add del mod">
          <ac:chgData name="Paul LEGEARD" userId="73b5704d-da1d-4b70-8e12-6d54d32b01a3" providerId="ADAL" clId="{7E21ABAC-2CC9-43D2-B356-F36799891C85}" dt="2023-03-29T08:19:27.471" v="2112" actId="478"/>
          <ac:spMkLst>
            <pc:docMk/>
            <pc:sldMk cId="4271609884" sldId="2147374874"/>
            <ac:spMk id="11" creationId="{4C43493F-C1A5-508A-B63C-7CE824CFDADD}"/>
          </ac:spMkLst>
        </pc:spChg>
        <pc:spChg chg="add del mod">
          <ac:chgData name="Paul LEGEARD" userId="73b5704d-da1d-4b70-8e12-6d54d32b01a3" providerId="ADAL" clId="{7E21ABAC-2CC9-43D2-B356-F36799891C85}" dt="2023-03-29T08:17:28.209" v="1806" actId="478"/>
          <ac:spMkLst>
            <pc:docMk/>
            <pc:sldMk cId="4271609884" sldId="2147374874"/>
            <ac:spMk id="12" creationId="{A5767A3F-898C-66BD-5061-30BC6666EB14}"/>
          </ac:spMkLst>
        </pc:spChg>
        <pc:spChg chg="add del mod">
          <ac:chgData name="Paul LEGEARD" userId="73b5704d-da1d-4b70-8e12-6d54d32b01a3" providerId="ADAL" clId="{7E21ABAC-2CC9-43D2-B356-F36799891C85}" dt="2023-03-29T08:19:27.471" v="2112" actId="478"/>
          <ac:spMkLst>
            <pc:docMk/>
            <pc:sldMk cId="4271609884" sldId="2147374874"/>
            <ac:spMk id="13" creationId="{03405BBB-91D0-9C18-3E8F-E3EB583EFDDE}"/>
          </ac:spMkLst>
        </pc:spChg>
        <pc:spChg chg="add del mod">
          <ac:chgData name="Paul LEGEARD" userId="73b5704d-da1d-4b70-8e12-6d54d32b01a3" providerId="ADAL" clId="{7E21ABAC-2CC9-43D2-B356-F36799891C85}" dt="2023-03-29T08:19:27.471" v="2112" actId="478"/>
          <ac:spMkLst>
            <pc:docMk/>
            <pc:sldMk cId="4271609884" sldId="2147374874"/>
            <ac:spMk id="14" creationId="{67E4E131-858B-93FB-B953-5FAB86A326A8}"/>
          </ac:spMkLst>
        </pc:spChg>
        <pc:spChg chg="add del mod">
          <ac:chgData name="Paul LEGEARD" userId="73b5704d-da1d-4b70-8e12-6d54d32b01a3" providerId="ADAL" clId="{7E21ABAC-2CC9-43D2-B356-F36799891C85}" dt="2023-03-29T08:19:27.471" v="2112" actId="478"/>
          <ac:spMkLst>
            <pc:docMk/>
            <pc:sldMk cId="4271609884" sldId="2147374874"/>
            <ac:spMk id="15" creationId="{F686FAA2-4701-8476-6FDF-F019EA261290}"/>
          </ac:spMkLst>
        </pc:spChg>
        <pc:spChg chg="add del mod">
          <ac:chgData name="Paul LEGEARD" userId="73b5704d-da1d-4b70-8e12-6d54d32b01a3" providerId="ADAL" clId="{7E21ABAC-2CC9-43D2-B356-F36799891C85}" dt="2023-03-29T08:19:27.471" v="2112" actId="478"/>
          <ac:spMkLst>
            <pc:docMk/>
            <pc:sldMk cId="4271609884" sldId="2147374874"/>
            <ac:spMk id="16" creationId="{24994F1A-C231-CA73-23D6-49D1881BE343}"/>
          </ac:spMkLst>
        </pc:spChg>
        <pc:spChg chg="add mod">
          <ac:chgData name="Paul LEGEARD" userId="73b5704d-da1d-4b70-8e12-6d54d32b01a3" providerId="ADAL" clId="{7E21ABAC-2CC9-43D2-B356-F36799891C85}" dt="2023-03-29T08:35:45.889" v="2763" actId="1076"/>
          <ac:spMkLst>
            <pc:docMk/>
            <pc:sldMk cId="4271609884" sldId="2147374874"/>
            <ac:spMk id="18" creationId="{4F015414-F627-779A-D2A3-9D0CA06094A7}"/>
          </ac:spMkLst>
        </pc:spChg>
        <pc:spChg chg="add mod">
          <ac:chgData name="Paul LEGEARD" userId="73b5704d-da1d-4b70-8e12-6d54d32b01a3" providerId="ADAL" clId="{7E21ABAC-2CC9-43D2-B356-F36799891C85}" dt="2023-03-29T08:35:40.297" v="2762" actId="1076"/>
          <ac:spMkLst>
            <pc:docMk/>
            <pc:sldMk cId="4271609884" sldId="2147374874"/>
            <ac:spMk id="19" creationId="{CDFCD9BF-A436-40C4-A31B-852D553CDCFC}"/>
          </ac:spMkLst>
        </pc:spChg>
        <pc:spChg chg="add mod ord">
          <ac:chgData name="Paul LEGEARD" userId="73b5704d-da1d-4b70-8e12-6d54d32b01a3" providerId="ADAL" clId="{7E21ABAC-2CC9-43D2-B356-F36799891C85}" dt="2023-03-29T08:35:49.887" v="2764" actId="14100"/>
          <ac:spMkLst>
            <pc:docMk/>
            <pc:sldMk cId="4271609884" sldId="2147374874"/>
            <ac:spMk id="20" creationId="{29B4F8C0-F802-43B0-F222-8A90DD8F9977}"/>
          </ac:spMkLst>
        </pc:spChg>
        <pc:spChg chg="mod">
          <ac:chgData name="Paul LEGEARD" userId="73b5704d-da1d-4b70-8e12-6d54d32b01a3" providerId="ADAL" clId="{7E21ABAC-2CC9-43D2-B356-F36799891C85}" dt="2023-03-29T08:35:56.951" v="2795" actId="20577"/>
          <ac:spMkLst>
            <pc:docMk/>
            <pc:sldMk cId="4271609884" sldId="2147374874"/>
            <ac:spMk id="79" creationId="{9007893F-DE3F-4277-8B72-135CF4773651}"/>
          </ac:spMkLst>
        </pc:spChg>
        <pc:graphicFrameChg chg="add mod modGraphic">
          <ac:chgData name="Paul LEGEARD" userId="73b5704d-da1d-4b70-8e12-6d54d32b01a3" providerId="ADAL" clId="{7E21ABAC-2CC9-43D2-B356-F36799891C85}" dt="2023-04-04T07:57:40.762" v="9572" actId="207"/>
          <ac:graphicFrameMkLst>
            <pc:docMk/>
            <pc:sldMk cId="4271609884" sldId="2147374874"/>
            <ac:graphicFrameMk id="17" creationId="{7F614583-2C28-577C-883C-2426CCE1BA7D}"/>
          </ac:graphicFrameMkLst>
        </pc:graphicFrameChg>
        <pc:picChg chg="add mod">
          <ac:chgData name="Paul LEGEARD" userId="73b5704d-da1d-4b70-8e12-6d54d32b01a3" providerId="ADAL" clId="{7E21ABAC-2CC9-43D2-B356-F36799891C85}" dt="2023-03-29T08:23:09.854" v="2167" actId="1076"/>
          <ac:picMkLst>
            <pc:docMk/>
            <pc:sldMk cId="4271609884" sldId="2147374874"/>
            <ac:picMk id="1026" creationId="{FDCEF3C7-AC11-79E7-FA6F-BCF6428F6623}"/>
          </ac:picMkLst>
        </pc:picChg>
      </pc:sldChg>
      <pc:sldChg chg="del">
        <pc:chgData name="Paul LEGEARD" userId="73b5704d-da1d-4b70-8e12-6d54d32b01a3" providerId="ADAL" clId="{7E21ABAC-2CC9-43D2-B356-F36799891C85}" dt="2023-03-29T08:07:58.739" v="1094" actId="47"/>
        <pc:sldMkLst>
          <pc:docMk/>
          <pc:sldMk cId="2406566337" sldId="2147374875"/>
        </pc:sldMkLst>
      </pc:sldChg>
      <pc:sldChg chg="del ord">
        <pc:chgData name="Paul LEGEARD" userId="73b5704d-da1d-4b70-8e12-6d54d32b01a3" providerId="ADAL" clId="{7E21ABAC-2CC9-43D2-B356-F36799891C85}" dt="2023-03-29T08:09:07.044" v="1126" actId="47"/>
        <pc:sldMkLst>
          <pc:docMk/>
          <pc:sldMk cId="628060992" sldId="2147374876"/>
        </pc:sldMkLst>
      </pc:sldChg>
      <pc:sldChg chg="del ord">
        <pc:chgData name="Paul LEGEARD" userId="73b5704d-da1d-4b70-8e12-6d54d32b01a3" providerId="ADAL" clId="{7E21ABAC-2CC9-43D2-B356-F36799891C85}" dt="2023-03-29T08:09:06.462" v="1125" actId="47"/>
        <pc:sldMkLst>
          <pc:docMk/>
          <pc:sldMk cId="2455637337" sldId="2147374877"/>
        </pc:sldMkLst>
      </pc:sldChg>
      <pc:sldChg chg="addSp delSp modSp add mod ord">
        <pc:chgData name="Paul LEGEARD" userId="73b5704d-da1d-4b70-8e12-6d54d32b01a3" providerId="ADAL" clId="{7E21ABAC-2CC9-43D2-B356-F36799891C85}" dt="2023-03-29T13:23:45.113" v="7709" actId="404"/>
        <pc:sldMkLst>
          <pc:docMk/>
          <pc:sldMk cId="1327558788" sldId="2147374878"/>
        </pc:sldMkLst>
        <pc:spChg chg="add del mod">
          <ac:chgData name="Paul LEGEARD" userId="73b5704d-da1d-4b70-8e12-6d54d32b01a3" providerId="ADAL" clId="{7E21ABAC-2CC9-43D2-B356-F36799891C85}" dt="2023-03-29T07:39:14.289" v="529" actId="478"/>
          <ac:spMkLst>
            <pc:docMk/>
            <pc:sldMk cId="1327558788" sldId="2147374878"/>
            <ac:spMk id="2" creationId="{0C68FF51-87D1-AEC8-E084-126C80B0DE66}"/>
          </ac:spMkLst>
        </pc:spChg>
        <pc:spChg chg="add del mod">
          <ac:chgData name="Paul LEGEARD" userId="73b5704d-da1d-4b70-8e12-6d54d32b01a3" providerId="ADAL" clId="{7E21ABAC-2CC9-43D2-B356-F36799891C85}" dt="2023-03-29T07:38:25.124" v="421"/>
          <ac:spMkLst>
            <pc:docMk/>
            <pc:sldMk cId="1327558788" sldId="2147374878"/>
            <ac:spMk id="3" creationId="{A420D5C5-5197-C896-76A1-DEBFF60F7FE8}"/>
          </ac:spMkLst>
        </pc:spChg>
        <pc:spChg chg="add del mod">
          <ac:chgData name="Paul LEGEARD" userId="73b5704d-da1d-4b70-8e12-6d54d32b01a3" providerId="ADAL" clId="{7E21ABAC-2CC9-43D2-B356-F36799891C85}" dt="2023-03-29T07:39:52.649" v="541" actId="478"/>
          <ac:spMkLst>
            <pc:docMk/>
            <pc:sldMk cId="1327558788" sldId="2147374878"/>
            <ac:spMk id="4" creationId="{5CCD5953-9A65-1883-BCFA-AC48B75F80B0}"/>
          </ac:spMkLst>
        </pc:spChg>
        <pc:spChg chg="add del mod">
          <ac:chgData name="Paul LEGEARD" userId="73b5704d-da1d-4b70-8e12-6d54d32b01a3" providerId="ADAL" clId="{7E21ABAC-2CC9-43D2-B356-F36799891C85}" dt="2023-03-29T09:07:29.723" v="3739" actId="478"/>
          <ac:spMkLst>
            <pc:docMk/>
            <pc:sldMk cId="1327558788" sldId="2147374878"/>
            <ac:spMk id="5" creationId="{3F0903CD-B8D3-35DF-F18E-B85AF9A1D8A4}"/>
          </ac:spMkLst>
        </pc:spChg>
        <pc:spChg chg="add del mod">
          <ac:chgData name="Paul LEGEARD" userId="73b5704d-da1d-4b70-8e12-6d54d32b01a3" providerId="ADAL" clId="{7E21ABAC-2CC9-43D2-B356-F36799891C85}" dt="2023-03-29T07:40:00.407" v="543"/>
          <ac:spMkLst>
            <pc:docMk/>
            <pc:sldMk cId="1327558788" sldId="2147374878"/>
            <ac:spMk id="6" creationId="{70433865-F1FA-713A-2298-16AD0CB60741}"/>
          </ac:spMkLst>
        </pc:spChg>
        <pc:spChg chg="add mod">
          <ac:chgData name="Paul LEGEARD" userId="73b5704d-da1d-4b70-8e12-6d54d32b01a3" providerId="ADAL" clId="{7E21ABAC-2CC9-43D2-B356-F36799891C85}" dt="2023-03-29T07:40:18.645" v="549" actId="14100"/>
          <ac:spMkLst>
            <pc:docMk/>
            <pc:sldMk cId="1327558788" sldId="2147374878"/>
            <ac:spMk id="7" creationId="{2020E006-4D85-A6E5-6C3B-0894CF18C85B}"/>
          </ac:spMkLst>
        </pc:spChg>
        <pc:spChg chg="add del mod">
          <ac:chgData name="Paul LEGEARD" userId="73b5704d-da1d-4b70-8e12-6d54d32b01a3" providerId="ADAL" clId="{7E21ABAC-2CC9-43D2-B356-F36799891C85}" dt="2023-03-29T07:40:26.604" v="551"/>
          <ac:spMkLst>
            <pc:docMk/>
            <pc:sldMk cId="1327558788" sldId="2147374878"/>
            <ac:spMk id="8" creationId="{9BD9AF7B-03A5-4C2F-6681-DC6598DEAF89}"/>
          </ac:spMkLst>
        </pc:spChg>
        <pc:spChg chg="add del mod">
          <ac:chgData name="Paul LEGEARD" userId="73b5704d-da1d-4b70-8e12-6d54d32b01a3" providerId="ADAL" clId="{7E21ABAC-2CC9-43D2-B356-F36799891C85}" dt="2023-03-29T07:40:26.604" v="551"/>
          <ac:spMkLst>
            <pc:docMk/>
            <pc:sldMk cId="1327558788" sldId="2147374878"/>
            <ac:spMk id="9" creationId="{3F8D7ADF-1240-2A49-FB5B-78514DDF8126}"/>
          </ac:spMkLst>
        </pc:spChg>
        <pc:spChg chg="add mod">
          <ac:chgData name="Paul LEGEARD" userId="73b5704d-da1d-4b70-8e12-6d54d32b01a3" providerId="ADAL" clId="{7E21ABAC-2CC9-43D2-B356-F36799891C85}" dt="2023-03-29T07:40:36.391" v="555" actId="14100"/>
          <ac:spMkLst>
            <pc:docMk/>
            <pc:sldMk cId="1327558788" sldId="2147374878"/>
            <ac:spMk id="10" creationId="{6A75A14C-13DC-57B2-8650-DAAA63587F3C}"/>
          </ac:spMkLst>
        </pc:spChg>
        <pc:spChg chg="add mod">
          <ac:chgData name="Paul LEGEARD" userId="73b5704d-da1d-4b70-8e12-6d54d32b01a3" providerId="ADAL" clId="{7E21ABAC-2CC9-43D2-B356-F36799891C85}" dt="2023-03-29T07:40:43.161" v="558" actId="14100"/>
          <ac:spMkLst>
            <pc:docMk/>
            <pc:sldMk cId="1327558788" sldId="2147374878"/>
            <ac:spMk id="11" creationId="{D40DE983-804E-7D0A-B6E8-A6127B3E98EF}"/>
          </ac:spMkLst>
        </pc:spChg>
        <pc:spChg chg="add mod">
          <ac:chgData name="Paul LEGEARD" userId="73b5704d-da1d-4b70-8e12-6d54d32b01a3" providerId="ADAL" clId="{7E21ABAC-2CC9-43D2-B356-F36799891C85}" dt="2023-03-29T07:40:54.865" v="560" actId="1076"/>
          <ac:spMkLst>
            <pc:docMk/>
            <pc:sldMk cId="1327558788" sldId="2147374878"/>
            <ac:spMk id="12" creationId="{5BCF2699-074B-1BBD-6C41-B475A9482035}"/>
          </ac:spMkLst>
        </pc:spChg>
        <pc:spChg chg="del">
          <ac:chgData name="Paul LEGEARD" userId="73b5704d-da1d-4b70-8e12-6d54d32b01a3" providerId="ADAL" clId="{7E21ABAC-2CC9-43D2-B356-F36799891C85}" dt="2023-03-29T07:31:48.958" v="46" actId="478"/>
          <ac:spMkLst>
            <pc:docMk/>
            <pc:sldMk cId="1327558788" sldId="2147374878"/>
            <ac:spMk id="13" creationId="{0BEF1CFF-9B96-D7DC-B2C2-EF198EADA05B}"/>
          </ac:spMkLst>
        </pc:spChg>
        <pc:spChg chg="add mod">
          <ac:chgData name="Paul LEGEARD" userId="73b5704d-da1d-4b70-8e12-6d54d32b01a3" providerId="ADAL" clId="{7E21ABAC-2CC9-43D2-B356-F36799891C85}" dt="2023-03-29T07:40:58.403" v="561" actId="14100"/>
          <ac:spMkLst>
            <pc:docMk/>
            <pc:sldMk cId="1327558788" sldId="2147374878"/>
            <ac:spMk id="14" creationId="{AAC96F75-79A9-BF54-C489-FB3B8F32E48F}"/>
          </ac:spMkLst>
        </pc:spChg>
        <pc:spChg chg="del">
          <ac:chgData name="Paul LEGEARD" userId="73b5704d-da1d-4b70-8e12-6d54d32b01a3" providerId="ADAL" clId="{7E21ABAC-2CC9-43D2-B356-F36799891C85}" dt="2023-03-29T07:31:48.958" v="46" actId="478"/>
          <ac:spMkLst>
            <pc:docMk/>
            <pc:sldMk cId="1327558788" sldId="2147374878"/>
            <ac:spMk id="20" creationId="{DD937DF7-9687-6E10-EBBC-905F418EA2ED}"/>
          </ac:spMkLst>
        </pc:spChg>
        <pc:spChg chg="del">
          <ac:chgData name="Paul LEGEARD" userId="73b5704d-da1d-4b70-8e12-6d54d32b01a3" providerId="ADAL" clId="{7E21ABAC-2CC9-43D2-B356-F36799891C85}" dt="2023-03-29T07:31:48.958" v="46" actId="478"/>
          <ac:spMkLst>
            <pc:docMk/>
            <pc:sldMk cId="1327558788" sldId="2147374878"/>
            <ac:spMk id="22" creationId="{7A197921-3C1E-E155-6DD7-3F5E99ED3E17}"/>
          </ac:spMkLst>
        </pc:spChg>
        <pc:spChg chg="del">
          <ac:chgData name="Paul LEGEARD" userId="73b5704d-da1d-4b70-8e12-6d54d32b01a3" providerId="ADAL" clId="{7E21ABAC-2CC9-43D2-B356-F36799891C85}" dt="2023-03-29T07:31:48.958" v="46" actId="478"/>
          <ac:spMkLst>
            <pc:docMk/>
            <pc:sldMk cId="1327558788" sldId="2147374878"/>
            <ac:spMk id="23" creationId="{810B9ECC-CAFB-9599-0761-8969457FB1BC}"/>
          </ac:spMkLst>
        </pc:spChg>
        <pc:spChg chg="del">
          <ac:chgData name="Paul LEGEARD" userId="73b5704d-da1d-4b70-8e12-6d54d32b01a3" providerId="ADAL" clId="{7E21ABAC-2CC9-43D2-B356-F36799891C85}" dt="2023-03-29T07:31:48.958" v="46" actId="478"/>
          <ac:spMkLst>
            <pc:docMk/>
            <pc:sldMk cId="1327558788" sldId="2147374878"/>
            <ac:spMk id="24" creationId="{1EDB947B-8462-D24E-8EDE-79A901EF5CBD}"/>
          </ac:spMkLst>
        </pc:spChg>
        <pc:spChg chg="del">
          <ac:chgData name="Paul LEGEARD" userId="73b5704d-da1d-4b70-8e12-6d54d32b01a3" providerId="ADAL" clId="{7E21ABAC-2CC9-43D2-B356-F36799891C85}" dt="2023-03-29T07:31:48.958" v="46" actId="478"/>
          <ac:spMkLst>
            <pc:docMk/>
            <pc:sldMk cId="1327558788" sldId="2147374878"/>
            <ac:spMk id="25" creationId="{8AAB3FBD-B03B-F05B-F74F-77AF4052AFA1}"/>
          </ac:spMkLst>
        </pc:spChg>
        <pc:spChg chg="del">
          <ac:chgData name="Paul LEGEARD" userId="73b5704d-da1d-4b70-8e12-6d54d32b01a3" providerId="ADAL" clId="{7E21ABAC-2CC9-43D2-B356-F36799891C85}" dt="2023-03-29T07:31:48.958" v="46" actId="478"/>
          <ac:spMkLst>
            <pc:docMk/>
            <pc:sldMk cId="1327558788" sldId="2147374878"/>
            <ac:spMk id="27" creationId="{CC66BA12-0877-526A-20BE-A4EC24BBE7C7}"/>
          </ac:spMkLst>
        </pc:spChg>
        <pc:spChg chg="del">
          <ac:chgData name="Paul LEGEARD" userId="73b5704d-da1d-4b70-8e12-6d54d32b01a3" providerId="ADAL" clId="{7E21ABAC-2CC9-43D2-B356-F36799891C85}" dt="2023-03-29T07:31:48.958" v="46" actId="478"/>
          <ac:spMkLst>
            <pc:docMk/>
            <pc:sldMk cId="1327558788" sldId="2147374878"/>
            <ac:spMk id="28" creationId="{A3DDF4F6-F41F-7459-9726-B603748CAACB}"/>
          </ac:spMkLst>
        </pc:spChg>
        <pc:spChg chg="del">
          <ac:chgData name="Paul LEGEARD" userId="73b5704d-da1d-4b70-8e12-6d54d32b01a3" providerId="ADAL" clId="{7E21ABAC-2CC9-43D2-B356-F36799891C85}" dt="2023-03-29T07:31:48.958" v="46" actId="478"/>
          <ac:spMkLst>
            <pc:docMk/>
            <pc:sldMk cId="1327558788" sldId="2147374878"/>
            <ac:spMk id="61" creationId="{A57701A6-4FB7-1FAA-DF9D-60AA433FD62A}"/>
          </ac:spMkLst>
        </pc:spChg>
        <pc:spChg chg="del">
          <ac:chgData name="Paul LEGEARD" userId="73b5704d-da1d-4b70-8e12-6d54d32b01a3" providerId="ADAL" clId="{7E21ABAC-2CC9-43D2-B356-F36799891C85}" dt="2023-03-29T07:31:48.958" v="46" actId="478"/>
          <ac:spMkLst>
            <pc:docMk/>
            <pc:sldMk cId="1327558788" sldId="2147374878"/>
            <ac:spMk id="65" creationId="{0CD773FC-DB89-C3B5-A279-051A155F455A}"/>
          </ac:spMkLst>
        </pc:spChg>
        <pc:spChg chg="mod">
          <ac:chgData name="Paul LEGEARD" userId="73b5704d-da1d-4b70-8e12-6d54d32b01a3" providerId="ADAL" clId="{7E21ABAC-2CC9-43D2-B356-F36799891C85}" dt="2023-03-29T13:23:45.113" v="7709" actId="404"/>
          <ac:spMkLst>
            <pc:docMk/>
            <pc:sldMk cId="1327558788" sldId="2147374878"/>
            <ac:spMk id="79" creationId="{9007893F-DE3F-4277-8B72-135CF4773651}"/>
          </ac:spMkLst>
        </pc:spChg>
        <pc:picChg chg="del">
          <ac:chgData name="Paul LEGEARD" userId="73b5704d-da1d-4b70-8e12-6d54d32b01a3" providerId="ADAL" clId="{7E21ABAC-2CC9-43D2-B356-F36799891C85}" dt="2023-03-29T07:31:48.958" v="46" actId="478"/>
          <ac:picMkLst>
            <pc:docMk/>
            <pc:sldMk cId="1327558788" sldId="2147374878"/>
            <ac:picMk id="16" creationId="{7EEC1ACD-5A73-FA4A-A243-02F24B9BF258}"/>
          </ac:picMkLst>
        </pc:picChg>
        <pc:picChg chg="del">
          <ac:chgData name="Paul LEGEARD" userId="73b5704d-da1d-4b70-8e12-6d54d32b01a3" providerId="ADAL" clId="{7E21ABAC-2CC9-43D2-B356-F36799891C85}" dt="2023-03-29T07:31:48.958" v="46" actId="478"/>
          <ac:picMkLst>
            <pc:docMk/>
            <pc:sldMk cId="1327558788" sldId="2147374878"/>
            <ac:picMk id="17" creationId="{FDB4FD84-28F4-9771-9969-069DB9581DFC}"/>
          </ac:picMkLst>
        </pc:picChg>
        <pc:picChg chg="del">
          <ac:chgData name="Paul LEGEARD" userId="73b5704d-da1d-4b70-8e12-6d54d32b01a3" providerId="ADAL" clId="{7E21ABAC-2CC9-43D2-B356-F36799891C85}" dt="2023-03-29T07:31:48.958" v="46" actId="478"/>
          <ac:picMkLst>
            <pc:docMk/>
            <pc:sldMk cId="1327558788" sldId="2147374878"/>
            <ac:picMk id="18" creationId="{07D19EE7-A092-F25A-DA9B-A0200AFA7982}"/>
          </ac:picMkLst>
        </pc:picChg>
        <pc:picChg chg="del">
          <ac:chgData name="Paul LEGEARD" userId="73b5704d-da1d-4b70-8e12-6d54d32b01a3" providerId="ADAL" clId="{7E21ABAC-2CC9-43D2-B356-F36799891C85}" dt="2023-03-29T07:31:48.958" v="46" actId="478"/>
          <ac:picMkLst>
            <pc:docMk/>
            <pc:sldMk cId="1327558788" sldId="2147374878"/>
            <ac:picMk id="19" creationId="{55802FB7-EB13-831E-65F4-8D511139B233}"/>
          </ac:picMkLst>
        </pc:picChg>
        <pc:picChg chg="del">
          <ac:chgData name="Paul LEGEARD" userId="73b5704d-da1d-4b70-8e12-6d54d32b01a3" providerId="ADAL" clId="{7E21ABAC-2CC9-43D2-B356-F36799891C85}" dt="2023-03-29T07:31:48.958" v="46" actId="478"/>
          <ac:picMkLst>
            <pc:docMk/>
            <pc:sldMk cId="1327558788" sldId="2147374878"/>
            <ac:picMk id="60" creationId="{0E603337-25E3-496B-A054-D04DBED48B37}"/>
          </ac:picMkLst>
        </pc:picChg>
        <pc:picChg chg="del">
          <ac:chgData name="Paul LEGEARD" userId="73b5704d-da1d-4b70-8e12-6d54d32b01a3" providerId="ADAL" clId="{7E21ABAC-2CC9-43D2-B356-F36799891C85}" dt="2023-03-29T07:31:48.958" v="46" actId="478"/>
          <ac:picMkLst>
            <pc:docMk/>
            <pc:sldMk cId="1327558788" sldId="2147374878"/>
            <ac:picMk id="64" creationId="{44E5409A-B9EE-70BF-1CAB-1D958083C4C8}"/>
          </ac:picMkLst>
        </pc:picChg>
        <pc:cxnChg chg="del">
          <ac:chgData name="Paul LEGEARD" userId="73b5704d-da1d-4b70-8e12-6d54d32b01a3" providerId="ADAL" clId="{7E21ABAC-2CC9-43D2-B356-F36799891C85}" dt="2023-03-29T07:31:48.958" v="46" actId="478"/>
          <ac:cxnSpMkLst>
            <pc:docMk/>
            <pc:sldMk cId="1327558788" sldId="2147374878"/>
            <ac:cxnSpMk id="56" creationId="{95E5282C-CF41-F458-C64B-A4F8FB83E556}"/>
          </ac:cxnSpMkLst>
        </pc:cxnChg>
        <pc:cxnChg chg="del mod">
          <ac:chgData name="Paul LEGEARD" userId="73b5704d-da1d-4b70-8e12-6d54d32b01a3" providerId="ADAL" clId="{7E21ABAC-2CC9-43D2-B356-F36799891C85}" dt="2023-03-29T07:31:48.958" v="46" actId="478"/>
          <ac:cxnSpMkLst>
            <pc:docMk/>
            <pc:sldMk cId="1327558788" sldId="2147374878"/>
            <ac:cxnSpMk id="70" creationId="{91AB48DD-8558-CC63-EA68-5B0237B71A9C}"/>
          </ac:cxnSpMkLst>
        </pc:cxnChg>
        <pc:cxnChg chg="del">
          <ac:chgData name="Paul LEGEARD" userId="73b5704d-da1d-4b70-8e12-6d54d32b01a3" providerId="ADAL" clId="{7E21ABAC-2CC9-43D2-B356-F36799891C85}" dt="2023-03-29T07:31:48.958" v="46" actId="478"/>
          <ac:cxnSpMkLst>
            <pc:docMk/>
            <pc:sldMk cId="1327558788" sldId="2147374878"/>
            <ac:cxnSpMk id="73" creationId="{AB9ADE3B-2B4C-CA60-DFA1-8B3400E63D02}"/>
          </ac:cxnSpMkLst>
        </pc:cxnChg>
        <pc:cxnChg chg="del">
          <ac:chgData name="Paul LEGEARD" userId="73b5704d-da1d-4b70-8e12-6d54d32b01a3" providerId="ADAL" clId="{7E21ABAC-2CC9-43D2-B356-F36799891C85}" dt="2023-03-29T07:31:48.958" v="46" actId="478"/>
          <ac:cxnSpMkLst>
            <pc:docMk/>
            <pc:sldMk cId="1327558788" sldId="2147374878"/>
            <ac:cxnSpMk id="74" creationId="{F4EACF21-B6D3-7236-DD13-8B928BACA7C1}"/>
          </ac:cxnSpMkLst>
        </pc:cxnChg>
      </pc:sldChg>
      <pc:sldChg chg="addSp delSp modSp add mod ord">
        <pc:chgData name="Paul LEGEARD" userId="73b5704d-da1d-4b70-8e12-6d54d32b01a3" providerId="ADAL" clId="{7E21ABAC-2CC9-43D2-B356-F36799891C85}" dt="2023-03-29T13:29:05.708" v="7897" actId="20577"/>
        <pc:sldMkLst>
          <pc:docMk/>
          <pc:sldMk cId="2983749358" sldId="2147374879"/>
        </pc:sldMkLst>
        <pc:spChg chg="mod">
          <ac:chgData name="Paul LEGEARD" userId="73b5704d-da1d-4b70-8e12-6d54d32b01a3" providerId="ADAL" clId="{7E21ABAC-2CC9-43D2-B356-F36799891C85}" dt="2023-03-29T13:28:48.463" v="7852" actId="20577"/>
          <ac:spMkLst>
            <pc:docMk/>
            <pc:sldMk cId="2983749358" sldId="2147374879"/>
            <ac:spMk id="2" creationId="{70DFD3DA-903A-AA08-96E0-3A5C17BFF08D}"/>
          </ac:spMkLst>
        </pc:spChg>
        <pc:spChg chg="mod">
          <ac:chgData name="Paul LEGEARD" userId="73b5704d-da1d-4b70-8e12-6d54d32b01a3" providerId="ADAL" clId="{7E21ABAC-2CC9-43D2-B356-F36799891C85}" dt="2023-03-29T13:28:21.949" v="7804" actId="20577"/>
          <ac:spMkLst>
            <pc:docMk/>
            <pc:sldMk cId="2983749358" sldId="2147374879"/>
            <ac:spMk id="3" creationId="{3F824071-304F-9167-CCFF-2F0CF2932980}"/>
          </ac:spMkLst>
        </pc:spChg>
        <pc:spChg chg="mod">
          <ac:chgData name="Paul LEGEARD" userId="73b5704d-da1d-4b70-8e12-6d54d32b01a3" providerId="ADAL" clId="{7E21ABAC-2CC9-43D2-B356-F36799891C85}" dt="2023-03-29T13:29:05.708" v="7897" actId="20577"/>
          <ac:spMkLst>
            <pc:docMk/>
            <pc:sldMk cId="2983749358" sldId="2147374879"/>
            <ac:spMk id="4" creationId="{FE256AB3-185B-0765-A3DC-8B128712A5A4}"/>
          </ac:spMkLst>
        </pc:spChg>
        <pc:spChg chg="del">
          <ac:chgData name="Paul LEGEARD" userId="73b5704d-da1d-4b70-8e12-6d54d32b01a3" providerId="ADAL" clId="{7E21ABAC-2CC9-43D2-B356-F36799891C85}" dt="2023-03-29T07:47:42.816" v="797" actId="478"/>
          <ac:spMkLst>
            <pc:docMk/>
            <pc:sldMk cId="2983749358" sldId="2147374879"/>
            <ac:spMk id="7" creationId="{59BCFFF0-477D-4D31-924D-84A55F1BEDEE}"/>
          </ac:spMkLst>
        </pc:spChg>
        <pc:spChg chg="del">
          <ac:chgData name="Paul LEGEARD" userId="73b5704d-da1d-4b70-8e12-6d54d32b01a3" providerId="ADAL" clId="{7E21ABAC-2CC9-43D2-B356-F36799891C85}" dt="2023-03-29T07:47:45.552" v="798" actId="478"/>
          <ac:spMkLst>
            <pc:docMk/>
            <pc:sldMk cId="2983749358" sldId="2147374879"/>
            <ac:spMk id="8" creationId="{2997F0F1-FCC6-4C93-894D-7126CF1B266A}"/>
          </ac:spMkLst>
        </pc:spChg>
        <pc:spChg chg="del">
          <ac:chgData name="Paul LEGEARD" userId="73b5704d-da1d-4b70-8e12-6d54d32b01a3" providerId="ADAL" clId="{7E21ABAC-2CC9-43D2-B356-F36799891C85}" dt="2023-03-29T07:47:45.552" v="798" actId="478"/>
          <ac:spMkLst>
            <pc:docMk/>
            <pc:sldMk cId="2983749358" sldId="2147374879"/>
            <ac:spMk id="9" creationId="{AC166BAE-16E2-4B7C-8F5C-B1E687422AF0}"/>
          </ac:spMkLst>
        </pc:spChg>
        <pc:spChg chg="del">
          <ac:chgData name="Paul LEGEARD" userId="73b5704d-da1d-4b70-8e12-6d54d32b01a3" providerId="ADAL" clId="{7E21ABAC-2CC9-43D2-B356-F36799891C85}" dt="2023-03-29T07:47:45.552" v="798" actId="478"/>
          <ac:spMkLst>
            <pc:docMk/>
            <pc:sldMk cId="2983749358" sldId="2147374879"/>
            <ac:spMk id="10" creationId="{0FC80396-C522-4D69-9BBC-335B7687716C}"/>
          </ac:spMkLst>
        </pc:spChg>
        <pc:spChg chg="del">
          <ac:chgData name="Paul LEGEARD" userId="73b5704d-da1d-4b70-8e12-6d54d32b01a3" providerId="ADAL" clId="{7E21ABAC-2CC9-43D2-B356-F36799891C85}" dt="2023-03-29T07:47:45.552" v="798" actId="478"/>
          <ac:spMkLst>
            <pc:docMk/>
            <pc:sldMk cId="2983749358" sldId="2147374879"/>
            <ac:spMk id="11" creationId="{7D5ED08E-0DDE-654F-84FB-A410307EEFDC}"/>
          </ac:spMkLst>
        </pc:spChg>
        <pc:spChg chg="add mod">
          <ac:chgData name="Paul LEGEARD" userId="73b5704d-da1d-4b70-8e12-6d54d32b01a3" providerId="ADAL" clId="{7E21ABAC-2CC9-43D2-B356-F36799891C85}" dt="2023-03-29T13:21:59.146" v="7561" actId="20577"/>
          <ac:spMkLst>
            <pc:docMk/>
            <pc:sldMk cId="2983749358" sldId="2147374879"/>
            <ac:spMk id="12" creationId="{3458BE35-7129-F667-C219-B6DC99ECA9B6}"/>
          </ac:spMkLst>
        </pc:spChg>
        <pc:spChg chg="add mod ord">
          <ac:chgData name="Paul LEGEARD" userId="73b5704d-da1d-4b70-8e12-6d54d32b01a3" providerId="ADAL" clId="{7E21ABAC-2CC9-43D2-B356-F36799891C85}" dt="2023-03-29T07:48:57.803" v="826" actId="14100"/>
          <ac:spMkLst>
            <pc:docMk/>
            <pc:sldMk cId="2983749358" sldId="2147374879"/>
            <ac:spMk id="13" creationId="{DBC11775-A299-67E9-4104-9693F68F4A50}"/>
          </ac:spMkLst>
        </pc:spChg>
        <pc:spChg chg="add del mod">
          <ac:chgData name="Paul LEGEARD" userId="73b5704d-da1d-4b70-8e12-6d54d32b01a3" providerId="ADAL" clId="{7E21ABAC-2CC9-43D2-B356-F36799891C85}" dt="2023-03-29T07:49:29.768" v="839" actId="478"/>
          <ac:spMkLst>
            <pc:docMk/>
            <pc:sldMk cId="2983749358" sldId="2147374879"/>
            <ac:spMk id="14" creationId="{6A8E6958-96A9-4C60-823C-08F1CEFFFEBF}"/>
          </ac:spMkLst>
        </pc:spChg>
        <pc:spChg chg="del">
          <ac:chgData name="Paul LEGEARD" userId="73b5704d-da1d-4b70-8e12-6d54d32b01a3" providerId="ADAL" clId="{7E21ABAC-2CC9-43D2-B356-F36799891C85}" dt="2023-03-29T07:48:24.760" v="815" actId="478"/>
          <ac:spMkLst>
            <pc:docMk/>
            <pc:sldMk cId="2983749358" sldId="2147374879"/>
            <ac:spMk id="15" creationId="{2ECABDA0-D5B2-4C84-98D4-91D58FDF3628}"/>
          </ac:spMkLst>
        </pc:spChg>
        <pc:spChg chg="del">
          <ac:chgData name="Paul LEGEARD" userId="73b5704d-da1d-4b70-8e12-6d54d32b01a3" providerId="ADAL" clId="{7E21ABAC-2CC9-43D2-B356-F36799891C85}" dt="2023-03-29T07:49:08.960" v="829" actId="478"/>
          <ac:spMkLst>
            <pc:docMk/>
            <pc:sldMk cId="2983749358" sldId="2147374879"/>
            <ac:spMk id="26" creationId="{9D1EEE4B-78EC-48E1-AFA6-106DD357A33D}"/>
          </ac:spMkLst>
        </pc:spChg>
        <pc:spChg chg="del">
          <ac:chgData name="Paul LEGEARD" userId="73b5704d-da1d-4b70-8e12-6d54d32b01a3" providerId="ADAL" clId="{7E21ABAC-2CC9-43D2-B356-F36799891C85}" dt="2023-03-29T07:49:10.547" v="830" actId="478"/>
          <ac:spMkLst>
            <pc:docMk/>
            <pc:sldMk cId="2983749358" sldId="2147374879"/>
            <ac:spMk id="32" creationId="{39ACA408-FBE5-45D0-A102-1D42EB9FC067}"/>
          </ac:spMkLst>
        </pc:spChg>
        <pc:spChg chg="del">
          <ac:chgData name="Paul LEGEARD" userId="73b5704d-da1d-4b70-8e12-6d54d32b01a3" providerId="ADAL" clId="{7E21ABAC-2CC9-43D2-B356-F36799891C85}" dt="2023-03-29T07:47:45.552" v="798" actId="478"/>
          <ac:spMkLst>
            <pc:docMk/>
            <pc:sldMk cId="2983749358" sldId="2147374879"/>
            <ac:spMk id="36" creationId="{E957C0EF-18D3-4002-AE6E-7D92CDED9514}"/>
          </ac:spMkLst>
        </pc:spChg>
        <pc:spChg chg="mod">
          <ac:chgData name="Paul LEGEARD" userId="73b5704d-da1d-4b70-8e12-6d54d32b01a3" providerId="ADAL" clId="{7E21ABAC-2CC9-43D2-B356-F36799891C85}" dt="2023-03-29T07:49:06.115" v="828" actId="313"/>
          <ac:spMkLst>
            <pc:docMk/>
            <pc:sldMk cId="2983749358" sldId="2147374879"/>
            <ac:spMk id="79" creationId="{9007893F-DE3F-4277-8B72-135CF4773651}"/>
          </ac:spMkLst>
        </pc:spChg>
        <pc:picChg chg="mod">
          <ac:chgData name="Paul LEGEARD" userId="73b5704d-da1d-4b70-8e12-6d54d32b01a3" providerId="ADAL" clId="{7E21ABAC-2CC9-43D2-B356-F36799891C85}" dt="2023-03-29T07:48:22.749" v="814" actId="166"/>
          <ac:picMkLst>
            <pc:docMk/>
            <pc:sldMk cId="2983749358" sldId="2147374879"/>
            <ac:picMk id="37" creationId="{B8996DF7-A6D8-6274-4C96-5C33ED910DE0}"/>
          </ac:picMkLst>
        </pc:picChg>
      </pc:sldChg>
      <pc:sldChg chg="addSp delSp modSp add del mod">
        <pc:chgData name="Paul LEGEARD" userId="73b5704d-da1d-4b70-8e12-6d54d32b01a3" providerId="ADAL" clId="{7E21ABAC-2CC9-43D2-B356-F36799891C85}" dt="2023-03-29T09:38:40.399" v="4719" actId="47"/>
        <pc:sldMkLst>
          <pc:docMk/>
          <pc:sldMk cId="79965232" sldId="2147374880"/>
        </pc:sldMkLst>
        <pc:spChg chg="del">
          <ac:chgData name="Paul LEGEARD" userId="73b5704d-da1d-4b70-8e12-6d54d32b01a3" providerId="ADAL" clId="{7E21ABAC-2CC9-43D2-B356-F36799891C85}" dt="2023-03-29T08:16:35.002" v="1765" actId="478"/>
          <ac:spMkLst>
            <pc:docMk/>
            <pc:sldMk cId="79965232" sldId="2147374880"/>
            <ac:spMk id="2" creationId="{C583C801-00C2-3C77-CBD7-51F7543965E7}"/>
          </ac:spMkLst>
        </pc:spChg>
        <pc:spChg chg="add del mod">
          <ac:chgData name="Paul LEGEARD" userId="73b5704d-da1d-4b70-8e12-6d54d32b01a3" providerId="ADAL" clId="{7E21ABAC-2CC9-43D2-B356-F36799891C85}" dt="2023-03-29T08:43:20.080" v="3141" actId="478"/>
          <ac:spMkLst>
            <pc:docMk/>
            <pc:sldMk cId="79965232" sldId="2147374880"/>
            <ac:spMk id="3" creationId="{D2B18257-DE00-C228-5B2C-03F0594B587C}"/>
          </ac:spMkLst>
        </pc:spChg>
        <pc:spChg chg="del">
          <ac:chgData name="Paul LEGEARD" userId="73b5704d-da1d-4b70-8e12-6d54d32b01a3" providerId="ADAL" clId="{7E21ABAC-2CC9-43D2-B356-F36799891C85}" dt="2023-03-29T08:16:35.002" v="1765" actId="478"/>
          <ac:spMkLst>
            <pc:docMk/>
            <pc:sldMk cId="79965232" sldId="2147374880"/>
            <ac:spMk id="5" creationId="{83F41A2A-E3A9-36AE-FF14-3625AF9A120E}"/>
          </ac:spMkLst>
        </pc:spChg>
        <pc:spChg chg="del">
          <ac:chgData name="Paul LEGEARD" userId="73b5704d-da1d-4b70-8e12-6d54d32b01a3" providerId="ADAL" clId="{7E21ABAC-2CC9-43D2-B356-F36799891C85}" dt="2023-03-29T08:16:35.002" v="1765" actId="478"/>
          <ac:spMkLst>
            <pc:docMk/>
            <pc:sldMk cId="79965232" sldId="2147374880"/>
            <ac:spMk id="7" creationId="{64C5E6BA-6D9A-EC46-D040-E671A706BAE7}"/>
          </ac:spMkLst>
        </pc:spChg>
        <pc:spChg chg="del">
          <ac:chgData name="Paul LEGEARD" userId="73b5704d-da1d-4b70-8e12-6d54d32b01a3" providerId="ADAL" clId="{7E21ABAC-2CC9-43D2-B356-F36799891C85}" dt="2023-03-29T08:16:35.002" v="1765" actId="478"/>
          <ac:spMkLst>
            <pc:docMk/>
            <pc:sldMk cId="79965232" sldId="2147374880"/>
            <ac:spMk id="8" creationId="{C9204D7E-D409-CAD0-AC8F-9DA295CBEF0C}"/>
          </ac:spMkLst>
        </pc:spChg>
        <pc:spChg chg="del">
          <ac:chgData name="Paul LEGEARD" userId="73b5704d-da1d-4b70-8e12-6d54d32b01a3" providerId="ADAL" clId="{7E21ABAC-2CC9-43D2-B356-F36799891C85}" dt="2023-03-29T08:16:35.002" v="1765" actId="478"/>
          <ac:spMkLst>
            <pc:docMk/>
            <pc:sldMk cId="79965232" sldId="2147374880"/>
            <ac:spMk id="9" creationId="{A86EBBAA-DCC4-C5A4-9BFD-641D676D0848}"/>
          </ac:spMkLst>
        </pc:spChg>
        <pc:spChg chg="del">
          <ac:chgData name="Paul LEGEARD" userId="73b5704d-da1d-4b70-8e12-6d54d32b01a3" providerId="ADAL" clId="{7E21ABAC-2CC9-43D2-B356-F36799891C85}" dt="2023-03-29T08:16:35.002" v="1765" actId="478"/>
          <ac:spMkLst>
            <pc:docMk/>
            <pc:sldMk cId="79965232" sldId="2147374880"/>
            <ac:spMk id="10" creationId="{B59A31FC-9DAC-38EB-9EE2-95094C555180}"/>
          </ac:spMkLst>
        </pc:spChg>
        <pc:spChg chg="del">
          <ac:chgData name="Paul LEGEARD" userId="73b5704d-da1d-4b70-8e12-6d54d32b01a3" providerId="ADAL" clId="{7E21ABAC-2CC9-43D2-B356-F36799891C85}" dt="2023-03-29T08:16:35.002" v="1765" actId="478"/>
          <ac:spMkLst>
            <pc:docMk/>
            <pc:sldMk cId="79965232" sldId="2147374880"/>
            <ac:spMk id="11" creationId="{E03A5BDD-4B38-98CE-F34B-BFFD871DFD06}"/>
          </ac:spMkLst>
        </pc:spChg>
        <pc:spChg chg="del">
          <ac:chgData name="Paul LEGEARD" userId="73b5704d-da1d-4b70-8e12-6d54d32b01a3" providerId="ADAL" clId="{7E21ABAC-2CC9-43D2-B356-F36799891C85}" dt="2023-03-29T08:16:35.002" v="1765" actId="478"/>
          <ac:spMkLst>
            <pc:docMk/>
            <pc:sldMk cId="79965232" sldId="2147374880"/>
            <ac:spMk id="13" creationId="{C6320FF4-3DAD-C8B4-7A3A-020E7EAC7B9A}"/>
          </ac:spMkLst>
        </pc:spChg>
        <pc:spChg chg="del">
          <ac:chgData name="Paul LEGEARD" userId="73b5704d-da1d-4b70-8e12-6d54d32b01a3" providerId="ADAL" clId="{7E21ABAC-2CC9-43D2-B356-F36799891C85}" dt="2023-03-29T08:16:35.002" v="1765" actId="478"/>
          <ac:spMkLst>
            <pc:docMk/>
            <pc:sldMk cId="79965232" sldId="2147374880"/>
            <ac:spMk id="14" creationId="{A4E99F72-3119-4CE3-2280-580BAE5C0B43}"/>
          </ac:spMkLst>
        </pc:spChg>
        <pc:spChg chg="del">
          <ac:chgData name="Paul LEGEARD" userId="73b5704d-da1d-4b70-8e12-6d54d32b01a3" providerId="ADAL" clId="{7E21ABAC-2CC9-43D2-B356-F36799891C85}" dt="2023-03-29T08:16:35.002" v="1765" actId="478"/>
          <ac:spMkLst>
            <pc:docMk/>
            <pc:sldMk cId="79965232" sldId="2147374880"/>
            <ac:spMk id="15" creationId="{A024178F-50C6-4232-A837-9278A6BE0520}"/>
          </ac:spMkLst>
        </pc:spChg>
        <pc:spChg chg="del">
          <ac:chgData name="Paul LEGEARD" userId="73b5704d-da1d-4b70-8e12-6d54d32b01a3" providerId="ADAL" clId="{7E21ABAC-2CC9-43D2-B356-F36799891C85}" dt="2023-03-29T08:16:35.002" v="1765" actId="478"/>
          <ac:spMkLst>
            <pc:docMk/>
            <pc:sldMk cId="79965232" sldId="2147374880"/>
            <ac:spMk id="16" creationId="{AE30E750-B506-DDCC-2ABB-965A9EF5F72F}"/>
          </ac:spMkLst>
        </pc:spChg>
        <pc:spChg chg="del">
          <ac:chgData name="Paul LEGEARD" userId="73b5704d-da1d-4b70-8e12-6d54d32b01a3" providerId="ADAL" clId="{7E21ABAC-2CC9-43D2-B356-F36799891C85}" dt="2023-03-29T08:16:35.002" v="1765" actId="478"/>
          <ac:spMkLst>
            <pc:docMk/>
            <pc:sldMk cId="79965232" sldId="2147374880"/>
            <ac:spMk id="17" creationId="{C0578604-03EF-23E5-0BAC-2BD93EF38A4F}"/>
          </ac:spMkLst>
        </pc:spChg>
        <pc:spChg chg="del">
          <ac:chgData name="Paul LEGEARD" userId="73b5704d-da1d-4b70-8e12-6d54d32b01a3" providerId="ADAL" clId="{7E21ABAC-2CC9-43D2-B356-F36799891C85}" dt="2023-03-29T08:16:35.002" v="1765" actId="478"/>
          <ac:spMkLst>
            <pc:docMk/>
            <pc:sldMk cId="79965232" sldId="2147374880"/>
            <ac:spMk id="18" creationId="{AD1C2C33-2871-CD79-EC02-0717EED9B315}"/>
          </ac:spMkLst>
        </pc:spChg>
        <pc:spChg chg="del">
          <ac:chgData name="Paul LEGEARD" userId="73b5704d-da1d-4b70-8e12-6d54d32b01a3" providerId="ADAL" clId="{7E21ABAC-2CC9-43D2-B356-F36799891C85}" dt="2023-03-29T08:16:35.002" v="1765" actId="478"/>
          <ac:spMkLst>
            <pc:docMk/>
            <pc:sldMk cId="79965232" sldId="2147374880"/>
            <ac:spMk id="19" creationId="{F0BDBB6C-09B1-19E1-9912-F4F3ADF1E9F1}"/>
          </ac:spMkLst>
        </pc:spChg>
        <pc:spChg chg="del">
          <ac:chgData name="Paul LEGEARD" userId="73b5704d-da1d-4b70-8e12-6d54d32b01a3" providerId="ADAL" clId="{7E21ABAC-2CC9-43D2-B356-F36799891C85}" dt="2023-03-29T08:16:02.604" v="1762" actId="478"/>
          <ac:spMkLst>
            <pc:docMk/>
            <pc:sldMk cId="79965232" sldId="2147374880"/>
            <ac:spMk id="20" creationId="{7E453BAC-CB30-0E08-465A-787199B4699B}"/>
          </ac:spMkLst>
        </pc:spChg>
        <pc:spChg chg="add mod">
          <ac:chgData name="Paul LEGEARD" userId="73b5704d-da1d-4b70-8e12-6d54d32b01a3" providerId="ADAL" clId="{7E21ABAC-2CC9-43D2-B356-F36799891C85}" dt="2023-03-29T08:43:25.606" v="3142" actId="20577"/>
          <ac:spMkLst>
            <pc:docMk/>
            <pc:sldMk cId="79965232" sldId="2147374880"/>
            <ac:spMk id="21" creationId="{8B0635F4-9662-D0F7-1482-519B2C024C3F}"/>
          </ac:spMkLst>
        </pc:spChg>
        <pc:spChg chg="add mod">
          <ac:chgData name="Paul LEGEARD" userId="73b5704d-da1d-4b70-8e12-6d54d32b01a3" providerId="ADAL" clId="{7E21ABAC-2CC9-43D2-B356-F36799891C85}" dt="2023-03-29T08:42:12.794" v="2994" actId="1076"/>
          <ac:spMkLst>
            <pc:docMk/>
            <pc:sldMk cId="79965232" sldId="2147374880"/>
            <ac:spMk id="22" creationId="{C61C7F69-DB27-995B-6D3B-E5E205571B8C}"/>
          </ac:spMkLst>
        </pc:spChg>
        <pc:spChg chg="add mod">
          <ac:chgData name="Paul LEGEARD" userId="73b5704d-da1d-4b70-8e12-6d54d32b01a3" providerId="ADAL" clId="{7E21ABAC-2CC9-43D2-B356-F36799891C85}" dt="2023-03-29T08:42:55.391" v="3057" actId="20577"/>
          <ac:spMkLst>
            <pc:docMk/>
            <pc:sldMk cId="79965232" sldId="2147374880"/>
            <ac:spMk id="24" creationId="{4642029E-6BD4-B356-F7AC-D61DB88D991F}"/>
          </ac:spMkLst>
        </pc:spChg>
        <pc:spChg chg="add mod">
          <ac:chgData name="Paul LEGEARD" userId="73b5704d-da1d-4b70-8e12-6d54d32b01a3" providerId="ADAL" clId="{7E21ABAC-2CC9-43D2-B356-F36799891C85}" dt="2023-03-29T08:43:14.339" v="3139" actId="20577"/>
          <ac:spMkLst>
            <pc:docMk/>
            <pc:sldMk cId="79965232" sldId="2147374880"/>
            <ac:spMk id="26" creationId="{24B6AC54-C210-0594-C710-B3AA97EEDFB8}"/>
          </ac:spMkLst>
        </pc:spChg>
        <pc:spChg chg="del">
          <ac:chgData name="Paul LEGEARD" userId="73b5704d-da1d-4b70-8e12-6d54d32b01a3" providerId="ADAL" clId="{7E21ABAC-2CC9-43D2-B356-F36799891C85}" dt="2023-03-29T08:16:35.002" v="1765" actId="478"/>
          <ac:spMkLst>
            <pc:docMk/>
            <pc:sldMk cId="79965232" sldId="2147374880"/>
            <ac:spMk id="27" creationId="{DA3A8BEF-76EF-6820-EC26-5B4A0EAC6B8B}"/>
          </ac:spMkLst>
        </pc:spChg>
        <pc:spChg chg="del">
          <ac:chgData name="Paul LEGEARD" userId="73b5704d-da1d-4b70-8e12-6d54d32b01a3" providerId="ADAL" clId="{7E21ABAC-2CC9-43D2-B356-F36799891C85}" dt="2023-03-29T08:16:35.002" v="1765" actId="478"/>
          <ac:spMkLst>
            <pc:docMk/>
            <pc:sldMk cId="79965232" sldId="2147374880"/>
            <ac:spMk id="28" creationId="{46274404-5A69-4566-4EEB-6D8BD97AE996}"/>
          </ac:spMkLst>
        </pc:spChg>
        <pc:spChg chg="del">
          <ac:chgData name="Paul LEGEARD" userId="73b5704d-da1d-4b70-8e12-6d54d32b01a3" providerId="ADAL" clId="{7E21ABAC-2CC9-43D2-B356-F36799891C85}" dt="2023-03-29T08:16:35.002" v="1765" actId="478"/>
          <ac:spMkLst>
            <pc:docMk/>
            <pc:sldMk cId="79965232" sldId="2147374880"/>
            <ac:spMk id="29" creationId="{DDF00D96-5051-53E5-C04D-7B2625C34BFC}"/>
          </ac:spMkLst>
        </pc:spChg>
        <pc:spChg chg="del">
          <ac:chgData name="Paul LEGEARD" userId="73b5704d-da1d-4b70-8e12-6d54d32b01a3" providerId="ADAL" clId="{7E21ABAC-2CC9-43D2-B356-F36799891C85}" dt="2023-03-29T08:16:35.002" v="1765" actId="478"/>
          <ac:spMkLst>
            <pc:docMk/>
            <pc:sldMk cId="79965232" sldId="2147374880"/>
            <ac:spMk id="30" creationId="{660A2E51-A0A5-4E85-3E38-1ED06A8856BE}"/>
          </ac:spMkLst>
        </pc:spChg>
        <pc:spChg chg="del">
          <ac:chgData name="Paul LEGEARD" userId="73b5704d-da1d-4b70-8e12-6d54d32b01a3" providerId="ADAL" clId="{7E21ABAC-2CC9-43D2-B356-F36799891C85}" dt="2023-03-29T08:16:35.002" v="1765" actId="478"/>
          <ac:spMkLst>
            <pc:docMk/>
            <pc:sldMk cId="79965232" sldId="2147374880"/>
            <ac:spMk id="31" creationId="{3C6AC63A-1321-0668-F998-E6584C68BF8E}"/>
          </ac:spMkLst>
        </pc:spChg>
        <pc:spChg chg="del">
          <ac:chgData name="Paul LEGEARD" userId="73b5704d-da1d-4b70-8e12-6d54d32b01a3" providerId="ADAL" clId="{7E21ABAC-2CC9-43D2-B356-F36799891C85}" dt="2023-03-29T08:16:35.002" v="1765" actId="478"/>
          <ac:spMkLst>
            <pc:docMk/>
            <pc:sldMk cId="79965232" sldId="2147374880"/>
            <ac:spMk id="32" creationId="{9923CA07-B4FE-C909-1D46-6416093C4498}"/>
          </ac:spMkLst>
        </pc:spChg>
        <pc:spChg chg="del">
          <ac:chgData name="Paul LEGEARD" userId="73b5704d-da1d-4b70-8e12-6d54d32b01a3" providerId="ADAL" clId="{7E21ABAC-2CC9-43D2-B356-F36799891C85}" dt="2023-03-29T08:16:35.002" v="1765" actId="478"/>
          <ac:spMkLst>
            <pc:docMk/>
            <pc:sldMk cId="79965232" sldId="2147374880"/>
            <ac:spMk id="33" creationId="{114FDD51-F399-5BD3-FE1B-4C6D24952936}"/>
          </ac:spMkLst>
        </pc:spChg>
        <pc:spChg chg="del">
          <ac:chgData name="Paul LEGEARD" userId="73b5704d-da1d-4b70-8e12-6d54d32b01a3" providerId="ADAL" clId="{7E21ABAC-2CC9-43D2-B356-F36799891C85}" dt="2023-03-29T08:16:35.002" v="1765" actId="478"/>
          <ac:spMkLst>
            <pc:docMk/>
            <pc:sldMk cId="79965232" sldId="2147374880"/>
            <ac:spMk id="34" creationId="{F73A7951-B604-8AC2-5877-6CB3C3DFAFFC}"/>
          </ac:spMkLst>
        </pc:spChg>
        <pc:spChg chg="del">
          <ac:chgData name="Paul LEGEARD" userId="73b5704d-da1d-4b70-8e12-6d54d32b01a3" providerId="ADAL" clId="{7E21ABAC-2CC9-43D2-B356-F36799891C85}" dt="2023-03-29T08:16:35.002" v="1765" actId="478"/>
          <ac:spMkLst>
            <pc:docMk/>
            <pc:sldMk cId="79965232" sldId="2147374880"/>
            <ac:spMk id="35" creationId="{083EFD23-807D-5949-2F84-C5F8616053B7}"/>
          </ac:spMkLst>
        </pc:spChg>
        <pc:spChg chg="del">
          <ac:chgData name="Paul LEGEARD" userId="73b5704d-da1d-4b70-8e12-6d54d32b01a3" providerId="ADAL" clId="{7E21ABAC-2CC9-43D2-B356-F36799891C85}" dt="2023-03-29T08:16:35.002" v="1765" actId="478"/>
          <ac:spMkLst>
            <pc:docMk/>
            <pc:sldMk cId="79965232" sldId="2147374880"/>
            <ac:spMk id="36" creationId="{AA0C9A06-6A18-8C40-4D2D-A006C71107CE}"/>
          </ac:spMkLst>
        </pc:spChg>
        <pc:spChg chg="del">
          <ac:chgData name="Paul LEGEARD" userId="73b5704d-da1d-4b70-8e12-6d54d32b01a3" providerId="ADAL" clId="{7E21ABAC-2CC9-43D2-B356-F36799891C85}" dt="2023-03-29T08:16:35.002" v="1765" actId="478"/>
          <ac:spMkLst>
            <pc:docMk/>
            <pc:sldMk cId="79965232" sldId="2147374880"/>
            <ac:spMk id="37" creationId="{FF140C7D-FA42-E545-8874-219F260CC8DB}"/>
          </ac:spMkLst>
        </pc:spChg>
        <pc:spChg chg="del">
          <ac:chgData name="Paul LEGEARD" userId="73b5704d-da1d-4b70-8e12-6d54d32b01a3" providerId="ADAL" clId="{7E21ABAC-2CC9-43D2-B356-F36799891C85}" dt="2023-03-29T08:16:35.002" v="1765" actId="478"/>
          <ac:spMkLst>
            <pc:docMk/>
            <pc:sldMk cId="79965232" sldId="2147374880"/>
            <ac:spMk id="38" creationId="{2D1AF37D-9B2A-11AC-E494-52CA90959C06}"/>
          </ac:spMkLst>
        </pc:spChg>
        <pc:spChg chg="del">
          <ac:chgData name="Paul LEGEARD" userId="73b5704d-da1d-4b70-8e12-6d54d32b01a3" providerId="ADAL" clId="{7E21ABAC-2CC9-43D2-B356-F36799891C85}" dt="2023-03-29T08:16:35.002" v="1765" actId="478"/>
          <ac:spMkLst>
            <pc:docMk/>
            <pc:sldMk cId="79965232" sldId="2147374880"/>
            <ac:spMk id="39" creationId="{0F2B28F9-D2C1-09F4-0D90-34AFC52422FA}"/>
          </ac:spMkLst>
        </pc:spChg>
        <pc:spChg chg="del">
          <ac:chgData name="Paul LEGEARD" userId="73b5704d-da1d-4b70-8e12-6d54d32b01a3" providerId="ADAL" clId="{7E21ABAC-2CC9-43D2-B356-F36799891C85}" dt="2023-03-29T08:16:35.002" v="1765" actId="478"/>
          <ac:spMkLst>
            <pc:docMk/>
            <pc:sldMk cId="79965232" sldId="2147374880"/>
            <ac:spMk id="41" creationId="{92EF87CB-7BCE-CB2B-1FCE-AEA2400A2C71}"/>
          </ac:spMkLst>
        </pc:spChg>
        <pc:spChg chg="del">
          <ac:chgData name="Paul LEGEARD" userId="73b5704d-da1d-4b70-8e12-6d54d32b01a3" providerId="ADAL" clId="{7E21ABAC-2CC9-43D2-B356-F36799891C85}" dt="2023-03-29T08:16:35.002" v="1765" actId="478"/>
          <ac:spMkLst>
            <pc:docMk/>
            <pc:sldMk cId="79965232" sldId="2147374880"/>
            <ac:spMk id="42" creationId="{6B714DB7-306A-393A-71A2-4CD7CF4487DF}"/>
          </ac:spMkLst>
        </pc:spChg>
        <pc:spChg chg="del">
          <ac:chgData name="Paul LEGEARD" userId="73b5704d-da1d-4b70-8e12-6d54d32b01a3" providerId="ADAL" clId="{7E21ABAC-2CC9-43D2-B356-F36799891C85}" dt="2023-03-29T08:16:35.002" v="1765" actId="478"/>
          <ac:spMkLst>
            <pc:docMk/>
            <pc:sldMk cId="79965232" sldId="2147374880"/>
            <ac:spMk id="44" creationId="{09F50408-81DD-7DDB-84BE-825176AD6522}"/>
          </ac:spMkLst>
        </pc:spChg>
        <pc:spChg chg="del">
          <ac:chgData name="Paul LEGEARD" userId="73b5704d-da1d-4b70-8e12-6d54d32b01a3" providerId="ADAL" clId="{7E21ABAC-2CC9-43D2-B356-F36799891C85}" dt="2023-03-29T08:16:35.002" v="1765" actId="478"/>
          <ac:spMkLst>
            <pc:docMk/>
            <pc:sldMk cId="79965232" sldId="2147374880"/>
            <ac:spMk id="45" creationId="{E5D41454-3C67-6844-5FE3-048C373FEA45}"/>
          </ac:spMkLst>
        </pc:spChg>
        <pc:spChg chg="del">
          <ac:chgData name="Paul LEGEARD" userId="73b5704d-da1d-4b70-8e12-6d54d32b01a3" providerId="ADAL" clId="{7E21ABAC-2CC9-43D2-B356-F36799891C85}" dt="2023-03-29T08:16:35.002" v="1765" actId="478"/>
          <ac:spMkLst>
            <pc:docMk/>
            <pc:sldMk cId="79965232" sldId="2147374880"/>
            <ac:spMk id="46" creationId="{516A7726-B039-63B6-BC43-A082DF3222A6}"/>
          </ac:spMkLst>
        </pc:spChg>
        <pc:spChg chg="del">
          <ac:chgData name="Paul LEGEARD" userId="73b5704d-da1d-4b70-8e12-6d54d32b01a3" providerId="ADAL" clId="{7E21ABAC-2CC9-43D2-B356-F36799891C85}" dt="2023-03-29T08:16:35.002" v="1765" actId="478"/>
          <ac:spMkLst>
            <pc:docMk/>
            <pc:sldMk cId="79965232" sldId="2147374880"/>
            <ac:spMk id="47" creationId="{CBFB7CA8-5362-DA49-53BC-4A3CB3D71A22}"/>
          </ac:spMkLst>
        </pc:spChg>
        <pc:spChg chg="del">
          <ac:chgData name="Paul LEGEARD" userId="73b5704d-da1d-4b70-8e12-6d54d32b01a3" providerId="ADAL" clId="{7E21ABAC-2CC9-43D2-B356-F36799891C85}" dt="2023-03-29T08:16:36.722" v="1766" actId="478"/>
          <ac:spMkLst>
            <pc:docMk/>
            <pc:sldMk cId="79965232" sldId="2147374880"/>
            <ac:spMk id="48" creationId="{24913C9D-1987-2FA8-9AC1-A4BE83DE7959}"/>
          </ac:spMkLst>
        </pc:spChg>
        <pc:spChg chg="del">
          <ac:chgData name="Paul LEGEARD" userId="73b5704d-da1d-4b70-8e12-6d54d32b01a3" providerId="ADAL" clId="{7E21ABAC-2CC9-43D2-B356-F36799891C85}" dt="2023-03-29T08:16:36.722" v="1766" actId="478"/>
          <ac:spMkLst>
            <pc:docMk/>
            <pc:sldMk cId="79965232" sldId="2147374880"/>
            <ac:spMk id="49" creationId="{5D1D81FA-4969-18CC-9D77-765418EBDFEA}"/>
          </ac:spMkLst>
        </pc:spChg>
        <pc:spChg chg="del">
          <ac:chgData name="Paul LEGEARD" userId="73b5704d-da1d-4b70-8e12-6d54d32b01a3" providerId="ADAL" clId="{7E21ABAC-2CC9-43D2-B356-F36799891C85}" dt="2023-03-29T08:16:36.722" v="1766" actId="478"/>
          <ac:spMkLst>
            <pc:docMk/>
            <pc:sldMk cId="79965232" sldId="2147374880"/>
            <ac:spMk id="50" creationId="{7798B675-F392-2049-3021-D26A88D94EB1}"/>
          </ac:spMkLst>
        </pc:spChg>
        <pc:spChg chg="del">
          <ac:chgData name="Paul LEGEARD" userId="73b5704d-da1d-4b70-8e12-6d54d32b01a3" providerId="ADAL" clId="{7E21ABAC-2CC9-43D2-B356-F36799891C85}" dt="2023-03-29T08:16:36.722" v="1766" actId="478"/>
          <ac:spMkLst>
            <pc:docMk/>
            <pc:sldMk cId="79965232" sldId="2147374880"/>
            <ac:spMk id="51" creationId="{944540E4-EF1F-0B4B-094D-FED6E7C7EE78}"/>
          </ac:spMkLst>
        </pc:spChg>
        <pc:spChg chg="del">
          <ac:chgData name="Paul LEGEARD" userId="73b5704d-da1d-4b70-8e12-6d54d32b01a3" providerId="ADAL" clId="{7E21ABAC-2CC9-43D2-B356-F36799891C85}" dt="2023-03-29T08:16:36.722" v="1766" actId="478"/>
          <ac:spMkLst>
            <pc:docMk/>
            <pc:sldMk cId="79965232" sldId="2147374880"/>
            <ac:spMk id="52" creationId="{F75BCF96-8A8D-9736-CA06-4BA5D4BACCB5}"/>
          </ac:spMkLst>
        </pc:spChg>
        <pc:spChg chg="del">
          <ac:chgData name="Paul LEGEARD" userId="73b5704d-da1d-4b70-8e12-6d54d32b01a3" providerId="ADAL" clId="{7E21ABAC-2CC9-43D2-B356-F36799891C85}" dt="2023-03-29T08:16:35.002" v="1765" actId="478"/>
          <ac:spMkLst>
            <pc:docMk/>
            <pc:sldMk cId="79965232" sldId="2147374880"/>
            <ac:spMk id="53" creationId="{916C0228-5611-DF59-E834-8664410D7B90}"/>
          </ac:spMkLst>
        </pc:spChg>
        <pc:spChg chg="del">
          <ac:chgData name="Paul LEGEARD" userId="73b5704d-da1d-4b70-8e12-6d54d32b01a3" providerId="ADAL" clId="{7E21ABAC-2CC9-43D2-B356-F36799891C85}" dt="2023-03-29T08:16:35.002" v="1765" actId="478"/>
          <ac:spMkLst>
            <pc:docMk/>
            <pc:sldMk cId="79965232" sldId="2147374880"/>
            <ac:spMk id="55" creationId="{05A86FA6-446A-FE1D-8630-F5260213E528}"/>
          </ac:spMkLst>
        </pc:spChg>
        <pc:spChg chg="del">
          <ac:chgData name="Paul LEGEARD" userId="73b5704d-da1d-4b70-8e12-6d54d32b01a3" providerId="ADAL" clId="{7E21ABAC-2CC9-43D2-B356-F36799891C85}" dt="2023-03-29T08:16:35.002" v="1765" actId="478"/>
          <ac:spMkLst>
            <pc:docMk/>
            <pc:sldMk cId="79965232" sldId="2147374880"/>
            <ac:spMk id="56" creationId="{8F88E245-9801-1861-4F8A-2FF33C8F66FE}"/>
          </ac:spMkLst>
        </pc:spChg>
        <pc:spChg chg="del">
          <ac:chgData name="Paul LEGEARD" userId="73b5704d-da1d-4b70-8e12-6d54d32b01a3" providerId="ADAL" clId="{7E21ABAC-2CC9-43D2-B356-F36799891C85}" dt="2023-03-29T08:16:35.002" v="1765" actId="478"/>
          <ac:spMkLst>
            <pc:docMk/>
            <pc:sldMk cId="79965232" sldId="2147374880"/>
            <ac:spMk id="57" creationId="{1D2B96CF-D3A8-A7AF-E22A-9C477B02C357}"/>
          </ac:spMkLst>
        </pc:spChg>
        <pc:spChg chg="del">
          <ac:chgData name="Paul LEGEARD" userId="73b5704d-da1d-4b70-8e12-6d54d32b01a3" providerId="ADAL" clId="{7E21ABAC-2CC9-43D2-B356-F36799891C85}" dt="2023-03-29T08:16:35.002" v="1765" actId="478"/>
          <ac:spMkLst>
            <pc:docMk/>
            <pc:sldMk cId="79965232" sldId="2147374880"/>
            <ac:spMk id="58" creationId="{AE347CBC-7DF4-B618-8CD7-F9F7BB7C0457}"/>
          </ac:spMkLst>
        </pc:spChg>
        <pc:spChg chg="del">
          <ac:chgData name="Paul LEGEARD" userId="73b5704d-da1d-4b70-8e12-6d54d32b01a3" providerId="ADAL" clId="{7E21ABAC-2CC9-43D2-B356-F36799891C85}" dt="2023-03-29T08:16:35.002" v="1765" actId="478"/>
          <ac:spMkLst>
            <pc:docMk/>
            <pc:sldMk cId="79965232" sldId="2147374880"/>
            <ac:spMk id="59" creationId="{B273EA4B-B822-F0A9-5AEE-EB21706506CD}"/>
          </ac:spMkLst>
        </pc:spChg>
        <pc:spChg chg="del">
          <ac:chgData name="Paul LEGEARD" userId="73b5704d-da1d-4b70-8e12-6d54d32b01a3" providerId="ADAL" clId="{7E21ABAC-2CC9-43D2-B356-F36799891C85}" dt="2023-03-29T08:16:35.002" v="1765" actId="478"/>
          <ac:spMkLst>
            <pc:docMk/>
            <pc:sldMk cId="79965232" sldId="2147374880"/>
            <ac:spMk id="60" creationId="{7402F44B-EA1A-7767-81BB-7FAF630D7ACC}"/>
          </ac:spMkLst>
        </pc:spChg>
        <pc:spChg chg="del">
          <ac:chgData name="Paul LEGEARD" userId="73b5704d-da1d-4b70-8e12-6d54d32b01a3" providerId="ADAL" clId="{7E21ABAC-2CC9-43D2-B356-F36799891C85}" dt="2023-03-29T08:16:35.002" v="1765" actId="478"/>
          <ac:spMkLst>
            <pc:docMk/>
            <pc:sldMk cId="79965232" sldId="2147374880"/>
            <ac:spMk id="61" creationId="{45220136-0161-5C26-5919-8130DA922B57}"/>
          </ac:spMkLst>
        </pc:spChg>
        <pc:spChg chg="del">
          <ac:chgData name="Paul LEGEARD" userId="73b5704d-da1d-4b70-8e12-6d54d32b01a3" providerId="ADAL" clId="{7E21ABAC-2CC9-43D2-B356-F36799891C85}" dt="2023-03-29T08:16:35.002" v="1765" actId="478"/>
          <ac:spMkLst>
            <pc:docMk/>
            <pc:sldMk cId="79965232" sldId="2147374880"/>
            <ac:spMk id="62" creationId="{458E0682-9EEC-8F9A-7250-99E0D342E645}"/>
          </ac:spMkLst>
        </pc:spChg>
        <pc:spChg chg="del">
          <ac:chgData name="Paul LEGEARD" userId="73b5704d-da1d-4b70-8e12-6d54d32b01a3" providerId="ADAL" clId="{7E21ABAC-2CC9-43D2-B356-F36799891C85}" dt="2023-03-29T08:16:35.002" v="1765" actId="478"/>
          <ac:spMkLst>
            <pc:docMk/>
            <pc:sldMk cId="79965232" sldId="2147374880"/>
            <ac:spMk id="63" creationId="{D5A1EE5A-F719-7C97-02D5-585741E63BA9}"/>
          </ac:spMkLst>
        </pc:spChg>
        <pc:spChg chg="del">
          <ac:chgData name="Paul LEGEARD" userId="73b5704d-da1d-4b70-8e12-6d54d32b01a3" providerId="ADAL" clId="{7E21ABAC-2CC9-43D2-B356-F36799891C85}" dt="2023-03-29T08:16:35.002" v="1765" actId="478"/>
          <ac:spMkLst>
            <pc:docMk/>
            <pc:sldMk cId="79965232" sldId="2147374880"/>
            <ac:spMk id="64" creationId="{87AE6892-4990-2707-1AA1-0C6BADD7AFB4}"/>
          </ac:spMkLst>
        </pc:spChg>
        <pc:spChg chg="del">
          <ac:chgData name="Paul LEGEARD" userId="73b5704d-da1d-4b70-8e12-6d54d32b01a3" providerId="ADAL" clId="{7E21ABAC-2CC9-43D2-B356-F36799891C85}" dt="2023-03-29T08:16:35.002" v="1765" actId="478"/>
          <ac:spMkLst>
            <pc:docMk/>
            <pc:sldMk cId="79965232" sldId="2147374880"/>
            <ac:spMk id="65" creationId="{FA2AC4DA-E236-5805-D1DC-F28274BAC1EB}"/>
          </ac:spMkLst>
        </pc:spChg>
        <pc:spChg chg="del">
          <ac:chgData name="Paul LEGEARD" userId="73b5704d-da1d-4b70-8e12-6d54d32b01a3" providerId="ADAL" clId="{7E21ABAC-2CC9-43D2-B356-F36799891C85}" dt="2023-03-29T08:16:35.002" v="1765" actId="478"/>
          <ac:spMkLst>
            <pc:docMk/>
            <pc:sldMk cId="79965232" sldId="2147374880"/>
            <ac:spMk id="66" creationId="{63CBC255-3AB4-FE5B-0763-B5A0A250691E}"/>
          </ac:spMkLst>
        </pc:spChg>
        <pc:spChg chg="mod">
          <ac:chgData name="Paul LEGEARD" userId="73b5704d-da1d-4b70-8e12-6d54d32b01a3" providerId="ADAL" clId="{7E21ABAC-2CC9-43D2-B356-F36799891C85}" dt="2023-03-29T08:16:00.512" v="1761" actId="20577"/>
          <ac:spMkLst>
            <pc:docMk/>
            <pc:sldMk cId="79965232" sldId="2147374880"/>
            <ac:spMk id="79" creationId="{9007893F-DE3F-4277-8B72-135CF4773651}"/>
          </ac:spMkLst>
        </pc:spChg>
        <pc:graphicFrameChg chg="del">
          <ac:chgData name="Paul LEGEARD" userId="73b5704d-da1d-4b70-8e12-6d54d32b01a3" providerId="ADAL" clId="{7E21ABAC-2CC9-43D2-B356-F36799891C85}" dt="2023-03-29T08:16:35.002" v="1765" actId="478"/>
          <ac:graphicFrameMkLst>
            <pc:docMk/>
            <pc:sldMk cId="79965232" sldId="2147374880"/>
            <ac:graphicFrameMk id="4" creationId="{7EA234E7-3F8E-4641-FB26-3504C59767A9}"/>
          </ac:graphicFrameMkLst>
        </pc:graphicFrameChg>
        <pc:graphicFrameChg chg="del">
          <ac:chgData name="Paul LEGEARD" userId="73b5704d-da1d-4b70-8e12-6d54d32b01a3" providerId="ADAL" clId="{7E21ABAC-2CC9-43D2-B356-F36799891C85}" dt="2023-03-29T08:16:35.002" v="1765" actId="478"/>
          <ac:graphicFrameMkLst>
            <pc:docMk/>
            <pc:sldMk cId="79965232" sldId="2147374880"/>
            <ac:graphicFrameMk id="6" creationId="{A07424FC-D399-B361-0E68-57F5D0C350CC}"/>
          </ac:graphicFrameMkLst>
        </pc:graphicFrameChg>
        <pc:picChg chg="add mod">
          <ac:chgData name="Paul LEGEARD" userId="73b5704d-da1d-4b70-8e12-6d54d32b01a3" providerId="ADAL" clId="{7E21ABAC-2CC9-43D2-B356-F36799891C85}" dt="2023-03-29T08:41:27.559" v="2892" actId="1076"/>
          <ac:picMkLst>
            <pc:docMk/>
            <pc:sldMk cId="79965232" sldId="2147374880"/>
            <ac:picMk id="12" creationId="{73EA23DD-0493-1D14-B01D-6650CD994B37}"/>
          </ac:picMkLst>
        </pc:picChg>
        <pc:picChg chg="add mod">
          <ac:chgData name="Paul LEGEARD" userId="73b5704d-da1d-4b70-8e12-6d54d32b01a3" providerId="ADAL" clId="{7E21ABAC-2CC9-43D2-B356-F36799891C85}" dt="2023-03-29T08:42:12.794" v="2994" actId="1076"/>
          <ac:picMkLst>
            <pc:docMk/>
            <pc:sldMk cId="79965232" sldId="2147374880"/>
            <ac:picMk id="23" creationId="{25FDDE80-AF40-C275-252A-56E29F74F72B}"/>
          </ac:picMkLst>
        </pc:picChg>
        <pc:picChg chg="add mod">
          <ac:chgData name="Paul LEGEARD" userId="73b5704d-da1d-4b70-8e12-6d54d32b01a3" providerId="ADAL" clId="{7E21ABAC-2CC9-43D2-B356-F36799891C85}" dt="2023-03-29T08:42:19.649" v="2997" actId="1076"/>
          <ac:picMkLst>
            <pc:docMk/>
            <pc:sldMk cId="79965232" sldId="2147374880"/>
            <ac:picMk id="25" creationId="{BA9E8AAD-EFD9-5035-B9D5-A39E90DDB336}"/>
          </ac:picMkLst>
        </pc:picChg>
        <pc:picChg chg="add mod">
          <ac:chgData name="Paul LEGEARD" userId="73b5704d-da1d-4b70-8e12-6d54d32b01a3" providerId="ADAL" clId="{7E21ABAC-2CC9-43D2-B356-F36799891C85}" dt="2023-03-29T08:42:51.423" v="3055" actId="1076"/>
          <ac:picMkLst>
            <pc:docMk/>
            <pc:sldMk cId="79965232" sldId="2147374880"/>
            <ac:picMk id="40" creationId="{A63324FE-65D4-D2FF-71A4-49A2D5559CFD}"/>
          </ac:picMkLst>
        </pc:picChg>
        <pc:picChg chg="add del mod">
          <ac:chgData name="Paul LEGEARD" userId="73b5704d-da1d-4b70-8e12-6d54d32b01a3" providerId="ADAL" clId="{7E21ABAC-2CC9-43D2-B356-F36799891C85}" dt="2023-03-29T08:43:18.082" v="3140" actId="478"/>
          <ac:picMkLst>
            <pc:docMk/>
            <pc:sldMk cId="79965232" sldId="2147374880"/>
            <ac:picMk id="2050" creationId="{78AE4801-83FA-F889-28C3-C16236303F3C}"/>
          </ac:picMkLst>
        </pc:picChg>
      </pc:sldChg>
      <pc:sldChg chg="add del">
        <pc:chgData name="Paul LEGEARD" userId="73b5704d-da1d-4b70-8e12-6d54d32b01a3" providerId="ADAL" clId="{7E21ABAC-2CC9-43D2-B356-F36799891C85}" dt="2023-03-29T08:09:11.049" v="1127" actId="47"/>
        <pc:sldMkLst>
          <pc:docMk/>
          <pc:sldMk cId="1547307414" sldId="2147374880"/>
        </pc:sldMkLst>
      </pc:sldChg>
      <pc:sldChg chg="addSp delSp modSp add del mod">
        <pc:chgData name="Paul LEGEARD" userId="73b5704d-da1d-4b70-8e12-6d54d32b01a3" providerId="ADAL" clId="{7E21ABAC-2CC9-43D2-B356-F36799891C85}" dt="2023-03-29T10:12:52.189" v="5965" actId="47"/>
        <pc:sldMkLst>
          <pc:docMk/>
          <pc:sldMk cId="1744929614" sldId="2147374881"/>
        </pc:sldMkLst>
        <pc:spChg chg="del">
          <ac:chgData name="Paul LEGEARD" userId="73b5704d-da1d-4b70-8e12-6d54d32b01a3" providerId="ADAL" clId="{7E21ABAC-2CC9-43D2-B356-F36799891C85}" dt="2023-03-29T10:03:28.921" v="5916" actId="478"/>
          <ac:spMkLst>
            <pc:docMk/>
            <pc:sldMk cId="1744929614" sldId="2147374881"/>
            <ac:spMk id="2" creationId="{C583C801-00C2-3C77-CBD7-51F7543965E7}"/>
          </ac:spMkLst>
        </pc:spChg>
        <pc:spChg chg="add mod">
          <ac:chgData name="Paul LEGEARD" userId="73b5704d-da1d-4b70-8e12-6d54d32b01a3" providerId="ADAL" clId="{7E21ABAC-2CC9-43D2-B356-F36799891C85}" dt="2023-03-29T10:03:48.429" v="5964" actId="20577"/>
          <ac:spMkLst>
            <pc:docMk/>
            <pc:sldMk cId="1744929614" sldId="2147374881"/>
            <ac:spMk id="3" creationId="{472DA952-94B2-4EA2-739F-E8D7488128B2}"/>
          </ac:spMkLst>
        </pc:spChg>
        <pc:spChg chg="del">
          <ac:chgData name="Paul LEGEARD" userId="73b5704d-da1d-4b70-8e12-6d54d32b01a3" providerId="ADAL" clId="{7E21ABAC-2CC9-43D2-B356-F36799891C85}" dt="2023-03-29T10:03:28.921" v="5916" actId="478"/>
          <ac:spMkLst>
            <pc:docMk/>
            <pc:sldMk cId="1744929614" sldId="2147374881"/>
            <ac:spMk id="5" creationId="{83F41A2A-E3A9-36AE-FF14-3625AF9A120E}"/>
          </ac:spMkLst>
        </pc:spChg>
        <pc:spChg chg="del">
          <ac:chgData name="Paul LEGEARD" userId="73b5704d-da1d-4b70-8e12-6d54d32b01a3" providerId="ADAL" clId="{7E21ABAC-2CC9-43D2-B356-F36799891C85}" dt="2023-03-29T10:03:28.921" v="5916" actId="478"/>
          <ac:spMkLst>
            <pc:docMk/>
            <pc:sldMk cId="1744929614" sldId="2147374881"/>
            <ac:spMk id="7" creationId="{64C5E6BA-6D9A-EC46-D040-E671A706BAE7}"/>
          </ac:spMkLst>
        </pc:spChg>
        <pc:spChg chg="del">
          <ac:chgData name="Paul LEGEARD" userId="73b5704d-da1d-4b70-8e12-6d54d32b01a3" providerId="ADAL" clId="{7E21ABAC-2CC9-43D2-B356-F36799891C85}" dt="2023-03-29T10:03:28.921" v="5916" actId="478"/>
          <ac:spMkLst>
            <pc:docMk/>
            <pc:sldMk cId="1744929614" sldId="2147374881"/>
            <ac:spMk id="8" creationId="{C9204D7E-D409-CAD0-AC8F-9DA295CBEF0C}"/>
          </ac:spMkLst>
        </pc:spChg>
        <pc:spChg chg="del">
          <ac:chgData name="Paul LEGEARD" userId="73b5704d-da1d-4b70-8e12-6d54d32b01a3" providerId="ADAL" clId="{7E21ABAC-2CC9-43D2-B356-F36799891C85}" dt="2023-03-29T10:03:28.921" v="5916" actId="478"/>
          <ac:spMkLst>
            <pc:docMk/>
            <pc:sldMk cId="1744929614" sldId="2147374881"/>
            <ac:spMk id="9" creationId="{A86EBBAA-DCC4-C5A4-9BFD-641D676D0848}"/>
          </ac:spMkLst>
        </pc:spChg>
        <pc:spChg chg="del">
          <ac:chgData name="Paul LEGEARD" userId="73b5704d-da1d-4b70-8e12-6d54d32b01a3" providerId="ADAL" clId="{7E21ABAC-2CC9-43D2-B356-F36799891C85}" dt="2023-03-29T10:03:28.921" v="5916" actId="478"/>
          <ac:spMkLst>
            <pc:docMk/>
            <pc:sldMk cId="1744929614" sldId="2147374881"/>
            <ac:spMk id="10" creationId="{B59A31FC-9DAC-38EB-9EE2-95094C555180}"/>
          </ac:spMkLst>
        </pc:spChg>
        <pc:spChg chg="del">
          <ac:chgData name="Paul LEGEARD" userId="73b5704d-da1d-4b70-8e12-6d54d32b01a3" providerId="ADAL" clId="{7E21ABAC-2CC9-43D2-B356-F36799891C85}" dt="2023-03-29T10:03:28.921" v="5916" actId="478"/>
          <ac:spMkLst>
            <pc:docMk/>
            <pc:sldMk cId="1744929614" sldId="2147374881"/>
            <ac:spMk id="11" creationId="{E03A5BDD-4B38-98CE-F34B-BFFD871DFD06}"/>
          </ac:spMkLst>
        </pc:spChg>
        <pc:spChg chg="del">
          <ac:chgData name="Paul LEGEARD" userId="73b5704d-da1d-4b70-8e12-6d54d32b01a3" providerId="ADAL" clId="{7E21ABAC-2CC9-43D2-B356-F36799891C85}" dt="2023-03-29T10:03:28.921" v="5916" actId="478"/>
          <ac:spMkLst>
            <pc:docMk/>
            <pc:sldMk cId="1744929614" sldId="2147374881"/>
            <ac:spMk id="13" creationId="{C6320FF4-3DAD-C8B4-7A3A-020E7EAC7B9A}"/>
          </ac:spMkLst>
        </pc:spChg>
        <pc:spChg chg="del">
          <ac:chgData name="Paul LEGEARD" userId="73b5704d-da1d-4b70-8e12-6d54d32b01a3" providerId="ADAL" clId="{7E21ABAC-2CC9-43D2-B356-F36799891C85}" dt="2023-03-29T10:03:28.921" v="5916" actId="478"/>
          <ac:spMkLst>
            <pc:docMk/>
            <pc:sldMk cId="1744929614" sldId="2147374881"/>
            <ac:spMk id="14" creationId="{A4E99F72-3119-4CE3-2280-580BAE5C0B43}"/>
          </ac:spMkLst>
        </pc:spChg>
        <pc:spChg chg="del">
          <ac:chgData name="Paul LEGEARD" userId="73b5704d-da1d-4b70-8e12-6d54d32b01a3" providerId="ADAL" clId="{7E21ABAC-2CC9-43D2-B356-F36799891C85}" dt="2023-03-29T10:03:28.921" v="5916" actId="478"/>
          <ac:spMkLst>
            <pc:docMk/>
            <pc:sldMk cId="1744929614" sldId="2147374881"/>
            <ac:spMk id="15" creationId="{A024178F-50C6-4232-A837-9278A6BE0520}"/>
          </ac:spMkLst>
        </pc:spChg>
        <pc:spChg chg="del">
          <ac:chgData name="Paul LEGEARD" userId="73b5704d-da1d-4b70-8e12-6d54d32b01a3" providerId="ADAL" clId="{7E21ABAC-2CC9-43D2-B356-F36799891C85}" dt="2023-03-29T10:03:28.921" v="5916" actId="478"/>
          <ac:spMkLst>
            <pc:docMk/>
            <pc:sldMk cId="1744929614" sldId="2147374881"/>
            <ac:spMk id="16" creationId="{AE30E750-B506-DDCC-2ABB-965A9EF5F72F}"/>
          </ac:spMkLst>
        </pc:spChg>
        <pc:spChg chg="del">
          <ac:chgData name="Paul LEGEARD" userId="73b5704d-da1d-4b70-8e12-6d54d32b01a3" providerId="ADAL" clId="{7E21ABAC-2CC9-43D2-B356-F36799891C85}" dt="2023-03-29T10:03:28.921" v="5916" actId="478"/>
          <ac:spMkLst>
            <pc:docMk/>
            <pc:sldMk cId="1744929614" sldId="2147374881"/>
            <ac:spMk id="17" creationId="{C0578604-03EF-23E5-0BAC-2BD93EF38A4F}"/>
          </ac:spMkLst>
        </pc:spChg>
        <pc:spChg chg="del">
          <ac:chgData name="Paul LEGEARD" userId="73b5704d-da1d-4b70-8e12-6d54d32b01a3" providerId="ADAL" clId="{7E21ABAC-2CC9-43D2-B356-F36799891C85}" dt="2023-03-29T10:03:28.921" v="5916" actId="478"/>
          <ac:spMkLst>
            <pc:docMk/>
            <pc:sldMk cId="1744929614" sldId="2147374881"/>
            <ac:spMk id="18" creationId="{AD1C2C33-2871-CD79-EC02-0717EED9B315}"/>
          </ac:spMkLst>
        </pc:spChg>
        <pc:spChg chg="del">
          <ac:chgData name="Paul LEGEARD" userId="73b5704d-da1d-4b70-8e12-6d54d32b01a3" providerId="ADAL" clId="{7E21ABAC-2CC9-43D2-B356-F36799891C85}" dt="2023-03-29T10:03:28.921" v="5916" actId="478"/>
          <ac:spMkLst>
            <pc:docMk/>
            <pc:sldMk cId="1744929614" sldId="2147374881"/>
            <ac:spMk id="19" creationId="{F0BDBB6C-09B1-19E1-9912-F4F3ADF1E9F1}"/>
          </ac:spMkLst>
        </pc:spChg>
        <pc:spChg chg="del">
          <ac:chgData name="Paul LEGEARD" userId="73b5704d-da1d-4b70-8e12-6d54d32b01a3" providerId="ADAL" clId="{7E21ABAC-2CC9-43D2-B356-F36799891C85}" dt="2023-03-29T10:03:28.921" v="5916" actId="478"/>
          <ac:spMkLst>
            <pc:docMk/>
            <pc:sldMk cId="1744929614" sldId="2147374881"/>
            <ac:spMk id="27" creationId="{DA3A8BEF-76EF-6820-EC26-5B4A0EAC6B8B}"/>
          </ac:spMkLst>
        </pc:spChg>
        <pc:spChg chg="del">
          <ac:chgData name="Paul LEGEARD" userId="73b5704d-da1d-4b70-8e12-6d54d32b01a3" providerId="ADAL" clId="{7E21ABAC-2CC9-43D2-B356-F36799891C85}" dt="2023-03-29T10:03:28.921" v="5916" actId="478"/>
          <ac:spMkLst>
            <pc:docMk/>
            <pc:sldMk cId="1744929614" sldId="2147374881"/>
            <ac:spMk id="28" creationId="{46274404-5A69-4566-4EEB-6D8BD97AE996}"/>
          </ac:spMkLst>
        </pc:spChg>
        <pc:spChg chg="del">
          <ac:chgData name="Paul LEGEARD" userId="73b5704d-da1d-4b70-8e12-6d54d32b01a3" providerId="ADAL" clId="{7E21ABAC-2CC9-43D2-B356-F36799891C85}" dt="2023-03-29T10:03:28.921" v="5916" actId="478"/>
          <ac:spMkLst>
            <pc:docMk/>
            <pc:sldMk cId="1744929614" sldId="2147374881"/>
            <ac:spMk id="29" creationId="{DDF00D96-5051-53E5-C04D-7B2625C34BFC}"/>
          </ac:spMkLst>
        </pc:spChg>
        <pc:spChg chg="del">
          <ac:chgData name="Paul LEGEARD" userId="73b5704d-da1d-4b70-8e12-6d54d32b01a3" providerId="ADAL" clId="{7E21ABAC-2CC9-43D2-B356-F36799891C85}" dt="2023-03-29T10:03:28.921" v="5916" actId="478"/>
          <ac:spMkLst>
            <pc:docMk/>
            <pc:sldMk cId="1744929614" sldId="2147374881"/>
            <ac:spMk id="30" creationId="{660A2E51-A0A5-4E85-3E38-1ED06A8856BE}"/>
          </ac:spMkLst>
        </pc:spChg>
        <pc:spChg chg="del">
          <ac:chgData name="Paul LEGEARD" userId="73b5704d-da1d-4b70-8e12-6d54d32b01a3" providerId="ADAL" clId="{7E21ABAC-2CC9-43D2-B356-F36799891C85}" dt="2023-03-29T10:03:28.921" v="5916" actId="478"/>
          <ac:spMkLst>
            <pc:docMk/>
            <pc:sldMk cId="1744929614" sldId="2147374881"/>
            <ac:spMk id="31" creationId="{3C6AC63A-1321-0668-F998-E6584C68BF8E}"/>
          </ac:spMkLst>
        </pc:spChg>
        <pc:spChg chg="del">
          <ac:chgData name="Paul LEGEARD" userId="73b5704d-da1d-4b70-8e12-6d54d32b01a3" providerId="ADAL" clId="{7E21ABAC-2CC9-43D2-B356-F36799891C85}" dt="2023-03-29T10:03:28.921" v="5916" actId="478"/>
          <ac:spMkLst>
            <pc:docMk/>
            <pc:sldMk cId="1744929614" sldId="2147374881"/>
            <ac:spMk id="32" creationId="{9923CA07-B4FE-C909-1D46-6416093C4498}"/>
          </ac:spMkLst>
        </pc:spChg>
        <pc:spChg chg="del">
          <ac:chgData name="Paul LEGEARD" userId="73b5704d-da1d-4b70-8e12-6d54d32b01a3" providerId="ADAL" clId="{7E21ABAC-2CC9-43D2-B356-F36799891C85}" dt="2023-03-29T10:03:28.921" v="5916" actId="478"/>
          <ac:spMkLst>
            <pc:docMk/>
            <pc:sldMk cId="1744929614" sldId="2147374881"/>
            <ac:spMk id="33" creationId="{114FDD51-F399-5BD3-FE1B-4C6D24952936}"/>
          </ac:spMkLst>
        </pc:spChg>
        <pc:spChg chg="del">
          <ac:chgData name="Paul LEGEARD" userId="73b5704d-da1d-4b70-8e12-6d54d32b01a3" providerId="ADAL" clId="{7E21ABAC-2CC9-43D2-B356-F36799891C85}" dt="2023-03-29T10:03:28.921" v="5916" actId="478"/>
          <ac:spMkLst>
            <pc:docMk/>
            <pc:sldMk cId="1744929614" sldId="2147374881"/>
            <ac:spMk id="34" creationId="{F73A7951-B604-8AC2-5877-6CB3C3DFAFFC}"/>
          </ac:spMkLst>
        </pc:spChg>
        <pc:spChg chg="del">
          <ac:chgData name="Paul LEGEARD" userId="73b5704d-da1d-4b70-8e12-6d54d32b01a3" providerId="ADAL" clId="{7E21ABAC-2CC9-43D2-B356-F36799891C85}" dt="2023-03-29T10:03:28.921" v="5916" actId="478"/>
          <ac:spMkLst>
            <pc:docMk/>
            <pc:sldMk cId="1744929614" sldId="2147374881"/>
            <ac:spMk id="35" creationId="{083EFD23-807D-5949-2F84-C5F8616053B7}"/>
          </ac:spMkLst>
        </pc:spChg>
        <pc:spChg chg="del">
          <ac:chgData name="Paul LEGEARD" userId="73b5704d-da1d-4b70-8e12-6d54d32b01a3" providerId="ADAL" clId="{7E21ABAC-2CC9-43D2-B356-F36799891C85}" dt="2023-03-29T10:03:28.921" v="5916" actId="478"/>
          <ac:spMkLst>
            <pc:docMk/>
            <pc:sldMk cId="1744929614" sldId="2147374881"/>
            <ac:spMk id="36" creationId="{AA0C9A06-6A18-8C40-4D2D-A006C71107CE}"/>
          </ac:spMkLst>
        </pc:spChg>
        <pc:spChg chg="del">
          <ac:chgData name="Paul LEGEARD" userId="73b5704d-da1d-4b70-8e12-6d54d32b01a3" providerId="ADAL" clId="{7E21ABAC-2CC9-43D2-B356-F36799891C85}" dt="2023-03-29T10:03:28.921" v="5916" actId="478"/>
          <ac:spMkLst>
            <pc:docMk/>
            <pc:sldMk cId="1744929614" sldId="2147374881"/>
            <ac:spMk id="37" creationId="{FF140C7D-FA42-E545-8874-219F260CC8DB}"/>
          </ac:spMkLst>
        </pc:spChg>
        <pc:spChg chg="del">
          <ac:chgData name="Paul LEGEARD" userId="73b5704d-da1d-4b70-8e12-6d54d32b01a3" providerId="ADAL" clId="{7E21ABAC-2CC9-43D2-B356-F36799891C85}" dt="2023-03-29T10:03:28.921" v="5916" actId="478"/>
          <ac:spMkLst>
            <pc:docMk/>
            <pc:sldMk cId="1744929614" sldId="2147374881"/>
            <ac:spMk id="38" creationId="{2D1AF37D-9B2A-11AC-E494-52CA90959C06}"/>
          </ac:spMkLst>
        </pc:spChg>
        <pc:spChg chg="del">
          <ac:chgData name="Paul LEGEARD" userId="73b5704d-da1d-4b70-8e12-6d54d32b01a3" providerId="ADAL" clId="{7E21ABAC-2CC9-43D2-B356-F36799891C85}" dt="2023-03-29T10:03:28.921" v="5916" actId="478"/>
          <ac:spMkLst>
            <pc:docMk/>
            <pc:sldMk cId="1744929614" sldId="2147374881"/>
            <ac:spMk id="39" creationId="{0F2B28F9-D2C1-09F4-0D90-34AFC52422FA}"/>
          </ac:spMkLst>
        </pc:spChg>
        <pc:spChg chg="del">
          <ac:chgData name="Paul LEGEARD" userId="73b5704d-da1d-4b70-8e12-6d54d32b01a3" providerId="ADAL" clId="{7E21ABAC-2CC9-43D2-B356-F36799891C85}" dt="2023-03-29T10:03:28.921" v="5916" actId="478"/>
          <ac:spMkLst>
            <pc:docMk/>
            <pc:sldMk cId="1744929614" sldId="2147374881"/>
            <ac:spMk id="41" creationId="{92EF87CB-7BCE-CB2B-1FCE-AEA2400A2C71}"/>
          </ac:spMkLst>
        </pc:spChg>
        <pc:spChg chg="del">
          <ac:chgData name="Paul LEGEARD" userId="73b5704d-da1d-4b70-8e12-6d54d32b01a3" providerId="ADAL" clId="{7E21ABAC-2CC9-43D2-B356-F36799891C85}" dt="2023-03-29T10:03:28.921" v="5916" actId="478"/>
          <ac:spMkLst>
            <pc:docMk/>
            <pc:sldMk cId="1744929614" sldId="2147374881"/>
            <ac:spMk id="42" creationId="{6B714DB7-306A-393A-71A2-4CD7CF4487DF}"/>
          </ac:spMkLst>
        </pc:spChg>
        <pc:spChg chg="del">
          <ac:chgData name="Paul LEGEARD" userId="73b5704d-da1d-4b70-8e12-6d54d32b01a3" providerId="ADAL" clId="{7E21ABAC-2CC9-43D2-B356-F36799891C85}" dt="2023-03-29T10:03:28.921" v="5916" actId="478"/>
          <ac:spMkLst>
            <pc:docMk/>
            <pc:sldMk cId="1744929614" sldId="2147374881"/>
            <ac:spMk id="44" creationId="{09F50408-81DD-7DDB-84BE-825176AD6522}"/>
          </ac:spMkLst>
        </pc:spChg>
        <pc:spChg chg="del">
          <ac:chgData name="Paul LEGEARD" userId="73b5704d-da1d-4b70-8e12-6d54d32b01a3" providerId="ADAL" clId="{7E21ABAC-2CC9-43D2-B356-F36799891C85}" dt="2023-03-29T10:03:28.921" v="5916" actId="478"/>
          <ac:spMkLst>
            <pc:docMk/>
            <pc:sldMk cId="1744929614" sldId="2147374881"/>
            <ac:spMk id="45" creationId="{E5D41454-3C67-6844-5FE3-048C373FEA45}"/>
          </ac:spMkLst>
        </pc:spChg>
        <pc:spChg chg="del">
          <ac:chgData name="Paul LEGEARD" userId="73b5704d-da1d-4b70-8e12-6d54d32b01a3" providerId="ADAL" clId="{7E21ABAC-2CC9-43D2-B356-F36799891C85}" dt="2023-03-29T10:03:28.921" v="5916" actId="478"/>
          <ac:spMkLst>
            <pc:docMk/>
            <pc:sldMk cId="1744929614" sldId="2147374881"/>
            <ac:spMk id="46" creationId="{516A7726-B039-63B6-BC43-A082DF3222A6}"/>
          </ac:spMkLst>
        </pc:spChg>
        <pc:spChg chg="del">
          <ac:chgData name="Paul LEGEARD" userId="73b5704d-da1d-4b70-8e12-6d54d32b01a3" providerId="ADAL" clId="{7E21ABAC-2CC9-43D2-B356-F36799891C85}" dt="2023-03-29T10:03:28.921" v="5916" actId="478"/>
          <ac:spMkLst>
            <pc:docMk/>
            <pc:sldMk cId="1744929614" sldId="2147374881"/>
            <ac:spMk id="47" creationId="{CBFB7CA8-5362-DA49-53BC-4A3CB3D71A22}"/>
          </ac:spMkLst>
        </pc:spChg>
        <pc:spChg chg="del">
          <ac:chgData name="Paul LEGEARD" userId="73b5704d-da1d-4b70-8e12-6d54d32b01a3" providerId="ADAL" clId="{7E21ABAC-2CC9-43D2-B356-F36799891C85}" dt="2023-03-29T10:03:28.921" v="5916" actId="478"/>
          <ac:spMkLst>
            <pc:docMk/>
            <pc:sldMk cId="1744929614" sldId="2147374881"/>
            <ac:spMk id="48" creationId="{24913C9D-1987-2FA8-9AC1-A4BE83DE7959}"/>
          </ac:spMkLst>
        </pc:spChg>
        <pc:spChg chg="del">
          <ac:chgData name="Paul LEGEARD" userId="73b5704d-da1d-4b70-8e12-6d54d32b01a3" providerId="ADAL" clId="{7E21ABAC-2CC9-43D2-B356-F36799891C85}" dt="2023-03-29T10:03:28.921" v="5916" actId="478"/>
          <ac:spMkLst>
            <pc:docMk/>
            <pc:sldMk cId="1744929614" sldId="2147374881"/>
            <ac:spMk id="49" creationId="{5D1D81FA-4969-18CC-9D77-765418EBDFEA}"/>
          </ac:spMkLst>
        </pc:spChg>
        <pc:spChg chg="del">
          <ac:chgData name="Paul LEGEARD" userId="73b5704d-da1d-4b70-8e12-6d54d32b01a3" providerId="ADAL" clId="{7E21ABAC-2CC9-43D2-B356-F36799891C85}" dt="2023-03-29T10:03:28.921" v="5916" actId="478"/>
          <ac:spMkLst>
            <pc:docMk/>
            <pc:sldMk cId="1744929614" sldId="2147374881"/>
            <ac:spMk id="50" creationId="{7798B675-F392-2049-3021-D26A88D94EB1}"/>
          </ac:spMkLst>
        </pc:spChg>
        <pc:spChg chg="del">
          <ac:chgData name="Paul LEGEARD" userId="73b5704d-da1d-4b70-8e12-6d54d32b01a3" providerId="ADAL" clId="{7E21ABAC-2CC9-43D2-B356-F36799891C85}" dt="2023-03-29T10:03:28.921" v="5916" actId="478"/>
          <ac:spMkLst>
            <pc:docMk/>
            <pc:sldMk cId="1744929614" sldId="2147374881"/>
            <ac:spMk id="51" creationId="{944540E4-EF1F-0B4B-094D-FED6E7C7EE78}"/>
          </ac:spMkLst>
        </pc:spChg>
        <pc:spChg chg="del">
          <ac:chgData name="Paul LEGEARD" userId="73b5704d-da1d-4b70-8e12-6d54d32b01a3" providerId="ADAL" clId="{7E21ABAC-2CC9-43D2-B356-F36799891C85}" dt="2023-03-29T10:03:28.921" v="5916" actId="478"/>
          <ac:spMkLst>
            <pc:docMk/>
            <pc:sldMk cId="1744929614" sldId="2147374881"/>
            <ac:spMk id="52" creationId="{F75BCF96-8A8D-9736-CA06-4BA5D4BACCB5}"/>
          </ac:spMkLst>
        </pc:spChg>
        <pc:spChg chg="del">
          <ac:chgData name="Paul LEGEARD" userId="73b5704d-da1d-4b70-8e12-6d54d32b01a3" providerId="ADAL" clId="{7E21ABAC-2CC9-43D2-B356-F36799891C85}" dt="2023-03-29T10:03:28.921" v="5916" actId="478"/>
          <ac:spMkLst>
            <pc:docMk/>
            <pc:sldMk cId="1744929614" sldId="2147374881"/>
            <ac:spMk id="53" creationId="{916C0228-5611-DF59-E834-8664410D7B90}"/>
          </ac:spMkLst>
        </pc:spChg>
        <pc:spChg chg="del">
          <ac:chgData name="Paul LEGEARD" userId="73b5704d-da1d-4b70-8e12-6d54d32b01a3" providerId="ADAL" clId="{7E21ABAC-2CC9-43D2-B356-F36799891C85}" dt="2023-03-29T10:03:28.921" v="5916" actId="478"/>
          <ac:spMkLst>
            <pc:docMk/>
            <pc:sldMk cId="1744929614" sldId="2147374881"/>
            <ac:spMk id="55" creationId="{05A86FA6-446A-FE1D-8630-F5260213E528}"/>
          </ac:spMkLst>
        </pc:spChg>
        <pc:spChg chg="del">
          <ac:chgData name="Paul LEGEARD" userId="73b5704d-da1d-4b70-8e12-6d54d32b01a3" providerId="ADAL" clId="{7E21ABAC-2CC9-43D2-B356-F36799891C85}" dt="2023-03-29T10:03:28.921" v="5916" actId="478"/>
          <ac:spMkLst>
            <pc:docMk/>
            <pc:sldMk cId="1744929614" sldId="2147374881"/>
            <ac:spMk id="56" creationId="{8F88E245-9801-1861-4F8A-2FF33C8F66FE}"/>
          </ac:spMkLst>
        </pc:spChg>
        <pc:spChg chg="del">
          <ac:chgData name="Paul LEGEARD" userId="73b5704d-da1d-4b70-8e12-6d54d32b01a3" providerId="ADAL" clId="{7E21ABAC-2CC9-43D2-B356-F36799891C85}" dt="2023-03-29T10:03:28.921" v="5916" actId="478"/>
          <ac:spMkLst>
            <pc:docMk/>
            <pc:sldMk cId="1744929614" sldId="2147374881"/>
            <ac:spMk id="57" creationId="{1D2B96CF-D3A8-A7AF-E22A-9C477B02C357}"/>
          </ac:spMkLst>
        </pc:spChg>
        <pc:spChg chg="del">
          <ac:chgData name="Paul LEGEARD" userId="73b5704d-da1d-4b70-8e12-6d54d32b01a3" providerId="ADAL" clId="{7E21ABAC-2CC9-43D2-B356-F36799891C85}" dt="2023-03-29T10:03:28.921" v="5916" actId="478"/>
          <ac:spMkLst>
            <pc:docMk/>
            <pc:sldMk cId="1744929614" sldId="2147374881"/>
            <ac:spMk id="58" creationId="{AE347CBC-7DF4-B618-8CD7-F9F7BB7C0457}"/>
          </ac:spMkLst>
        </pc:spChg>
        <pc:spChg chg="del">
          <ac:chgData name="Paul LEGEARD" userId="73b5704d-da1d-4b70-8e12-6d54d32b01a3" providerId="ADAL" clId="{7E21ABAC-2CC9-43D2-B356-F36799891C85}" dt="2023-03-29T10:03:28.921" v="5916" actId="478"/>
          <ac:spMkLst>
            <pc:docMk/>
            <pc:sldMk cId="1744929614" sldId="2147374881"/>
            <ac:spMk id="59" creationId="{B273EA4B-B822-F0A9-5AEE-EB21706506CD}"/>
          </ac:spMkLst>
        </pc:spChg>
        <pc:spChg chg="del">
          <ac:chgData name="Paul LEGEARD" userId="73b5704d-da1d-4b70-8e12-6d54d32b01a3" providerId="ADAL" clId="{7E21ABAC-2CC9-43D2-B356-F36799891C85}" dt="2023-03-29T10:03:28.921" v="5916" actId="478"/>
          <ac:spMkLst>
            <pc:docMk/>
            <pc:sldMk cId="1744929614" sldId="2147374881"/>
            <ac:spMk id="60" creationId="{7402F44B-EA1A-7767-81BB-7FAF630D7ACC}"/>
          </ac:spMkLst>
        </pc:spChg>
        <pc:spChg chg="del">
          <ac:chgData name="Paul LEGEARD" userId="73b5704d-da1d-4b70-8e12-6d54d32b01a3" providerId="ADAL" clId="{7E21ABAC-2CC9-43D2-B356-F36799891C85}" dt="2023-03-29T10:03:28.921" v="5916" actId="478"/>
          <ac:spMkLst>
            <pc:docMk/>
            <pc:sldMk cId="1744929614" sldId="2147374881"/>
            <ac:spMk id="61" creationId="{45220136-0161-5C26-5919-8130DA922B57}"/>
          </ac:spMkLst>
        </pc:spChg>
        <pc:spChg chg="del">
          <ac:chgData name="Paul LEGEARD" userId="73b5704d-da1d-4b70-8e12-6d54d32b01a3" providerId="ADAL" clId="{7E21ABAC-2CC9-43D2-B356-F36799891C85}" dt="2023-03-29T10:03:28.921" v="5916" actId="478"/>
          <ac:spMkLst>
            <pc:docMk/>
            <pc:sldMk cId="1744929614" sldId="2147374881"/>
            <ac:spMk id="62" creationId="{458E0682-9EEC-8F9A-7250-99E0D342E645}"/>
          </ac:spMkLst>
        </pc:spChg>
        <pc:spChg chg="del">
          <ac:chgData name="Paul LEGEARD" userId="73b5704d-da1d-4b70-8e12-6d54d32b01a3" providerId="ADAL" clId="{7E21ABAC-2CC9-43D2-B356-F36799891C85}" dt="2023-03-29T10:03:28.921" v="5916" actId="478"/>
          <ac:spMkLst>
            <pc:docMk/>
            <pc:sldMk cId="1744929614" sldId="2147374881"/>
            <ac:spMk id="63" creationId="{D5A1EE5A-F719-7C97-02D5-585741E63BA9}"/>
          </ac:spMkLst>
        </pc:spChg>
        <pc:spChg chg="del">
          <ac:chgData name="Paul LEGEARD" userId="73b5704d-da1d-4b70-8e12-6d54d32b01a3" providerId="ADAL" clId="{7E21ABAC-2CC9-43D2-B356-F36799891C85}" dt="2023-03-29T10:03:28.921" v="5916" actId="478"/>
          <ac:spMkLst>
            <pc:docMk/>
            <pc:sldMk cId="1744929614" sldId="2147374881"/>
            <ac:spMk id="64" creationId="{87AE6892-4990-2707-1AA1-0C6BADD7AFB4}"/>
          </ac:spMkLst>
        </pc:spChg>
        <pc:spChg chg="del">
          <ac:chgData name="Paul LEGEARD" userId="73b5704d-da1d-4b70-8e12-6d54d32b01a3" providerId="ADAL" clId="{7E21ABAC-2CC9-43D2-B356-F36799891C85}" dt="2023-03-29T10:03:28.921" v="5916" actId="478"/>
          <ac:spMkLst>
            <pc:docMk/>
            <pc:sldMk cId="1744929614" sldId="2147374881"/>
            <ac:spMk id="65" creationId="{FA2AC4DA-E236-5805-D1DC-F28274BAC1EB}"/>
          </ac:spMkLst>
        </pc:spChg>
        <pc:spChg chg="del">
          <ac:chgData name="Paul LEGEARD" userId="73b5704d-da1d-4b70-8e12-6d54d32b01a3" providerId="ADAL" clId="{7E21ABAC-2CC9-43D2-B356-F36799891C85}" dt="2023-03-29T10:03:28.921" v="5916" actId="478"/>
          <ac:spMkLst>
            <pc:docMk/>
            <pc:sldMk cId="1744929614" sldId="2147374881"/>
            <ac:spMk id="66" creationId="{63CBC255-3AB4-FE5B-0763-B5A0A250691E}"/>
          </ac:spMkLst>
        </pc:spChg>
        <pc:spChg chg="mod">
          <ac:chgData name="Paul LEGEARD" userId="73b5704d-da1d-4b70-8e12-6d54d32b01a3" providerId="ADAL" clId="{7E21ABAC-2CC9-43D2-B356-F36799891C85}" dt="2023-03-29T10:03:24.356" v="5915" actId="115"/>
          <ac:spMkLst>
            <pc:docMk/>
            <pc:sldMk cId="1744929614" sldId="2147374881"/>
            <ac:spMk id="79" creationId="{9007893F-DE3F-4277-8B72-135CF4773651}"/>
          </ac:spMkLst>
        </pc:spChg>
        <pc:graphicFrameChg chg="del">
          <ac:chgData name="Paul LEGEARD" userId="73b5704d-da1d-4b70-8e12-6d54d32b01a3" providerId="ADAL" clId="{7E21ABAC-2CC9-43D2-B356-F36799891C85}" dt="2023-03-29T10:03:28.921" v="5916" actId="478"/>
          <ac:graphicFrameMkLst>
            <pc:docMk/>
            <pc:sldMk cId="1744929614" sldId="2147374881"/>
            <ac:graphicFrameMk id="4" creationId="{7EA234E7-3F8E-4641-FB26-3504C59767A9}"/>
          </ac:graphicFrameMkLst>
        </pc:graphicFrameChg>
        <pc:graphicFrameChg chg="del">
          <ac:chgData name="Paul LEGEARD" userId="73b5704d-da1d-4b70-8e12-6d54d32b01a3" providerId="ADAL" clId="{7E21ABAC-2CC9-43D2-B356-F36799891C85}" dt="2023-03-29T10:03:28.921" v="5916" actId="478"/>
          <ac:graphicFrameMkLst>
            <pc:docMk/>
            <pc:sldMk cId="1744929614" sldId="2147374881"/>
            <ac:graphicFrameMk id="6" creationId="{A07424FC-D399-B361-0E68-57F5D0C350CC}"/>
          </ac:graphicFrameMkLst>
        </pc:graphicFrameChg>
      </pc:sldChg>
      <pc:sldChg chg="add del">
        <pc:chgData name="Paul LEGEARD" userId="73b5704d-da1d-4b70-8e12-6d54d32b01a3" providerId="ADAL" clId="{7E21ABAC-2CC9-43D2-B356-F36799891C85}" dt="2023-03-29T08:29:24.734" v="2413"/>
        <pc:sldMkLst>
          <pc:docMk/>
          <pc:sldMk cId="1914438477" sldId="2147374881"/>
        </pc:sldMkLst>
      </pc:sldChg>
      <pc:sldChg chg="modSp add mod">
        <pc:chgData name="Paul LEGEARD" userId="73b5704d-da1d-4b70-8e12-6d54d32b01a3" providerId="ADAL" clId="{7E21ABAC-2CC9-43D2-B356-F36799891C85}" dt="2023-03-29T09:33:00.360" v="4622" actId="20577"/>
        <pc:sldMkLst>
          <pc:docMk/>
          <pc:sldMk cId="4061637623" sldId="2147374882"/>
        </pc:sldMkLst>
        <pc:spChg chg="mod">
          <ac:chgData name="Paul LEGEARD" userId="73b5704d-da1d-4b70-8e12-6d54d32b01a3" providerId="ADAL" clId="{7E21ABAC-2CC9-43D2-B356-F36799891C85}" dt="2023-03-29T09:33:00.360" v="4622" actId="20577"/>
          <ac:spMkLst>
            <pc:docMk/>
            <pc:sldMk cId="4061637623" sldId="2147374882"/>
            <ac:spMk id="5" creationId="{62EC2C63-67F0-42BF-BBD4-DB9781BF0F7F}"/>
          </ac:spMkLst>
        </pc:spChg>
      </pc:sldChg>
      <pc:sldChg chg="add">
        <pc:chgData name="Paul LEGEARD" userId="73b5704d-da1d-4b70-8e12-6d54d32b01a3" providerId="ADAL" clId="{7E21ABAC-2CC9-43D2-B356-F36799891C85}" dt="2023-03-29T10:12:53.658" v="5966"/>
        <pc:sldMkLst>
          <pc:docMk/>
          <pc:sldMk cId="4183145649" sldId="2147469783"/>
        </pc:sldMkLst>
      </pc:sldChg>
      <pc:sldChg chg="add">
        <pc:chgData name="Paul LEGEARD" userId="73b5704d-da1d-4b70-8e12-6d54d32b01a3" providerId="ADAL" clId="{7E21ABAC-2CC9-43D2-B356-F36799891C85}" dt="2023-03-29T10:12:53.658" v="5966"/>
        <pc:sldMkLst>
          <pc:docMk/>
          <pc:sldMk cId="296493774" sldId="2147469789"/>
        </pc:sldMkLst>
      </pc:sldChg>
      <pc:sldChg chg="addSp delSp modSp add mod">
        <pc:chgData name="Paul LEGEARD" userId="73b5704d-da1d-4b70-8e12-6d54d32b01a3" providerId="ADAL" clId="{7E21ABAC-2CC9-43D2-B356-F36799891C85}" dt="2023-04-04T07:42:45.180" v="9211" actId="20577"/>
        <pc:sldMkLst>
          <pc:docMk/>
          <pc:sldMk cId="4287792751" sldId="2147469790"/>
        </pc:sldMkLst>
        <pc:spChg chg="mod topLvl">
          <ac:chgData name="Paul LEGEARD" userId="73b5704d-da1d-4b70-8e12-6d54d32b01a3" providerId="ADAL" clId="{7E21ABAC-2CC9-43D2-B356-F36799891C85}" dt="2023-03-29T13:26:29.956" v="7770" actId="478"/>
          <ac:spMkLst>
            <pc:docMk/>
            <pc:sldMk cId="4287792751" sldId="2147469790"/>
            <ac:spMk id="7" creationId="{59BCFFF0-477D-4D31-924D-84A55F1BEDEE}"/>
          </ac:spMkLst>
        </pc:spChg>
        <pc:spChg chg="add del mod">
          <ac:chgData name="Paul LEGEARD" userId="73b5704d-da1d-4b70-8e12-6d54d32b01a3" providerId="ADAL" clId="{7E21ABAC-2CC9-43D2-B356-F36799891C85}" dt="2023-03-29T13:02:44.681" v="7037" actId="478"/>
          <ac:spMkLst>
            <pc:docMk/>
            <pc:sldMk cId="4287792751" sldId="2147469790"/>
            <ac:spMk id="10" creationId="{099D9734-A16E-CDCF-57B5-2505B4366E40}"/>
          </ac:spMkLst>
        </pc:spChg>
        <pc:spChg chg="add del mod">
          <ac:chgData name="Paul LEGEARD" userId="73b5704d-da1d-4b70-8e12-6d54d32b01a3" providerId="ADAL" clId="{7E21ABAC-2CC9-43D2-B356-F36799891C85}" dt="2023-03-29T13:02:42.955" v="7036" actId="478"/>
          <ac:spMkLst>
            <pc:docMk/>
            <pc:sldMk cId="4287792751" sldId="2147469790"/>
            <ac:spMk id="11" creationId="{C6F6796B-56BC-B824-9A77-96F55E4C1C6D}"/>
          </ac:spMkLst>
        </pc:spChg>
        <pc:spChg chg="add del mod">
          <ac:chgData name="Paul LEGEARD" userId="73b5704d-da1d-4b70-8e12-6d54d32b01a3" providerId="ADAL" clId="{7E21ABAC-2CC9-43D2-B356-F36799891C85}" dt="2023-03-29T12:59:43.108" v="6949" actId="478"/>
          <ac:spMkLst>
            <pc:docMk/>
            <pc:sldMk cId="4287792751" sldId="2147469790"/>
            <ac:spMk id="15" creationId="{567659D9-508A-BA1C-5D78-6490F1C08A3C}"/>
          </ac:spMkLst>
        </pc:spChg>
        <pc:spChg chg="del mod topLvl">
          <ac:chgData name="Paul LEGEARD" userId="73b5704d-da1d-4b70-8e12-6d54d32b01a3" providerId="ADAL" clId="{7E21ABAC-2CC9-43D2-B356-F36799891C85}" dt="2023-03-29T13:26:29.956" v="7770" actId="478"/>
          <ac:spMkLst>
            <pc:docMk/>
            <pc:sldMk cId="4287792751" sldId="2147469790"/>
            <ac:spMk id="17" creationId="{A6E0DE38-32CC-89FF-A1B7-84117D4825E0}"/>
          </ac:spMkLst>
        </pc:spChg>
        <pc:spChg chg="mod topLvl">
          <ac:chgData name="Paul LEGEARD" userId="73b5704d-da1d-4b70-8e12-6d54d32b01a3" providerId="ADAL" clId="{7E21ABAC-2CC9-43D2-B356-F36799891C85}" dt="2023-03-29T13:26:36.582" v="7773" actId="478"/>
          <ac:spMkLst>
            <pc:docMk/>
            <pc:sldMk cId="4287792751" sldId="2147469790"/>
            <ac:spMk id="21" creationId="{B7FB3C49-F4EF-A186-D9B6-0105F09BF570}"/>
          </ac:spMkLst>
        </pc:spChg>
        <pc:spChg chg="del mod topLvl">
          <ac:chgData name="Paul LEGEARD" userId="73b5704d-da1d-4b70-8e12-6d54d32b01a3" providerId="ADAL" clId="{7E21ABAC-2CC9-43D2-B356-F36799891C85}" dt="2023-03-29T13:26:36.582" v="7773" actId="478"/>
          <ac:spMkLst>
            <pc:docMk/>
            <pc:sldMk cId="4287792751" sldId="2147469790"/>
            <ac:spMk id="22" creationId="{A117FC4D-8BD5-42EA-B7A0-DECA181A541B}"/>
          </ac:spMkLst>
        </pc:spChg>
        <pc:spChg chg="add mod">
          <ac:chgData name="Paul LEGEARD" userId="73b5704d-da1d-4b70-8e12-6d54d32b01a3" providerId="ADAL" clId="{7E21ABAC-2CC9-43D2-B356-F36799891C85}" dt="2023-04-04T07:42:20.940" v="9210" actId="20577"/>
          <ac:spMkLst>
            <pc:docMk/>
            <pc:sldMk cId="4287792751" sldId="2147469790"/>
            <ac:spMk id="23" creationId="{3F67A514-760F-6910-94A7-97D8B52AE756}"/>
          </ac:spMkLst>
        </pc:spChg>
        <pc:spChg chg="add mod">
          <ac:chgData name="Paul LEGEARD" userId="73b5704d-da1d-4b70-8e12-6d54d32b01a3" providerId="ADAL" clId="{7E21ABAC-2CC9-43D2-B356-F36799891C85}" dt="2023-03-29T13:04:18.511" v="7104" actId="12789"/>
          <ac:spMkLst>
            <pc:docMk/>
            <pc:sldMk cId="4287792751" sldId="2147469790"/>
            <ac:spMk id="24" creationId="{81B008B5-42A5-C127-E28F-7A6DC517764B}"/>
          </ac:spMkLst>
        </pc:spChg>
        <pc:spChg chg="mod">
          <ac:chgData name="Paul LEGEARD" userId="73b5704d-da1d-4b70-8e12-6d54d32b01a3" providerId="ADAL" clId="{7E21ABAC-2CC9-43D2-B356-F36799891C85}" dt="2023-03-29T12:57:35.948" v="6790" actId="1076"/>
          <ac:spMkLst>
            <pc:docMk/>
            <pc:sldMk cId="4287792751" sldId="2147469790"/>
            <ac:spMk id="28" creationId="{D8E426D0-DE4D-B987-6D7B-C15BFD0FC5EB}"/>
          </ac:spMkLst>
        </pc:spChg>
        <pc:spChg chg="mod">
          <ac:chgData name="Paul LEGEARD" userId="73b5704d-da1d-4b70-8e12-6d54d32b01a3" providerId="ADAL" clId="{7E21ABAC-2CC9-43D2-B356-F36799891C85}" dt="2023-03-29T12:57:35.948" v="6790" actId="1076"/>
          <ac:spMkLst>
            <pc:docMk/>
            <pc:sldMk cId="4287792751" sldId="2147469790"/>
            <ac:spMk id="29" creationId="{3B99D6E7-835B-073A-E26D-EEC75CB77299}"/>
          </ac:spMkLst>
        </pc:spChg>
        <pc:spChg chg="mod">
          <ac:chgData name="Paul LEGEARD" userId="73b5704d-da1d-4b70-8e12-6d54d32b01a3" providerId="ADAL" clId="{7E21ABAC-2CC9-43D2-B356-F36799891C85}" dt="2023-03-29T13:04:18.511" v="7104" actId="12789"/>
          <ac:spMkLst>
            <pc:docMk/>
            <pc:sldMk cId="4287792751" sldId="2147469790"/>
            <ac:spMk id="32" creationId="{680030A3-9EFB-85AF-222E-5DBECB501D6B}"/>
          </ac:spMkLst>
        </pc:spChg>
        <pc:spChg chg="mod">
          <ac:chgData name="Paul LEGEARD" userId="73b5704d-da1d-4b70-8e12-6d54d32b01a3" providerId="ADAL" clId="{7E21ABAC-2CC9-43D2-B356-F36799891C85}" dt="2023-03-29T13:04:18.511" v="7104" actId="12789"/>
          <ac:spMkLst>
            <pc:docMk/>
            <pc:sldMk cId="4287792751" sldId="2147469790"/>
            <ac:spMk id="33" creationId="{6AEAFA6E-5B28-8C3C-6385-4C0A5D3DB47C}"/>
          </ac:spMkLst>
        </pc:spChg>
        <pc:spChg chg="mod">
          <ac:chgData name="Paul LEGEARD" userId="73b5704d-da1d-4b70-8e12-6d54d32b01a3" providerId="ADAL" clId="{7E21ABAC-2CC9-43D2-B356-F36799891C85}" dt="2023-03-29T13:04:18.511" v="7104" actId="12789"/>
          <ac:spMkLst>
            <pc:docMk/>
            <pc:sldMk cId="4287792751" sldId="2147469790"/>
            <ac:spMk id="34" creationId="{2AF9DDBB-CF5D-715B-5E00-9573B5DC12EF}"/>
          </ac:spMkLst>
        </pc:spChg>
        <pc:spChg chg="mod">
          <ac:chgData name="Paul LEGEARD" userId="73b5704d-da1d-4b70-8e12-6d54d32b01a3" providerId="ADAL" clId="{7E21ABAC-2CC9-43D2-B356-F36799891C85}" dt="2023-03-29T13:04:18.511" v="7104" actId="12789"/>
          <ac:spMkLst>
            <pc:docMk/>
            <pc:sldMk cId="4287792751" sldId="2147469790"/>
            <ac:spMk id="35" creationId="{8F3182B5-53D2-1A66-A174-919E9EC5F240}"/>
          </ac:spMkLst>
        </pc:spChg>
        <pc:spChg chg="mod">
          <ac:chgData name="Paul LEGEARD" userId="73b5704d-da1d-4b70-8e12-6d54d32b01a3" providerId="ADAL" clId="{7E21ABAC-2CC9-43D2-B356-F36799891C85}" dt="2023-03-29T13:04:18.511" v="7104" actId="12789"/>
          <ac:spMkLst>
            <pc:docMk/>
            <pc:sldMk cId="4287792751" sldId="2147469790"/>
            <ac:spMk id="36" creationId="{89B5529F-7FC0-446D-4C54-4C24432F1D59}"/>
          </ac:spMkLst>
        </pc:spChg>
        <pc:spChg chg="mod">
          <ac:chgData name="Paul LEGEARD" userId="73b5704d-da1d-4b70-8e12-6d54d32b01a3" providerId="ADAL" clId="{7E21ABAC-2CC9-43D2-B356-F36799891C85}" dt="2023-03-29T13:04:18.511" v="7104" actId="12789"/>
          <ac:spMkLst>
            <pc:docMk/>
            <pc:sldMk cId="4287792751" sldId="2147469790"/>
            <ac:spMk id="39" creationId="{BD32FA95-F41A-930C-A7CA-FC1EF3E4590D}"/>
          </ac:spMkLst>
        </pc:spChg>
        <pc:spChg chg="mod">
          <ac:chgData name="Paul LEGEARD" userId="73b5704d-da1d-4b70-8e12-6d54d32b01a3" providerId="ADAL" clId="{7E21ABAC-2CC9-43D2-B356-F36799891C85}" dt="2023-03-29T13:04:18.511" v="7104" actId="12789"/>
          <ac:spMkLst>
            <pc:docMk/>
            <pc:sldMk cId="4287792751" sldId="2147469790"/>
            <ac:spMk id="40" creationId="{A2C9DD07-FEE4-3095-4EB7-36A505EC250A}"/>
          </ac:spMkLst>
        </pc:spChg>
        <pc:spChg chg="mod">
          <ac:chgData name="Paul LEGEARD" userId="73b5704d-da1d-4b70-8e12-6d54d32b01a3" providerId="ADAL" clId="{7E21ABAC-2CC9-43D2-B356-F36799891C85}" dt="2023-03-29T13:04:18.511" v="7104" actId="12789"/>
          <ac:spMkLst>
            <pc:docMk/>
            <pc:sldMk cId="4287792751" sldId="2147469790"/>
            <ac:spMk id="41" creationId="{E408563F-9568-75C9-3298-5DD30022B5B2}"/>
          </ac:spMkLst>
        </pc:spChg>
        <pc:spChg chg="mod">
          <ac:chgData name="Paul LEGEARD" userId="73b5704d-da1d-4b70-8e12-6d54d32b01a3" providerId="ADAL" clId="{7E21ABAC-2CC9-43D2-B356-F36799891C85}" dt="2023-03-29T13:04:18.511" v="7104" actId="12789"/>
          <ac:spMkLst>
            <pc:docMk/>
            <pc:sldMk cId="4287792751" sldId="2147469790"/>
            <ac:spMk id="42" creationId="{D317708A-69CF-9814-DAA9-8E2A3A9E6012}"/>
          </ac:spMkLst>
        </pc:spChg>
        <pc:spChg chg="mod">
          <ac:chgData name="Paul LEGEARD" userId="73b5704d-da1d-4b70-8e12-6d54d32b01a3" providerId="ADAL" clId="{7E21ABAC-2CC9-43D2-B356-F36799891C85}" dt="2023-03-29T13:04:18.511" v="7104" actId="12789"/>
          <ac:spMkLst>
            <pc:docMk/>
            <pc:sldMk cId="4287792751" sldId="2147469790"/>
            <ac:spMk id="43" creationId="{FAFC2CA6-14EE-0A6C-E90D-EF0745FD40BD}"/>
          </ac:spMkLst>
        </pc:spChg>
        <pc:spChg chg="mod">
          <ac:chgData name="Paul LEGEARD" userId="73b5704d-da1d-4b70-8e12-6d54d32b01a3" providerId="ADAL" clId="{7E21ABAC-2CC9-43D2-B356-F36799891C85}" dt="2023-03-29T13:04:18.511" v="7104" actId="12789"/>
          <ac:spMkLst>
            <pc:docMk/>
            <pc:sldMk cId="4287792751" sldId="2147469790"/>
            <ac:spMk id="44" creationId="{3E8B2033-843F-992A-24DF-C7371E159242}"/>
          </ac:spMkLst>
        </pc:spChg>
        <pc:spChg chg="mod">
          <ac:chgData name="Paul LEGEARD" userId="73b5704d-da1d-4b70-8e12-6d54d32b01a3" providerId="ADAL" clId="{7E21ABAC-2CC9-43D2-B356-F36799891C85}" dt="2023-03-29T13:04:18.511" v="7104" actId="12789"/>
          <ac:spMkLst>
            <pc:docMk/>
            <pc:sldMk cId="4287792751" sldId="2147469790"/>
            <ac:spMk id="45" creationId="{04EB8AC4-F263-42F8-9A8F-F8ADF77E9CEB}"/>
          </ac:spMkLst>
        </pc:spChg>
        <pc:spChg chg="add mod">
          <ac:chgData name="Paul LEGEARD" userId="73b5704d-da1d-4b70-8e12-6d54d32b01a3" providerId="ADAL" clId="{7E21ABAC-2CC9-43D2-B356-F36799891C85}" dt="2023-03-29T13:18:01.957" v="7463" actId="14100"/>
          <ac:spMkLst>
            <pc:docMk/>
            <pc:sldMk cId="4287792751" sldId="2147469790"/>
            <ac:spMk id="46" creationId="{2BAEE255-8E03-5F93-C153-0D9E8FBCB96C}"/>
          </ac:spMkLst>
        </pc:spChg>
        <pc:spChg chg="add del mod">
          <ac:chgData name="Paul LEGEARD" userId="73b5704d-da1d-4b70-8e12-6d54d32b01a3" providerId="ADAL" clId="{7E21ABAC-2CC9-43D2-B356-F36799891C85}" dt="2023-03-29T13:01:58.934" v="7025" actId="478"/>
          <ac:spMkLst>
            <pc:docMk/>
            <pc:sldMk cId="4287792751" sldId="2147469790"/>
            <ac:spMk id="48" creationId="{A24E5810-C212-B7BF-0285-EEA2B78758EB}"/>
          </ac:spMkLst>
        </pc:spChg>
        <pc:spChg chg="add del mod">
          <ac:chgData name="Paul LEGEARD" userId="73b5704d-da1d-4b70-8e12-6d54d32b01a3" providerId="ADAL" clId="{7E21ABAC-2CC9-43D2-B356-F36799891C85}" dt="2023-03-29T13:04:01.917" v="7101" actId="478"/>
          <ac:spMkLst>
            <pc:docMk/>
            <pc:sldMk cId="4287792751" sldId="2147469790"/>
            <ac:spMk id="49" creationId="{C069C951-7DB2-5A03-B648-5DCBCB6E7793}"/>
          </ac:spMkLst>
        </pc:spChg>
        <pc:spChg chg="add del mod">
          <ac:chgData name="Paul LEGEARD" userId="73b5704d-da1d-4b70-8e12-6d54d32b01a3" providerId="ADAL" clId="{7E21ABAC-2CC9-43D2-B356-F36799891C85}" dt="2023-03-29T13:04:01.917" v="7101" actId="478"/>
          <ac:spMkLst>
            <pc:docMk/>
            <pc:sldMk cId="4287792751" sldId="2147469790"/>
            <ac:spMk id="50" creationId="{EFA18C88-EBF4-DD2D-5341-922D41092DC7}"/>
          </ac:spMkLst>
        </pc:spChg>
        <pc:spChg chg="mod">
          <ac:chgData name="Paul LEGEARD" userId="73b5704d-da1d-4b70-8e12-6d54d32b01a3" providerId="ADAL" clId="{7E21ABAC-2CC9-43D2-B356-F36799891C85}" dt="2023-03-29T13:03:19.106" v="7047"/>
          <ac:spMkLst>
            <pc:docMk/>
            <pc:sldMk cId="4287792751" sldId="2147469790"/>
            <ac:spMk id="55" creationId="{5BA38C57-810B-EC34-4E33-7819A986A8AE}"/>
          </ac:spMkLst>
        </pc:spChg>
        <pc:spChg chg="mod">
          <ac:chgData name="Paul LEGEARD" userId="73b5704d-da1d-4b70-8e12-6d54d32b01a3" providerId="ADAL" clId="{7E21ABAC-2CC9-43D2-B356-F36799891C85}" dt="2023-03-29T13:03:19.106" v="7047"/>
          <ac:spMkLst>
            <pc:docMk/>
            <pc:sldMk cId="4287792751" sldId="2147469790"/>
            <ac:spMk id="56" creationId="{4CE245B9-4A5E-F547-5AA1-58C618995133}"/>
          </ac:spMkLst>
        </pc:spChg>
        <pc:spChg chg="mod">
          <ac:chgData name="Paul LEGEARD" userId="73b5704d-da1d-4b70-8e12-6d54d32b01a3" providerId="ADAL" clId="{7E21ABAC-2CC9-43D2-B356-F36799891C85}" dt="2023-03-29T13:03:19.106" v="7047"/>
          <ac:spMkLst>
            <pc:docMk/>
            <pc:sldMk cId="4287792751" sldId="2147469790"/>
            <ac:spMk id="57" creationId="{A29B44FC-002A-FA92-CA07-D5636E305F8F}"/>
          </ac:spMkLst>
        </pc:spChg>
        <pc:spChg chg="mod">
          <ac:chgData name="Paul LEGEARD" userId="73b5704d-da1d-4b70-8e12-6d54d32b01a3" providerId="ADAL" clId="{7E21ABAC-2CC9-43D2-B356-F36799891C85}" dt="2023-03-29T13:03:19.106" v="7047"/>
          <ac:spMkLst>
            <pc:docMk/>
            <pc:sldMk cId="4287792751" sldId="2147469790"/>
            <ac:spMk id="58" creationId="{B5C6D869-F512-0A9A-BC9C-4A64A048EC8B}"/>
          </ac:spMkLst>
        </pc:spChg>
        <pc:spChg chg="mod">
          <ac:chgData name="Paul LEGEARD" userId="73b5704d-da1d-4b70-8e12-6d54d32b01a3" providerId="ADAL" clId="{7E21ABAC-2CC9-43D2-B356-F36799891C85}" dt="2023-03-29T13:03:19.106" v="7047"/>
          <ac:spMkLst>
            <pc:docMk/>
            <pc:sldMk cId="4287792751" sldId="2147469790"/>
            <ac:spMk id="59" creationId="{9FA977E5-E341-FBB1-029B-6555B61EF674}"/>
          </ac:spMkLst>
        </pc:spChg>
        <pc:spChg chg="mod">
          <ac:chgData name="Paul LEGEARD" userId="73b5704d-da1d-4b70-8e12-6d54d32b01a3" providerId="ADAL" clId="{7E21ABAC-2CC9-43D2-B356-F36799891C85}" dt="2023-03-29T13:03:19.106" v="7047"/>
          <ac:spMkLst>
            <pc:docMk/>
            <pc:sldMk cId="4287792751" sldId="2147469790"/>
            <ac:spMk id="60" creationId="{FB66992F-27C0-EE22-459C-09B0297DAB2A}"/>
          </ac:spMkLst>
        </pc:spChg>
        <pc:spChg chg="mod">
          <ac:chgData name="Paul LEGEARD" userId="73b5704d-da1d-4b70-8e12-6d54d32b01a3" providerId="ADAL" clId="{7E21ABAC-2CC9-43D2-B356-F36799891C85}" dt="2023-03-29T13:03:19.106" v="7047"/>
          <ac:spMkLst>
            <pc:docMk/>
            <pc:sldMk cId="4287792751" sldId="2147469790"/>
            <ac:spMk id="61" creationId="{4CB6E7AF-6606-C87C-C8EF-EFC376C4AB30}"/>
          </ac:spMkLst>
        </pc:spChg>
        <pc:spChg chg="mod">
          <ac:chgData name="Paul LEGEARD" userId="73b5704d-da1d-4b70-8e12-6d54d32b01a3" providerId="ADAL" clId="{7E21ABAC-2CC9-43D2-B356-F36799891C85}" dt="2023-03-29T13:03:19.106" v="7047"/>
          <ac:spMkLst>
            <pc:docMk/>
            <pc:sldMk cId="4287792751" sldId="2147469790"/>
            <ac:spMk id="62" creationId="{115B52DE-0D22-BA47-C6FB-683E7E42FADB}"/>
          </ac:spMkLst>
        </pc:spChg>
        <pc:spChg chg="mod">
          <ac:chgData name="Paul LEGEARD" userId="73b5704d-da1d-4b70-8e12-6d54d32b01a3" providerId="ADAL" clId="{7E21ABAC-2CC9-43D2-B356-F36799891C85}" dt="2023-03-29T13:03:19.106" v="7047"/>
          <ac:spMkLst>
            <pc:docMk/>
            <pc:sldMk cId="4287792751" sldId="2147469790"/>
            <ac:spMk id="63" creationId="{C534ADA2-985F-B5FD-FEFD-19A9DB7A6246}"/>
          </ac:spMkLst>
        </pc:spChg>
        <pc:spChg chg="mod">
          <ac:chgData name="Paul LEGEARD" userId="73b5704d-da1d-4b70-8e12-6d54d32b01a3" providerId="ADAL" clId="{7E21ABAC-2CC9-43D2-B356-F36799891C85}" dt="2023-03-29T13:03:19.106" v="7047"/>
          <ac:spMkLst>
            <pc:docMk/>
            <pc:sldMk cId="4287792751" sldId="2147469790"/>
            <ac:spMk id="64" creationId="{8590DB4A-21A6-9A09-0B4F-4495360D1128}"/>
          </ac:spMkLst>
        </pc:spChg>
        <pc:spChg chg="mod">
          <ac:chgData name="Paul LEGEARD" userId="73b5704d-da1d-4b70-8e12-6d54d32b01a3" providerId="ADAL" clId="{7E21ABAC-2CC9-43D2-B356-F36799891C85}" dt="2023-03-29T13:03:19.106" v="7047"/>
          <ac:spMkLst>
            <pc:docMk/>
            <pc:sldMk cId="4287792751" sldId="2147469790"/>
            <ac:spMk id="65" creationId="{298DD5A1-402E-B89D-04E7-0CD7973A0FA2}"/>
          </ac:spMkLst>
        </pc:spChg>
        <pc:spChg chg="mod">
          <ac:chgData name="Paul LEGEARD" userId="73b5704d-da1d-4b70-8e12-6d54d32b01a3" providerId="ADAL" clId="{7E21ABAC-2CC9-43D2-B356-F36799891C85}" dt="2023-03-29T13:03:19.106" v="7047"/>
          <ac:spMkLst>
            <pc:docMk/>
            <pc:sldMk cId="4287792751" sldId="2147469790"/>
            <ac:spMk id="66" creationId="{CCBD6D83-2114-C1D7-4ECC-01C889435C27}"/>
          </ac:spMkLst>
        </pc:spChg>
        <pc:spChg chg="mod">
          <ac:chgData name="Paul LEGEARD" userId="73b5704d-da1d-4b70-8e12-6d54d32b01a3" providerId="ADAL" clId="{7E21ABAC-2CC9-43D2-B356-F36799891C85}" dt="2023-03-29T13:03:19.106" v="7047"/>
          <ac:spMkLst>
            <pc:docMk/>
            <pc:sldMk cId="4287792751" sldId="2147469790"/>
            <ac:spMk id="67" creationId="{0E7F3F0B-B620-7055-037F-0D336C16DE10}"/>
          </ac:spMkLst>
        </pc:spChg>
        <pc:spChg chg="mod">
          <ac:chgData name="Paul LEGEARD" userId="73b5704d-da1d-4b70-8e12-6d54d32b01a3" providerId="ADAL" clId="{7E21ABAC-2CC9-43D2-B356-F36799891C85}" dt="2023-03-29T13:03:19.106" v="7047"/>
          <ac:spMkLst>
            <pc:docMk/>
            <pc:sldMk cId="4287792751" sldId="2147469790"/>
            <ac:spMk id="68" creationId="{D4ABFEAE-8150-36A3-ED35-3A48ADF22FC3}"/>
          </ac:spMkLst>
        </pc:spChg>
        <pc:spChg chg="mod">
          <ac:chgData name="Paul LEGEARD" userId="73b5704d-da1d-4b70-8e12-6d54d32b01a3" providerId="ADAL" clId="{7E21ABAC-2CC9-43D2-B356-F36799891C85}" dt="2023-03-29T13:03:19.106" v="7047"/>
          <ac:spMkLst>
            <pc:docMk/>
            <pc:sldMk cId="4287792751" sldId="2147469790"/>
            <ac:spMk id="69" creationId="{C4F226BC-9220-E15C-6F85-681C8827F6FE}"/>
          </ac:spMkLst>
        </pc:spChg>
        <pc:spChg chg="mod">
          <ac:chgData name="Paul LEGEARD" userId="73b5704d-da1d-4b70-8e12-6d54d32b01a3" providerId="ADAL" clId="{7E21ABAC-2CC9-43D2-B356-F36799891C85}" dt="2023-03-29T13:03:19.106" v="7047"/>
          <ac:spMkLst>
            <pc:docMk/>
            <pc:sldMk cId="4287792751" sldId="2147469790"/>
            <ac:spMk id="70" creationId="{C8267929-6416-04FF-032D-AA5831372357}"/>
          </ac:spMkLst>
        </pc:spChg>
        <pc:spChg chg="mod">
          <ac:chgData name="Paul LEGEARD" userId="73b5704d-da1d-4b70-8e12-6d54d32b01a3" providerId="ADAL" clId="{7E21ABAC-2CC9-43D2-B356-F36799891C85}" dt="2023-03-29T13:03:19.106" v="7047"/>
          <ac:spMkLst>
            <pc:docMk/>
            <pc:sldMk cId="4287792751" sldId="2147469790"/>
            <ac:spMk id="71" creationId="{0C4D1F1D-9080-E8E2-DE44-24C71E31DACE}"/>
          </ac:spMkLst>
        </pc:spChg>
        <pc:spChg chg="mod">
          <ac:chgData name="Paul LEGEARD" userId="73b5704d-da1d-4b70-8e12-6d54d32b01a3" providerId="ADAL" clId="{7E21ABAC-2CC9-43D2-B356-F36799891C85}" dt="2023-03-29T13:03:19.106" v="7047"/>
          <ac:spMkLst>
            <pc:docMk/>
            <pc:sldMk cId="4287792751" sldId="2147469790"/>
            <ac:spMk id="72" creationId="{3266A03D-DE77-CA33-079A-BE126ED39922}"/>
          </ac:spMkLst>
        </pc:spChg>
        <pc:spChg chg="mod">
          <ac:chgData name="Paul LEGEARD" userId="73b5704d-da1d-4b70-8e12-6d54d32b01a3" providerId="ADAL" clId="{7E21ABAC-2CC9-43D2-B356-F36799891C85}" dt="2023-03-29T13:03:19.106" v="7047"/>
          <ac:spMkLst>
            <pc:docMk/>
            <pc:sldMk cId="4287792751" sldId="2147469790"/>
            <ac:spMk id="73" creationId="{598B4F6C-137D-2105-BE1D-A62D5A24E8DC}"/>
          </ac:spMkLst>
        </pc:spChg>
        <pc:spChg chg="mod">
          <ac:chgData name="Paul LEGEARD" userId="73b5704d-da1d-4b70-8e12-6d54d32b01a3" providerId="ADAL" clId="{7E21ABAC-2CC9-43D2-B356-F36799891C85}" dt="2023-03-29T13:03:19.106" v="7047"/>
          <ac:spMkLst>
            <pc:docMk/>
            <pc:sldMk cId="4287792751" sldId="2147469790"/>
            <ac:spMk id="74" creationId="{66FEBAFE-B711-D634-435F-443C99DE3D0A}"/>
          </ac:spMkLst>
        </pc:spChg>
        <pc:spChg chg="mod">
          <ac:chgData name="Paul LEGEARD" userId="73b5704d-da1d-4b70-8e12-6d54d32b01a3" providerId="ADAL" clId="{7E21ABAC-2CC9-43D2-B356-F36799891C85}" dt="2023-03-29T13:03:19.106" v="7047"/>
          <ac:spMkLst>
            <pc:docMk/>
            <pc:sldMk cId="4287792751" sldId="2147469790"/>
            <ac:spMk id="75" creationId="{A30A0313-25FD-828F-EC40-6EE6C1172951}"/>
          </ac:spMkLst>
        </pc:spChg>
        <pc:spChg chg="mod">
          <ac:chgData name="Paul LEGEARD" userId="73b5704d-da1d-4b70-8e12-6d54d32b01a3" providerId="ADAL" clId="{7E21ABAC-2CC9-43D2-B356-F36799891C85}" dt="2023-03-29T13:03:19.106" v="7047"/>
          <ac:spMkLst>
            <pc:docMk/>
            <pc:sldMk cId="4287792751" sldId="2147469790"/>
            <ac:spMk id="76" creationId="{A9536DBF-621F-CF55-F736-A0153851B536}"/>
          </ac:spMkLst>
        </pc:spChg>
        <pc:spChg chg="mod">
          <ac:chgData name="Paul LEGEARD" userId="73b5704d-da1d-4b70-8e12-6d54d32b01a3" providerId="ADAL" clId="{7E21ABAC-2CC9-43D2-B356-F36799891C85}" dt="2023-03-29T13:03:19.106" v="7047"/>
          <ac:spMkLst>
            <pc:docMk/>
            <pc:sldMk cId="4287792751" sldId="2147469790"/>
            <ac:spMk id="77" creationId="{7EA814C1-8B57-43E6-610B-C0EB63B5C68E}"/>
          </ac:spMkLst>
        </pc:spChg>
        <pc:spChg chg="mod">
          <ac:chgData name="Paul LEGEARD" userId="73b5704d-da1d-4b70-8e12-6d54d32b01a3" providerId="ADAL" clId="{7E21ABAC-2CC9-43D2-B356-F36799891C85}" dt="2023-03-29T13:03:19.106" v="7047"/>
          <ac:spMkLst>
            <pc:docMk/>
            <pc:sldMk cId="4287792751" sldId="2147469790"/>
            <ac:spMk id="78" creationId="{99E351E7-3E4F-4302-4227-D144687E19D6}"/>
          </ac:spMkLst>
        </pc:spChg>
        <pc:spChg chg="mod">
          <ac:chgData name="Paul LEGEARD" userId="73b5704d-da1d-4b70-8e12-6d54d32b01a3" providerId="ADAL" clId="{7E21ABAC-2CC9-43D2-B356-F36799891C85}" dt="2023-04-04T07:42:45.180" v="9211" actId="20577"/>
          <ac:spMkLst>
            <pc:docMk/>
            <pc:sldMk cId="4287792751" sldId="2147469790"/>
            <ac:spMk id="79" creationId="{9007893F-DE3F-4277-8B72-135CF4773651}"/>
          </ac:spMkLst>
        </pc:spChg>
        <pc:spChg chg="mod">
          <ac:chgData name="Paul LEGEARD" userId="73b5704d-da1d-4b70-8e12-6d54d32b01a3" providerId="ADAL" clId="{7E21ABAC-2CC9-43D2-B356-F36799891C85}" dt="2023-03-29T13:03:19.106" v="7047"/>
          <ac:spMkLst>
            <pc:docMk/>
            <pc:sldMk cId="4287792751" sldId="2147469790"/>
            <ac:spMk id="80" creationId="{5A676DC0-15F6-28E5-1D73-74062FC53005}"/>
          </ac:spMkLst>
        </pc:spChg>
        <pc:spChg chg="mod">
          <ac:chgData name="Paul LEGEARD" userId="73b5704d-da1d-4b70-8e12-6d54d32b01a3" providerId="ADAL" clId="{7E21ABAC-2CC9-43D2-B356-F36799891C85}" dt="2023-03-29T13:03:19.106" v="7047"/>
          <ac:spMkLst>
            <pc:docMk/>
            <pc:sldMk cId="4287792751" sldId="2147469790"/>
            <ac:spMk id="81" creationId="{39C3AD37-9176-715C-DE6D-DAA81F8D4806}"/>
          </ac:spMkLst>
        </pc:spChg>
        <pc:spChg chg="mod">
          <ac:chgData name="Paul LEGEARD" userId="73b5704d-da1d-4b70-8e12-6d54d32b01a3" providerId="ADAL" clId="{7E21ABAC-2CC9-43D2-B356-F36799891C85}" dt="2023-03-29T13:03:19.106" v="7047"/>
          <ac:spMkLst>
            <pc:docMk/>
            <pc:sldMk cId="4287792751" sldId="2147469790"/>
            <ac:spMk id="82" creationId="{86698BBF-CA8F-65CC-F660-79FBAD824EA3}"/>
          </ac:spMkLst>
        </pc:spChg>
        <pc:spChg chg="mod">
          <ac:chgData name="Paul LEGEARD" userId="73b5704d-da1d-4b70-8e12-6d54d32b01a3" providerId="ADAL" clId="{7E21ABAC-2CC9-43D2-B356-F36799891C85}" dt="2023-03-29T13:03:19.106" v="7047"/>
          <ac:spMkLst>
            <pc:docMk/>
            <pc:sldMk cId="4287792751" sldId="2147469790"/>
            <ac:spMk id="83" creationId="{73DFE4E8-BB11-6768-1D5A-9E56A249C8E3}"/>
          </ac:spMkLst>
        </pc:spChg>
        <pc:spChg chg="mod">
          <ac:chgData name="Paul LEGEARD" userId="73b5704d-da1d-4b70-8e12-6d54d32b01a3" providerId="ADAL" clId="{7E21ABAC-2CC9-43D2-B356-F36799891C85}" dt="2023-03-29T13:03:19.106" v="7047"/>
          <ac:spMkLst>
            <pc:docMk/>
            <pc:sldMk cId="4287792751" sldId="2147469790"/>
            <ac:spMk id="84" creationId="{E6AFCB9A-ED04-D44A-37F5-2EA5C7FF2C12}"/>
          </ac:spMkLst>
        </pc:spChg>
        <pc:spChg chg="mod">
          <ac:chgData name="Paul LEGEARD" userId="73b5704d-da1d-4b70-8e12-6d54d32b01a3" providerId="ADAL" clId="{7E21ABAC-2CC9-43D2-B356-F36799891C85}" dt="2023-03-29T13:03:19.106" v="7047"/>
          <ac:spMkLst>
            <pc:docMk/>
            <pc:sldMk cId="4287792751" sldId="2147469790"/>
            <ac:spMk id="85" creationId="{AC45CD42-9576-3970-0B38-AFDE48BF160E}"/>
          </ac:spMkLst>
        </pc:spChg>
        <pc:spChg chg="mod">
          <ac:chgData name="Paul LEGEARD" userId="73b5704d-da1d-4b70-8e12-6d54d32b01a3" providerId="ADAL" clId="{7E21ABAC-2CC9-43D2-B356-F36799891C85}" dt="2023-03-29T13:03:19.106" v="7047"/>
          <ac:spMkLst>
            <pc:docMk/>
            <pc:sldMk cId="4287792751" sldId="2147469790"/>
            <ac:spMk id="86" creationId="{789E6EC0-17F6-9DCA-730E-E173A5323E83}"/>
          </ac:spMkLst>
        </pc:spChg>
        <pc:spChg chg="mod">
          <ac:chgData name="Paul LEGEARD" userId="73b5704d-da1d-4b70-8e12-6d54d32b01a3" providerId="ADAL" clId="{7E21ABAC-2CC9-43D2-B356-F36799891C85}" dt="2023-03-29T13:03:19.106" v="7047"/>
          <ac:spMkLst>
            <pc:docMk/>
            <pc:sldMk cId="4287792751" sldId="2147469790"/>
            <ac:spMk id="87" creationId="{FA52C065-0CF5-DCBA-D829-D065EFF04A80}"/>
          </ac:spMkLst>
        </pc:spChg>
        <pc:spChg chg="mod">
          <ac:chgData name="Paul LEGEARD" userId="73b5704d-da1d-4b70-8e12-6d54d32b01a3" providerId="ADAL" clId="{7E21ABAC-2CC9-43D2-B356-F36799891C85}" dt="2023-03-29T13:03:19.106" v="7047"/>
          <ac:spMkLst>
            <pc:docMk/>
            <pc:sldMk cId="4287792751" sldId="2147469790"/>
            <ac:spMk id="88" creationId="{92719450-14D9-3B95-EE72-7484E55021BA}"/>
          </ac:spMkLst>
        </pc:spChg>
        <pc:spChg chg="mod">
          <ac:chgData name="Paul LEGEARD" userId="73b5704d-da1d-4b70-8e12-6d54d32b01a3" providerId="ADAL" clId="{7E21ABAC-2CC9-43D2-B356-F36799891C85}" dt="2023-03-29T13:03:19.106" v="7047"/>
          <ac:spMkLst>
            <pc:docMk/>
            <pc:sldMk cId="4287792751" sldId="2147469790"/>
            <ac:spMk id="89" creationId="{6DC6B559-5D9F-50F8-7375-050D78DE8DE5}"/>
          </ac:spMkLst>
        </pc:spChg>
        <pc:spChg chg="mod">
          <ac:chgData name="Paul LEGEARD" userId="73b5704d-da1d-4b70-8e12-6d54d32b01a3" providerId="ADAL" clId="{7E21ABAC-2CC9-43D2-B356-F36799891C85}" dt="2023-03-29T13:03:19.106" v="7047"/>
          <ac:spMkLst>
            <pc:docMk/>
            <pc:sldMk cId="4287792751" sldId="2147469790"/>
            <ac:spMk id="90" creationId="{EB83B197-8297-9928-0AF5-252A6D468ACE}"/>
          </ac:spMkLst>
        </pc:spChg>
        <pc:spChg chg="mod">
          <ac:chgData name="Paul LEGEARD" userId="73b5704d-da1d-4b70-8e12-6d54d32b01a3" providerId="ADAL" clId="{7E21ABAC-2CC9-43D2-B356-F36799891C85}" dt="2023-03-29T13:03:19.106" v="7047"/>
          <ac:spMkLst>
            <pc:docMk/>
            <pc:sldMk cId="4287792751" sldId="2147469790"/>
            <ac:spMk id="91" creationId="{AF427D42-C420-5317-5702-4D868119911B}"/>
          </ac:spMkLst>
        </pc:spChg>
        <pc:spChg chg="add del mod">
          <ac:chgData name="Paul LEGEARD" userId="73b5704d-da1d-4b70-8e12-6d54d32b01a3" providerId="ADAL" clId="{7E21ABAC-2CC9-43D2-B356-F36799891C85}" dt="2023-03-29T13:04:01.917" v="7101" actId="478"/>
          <ac:spMkLst>
            <pc:docMk/>
            <pc:sldMk cId="4287792751" sldId="2147469790"/>
            <ac:spMk id="93" creationId="{0446EC0A-0AF2-9C25-1977-3F32173690C7}"/>
          </ac:spMkLst>
        </pc:spChg>
        <pc:spChg chg="add del mod">
          <ac:chgData name="Paul LEGEARD" userId="73b5704d-da1d-4b70-8e12-6d54d32b01a3" providerId="ADAL" clId="{7E21ABAC-2CC9-43D2-B356-F36799891C85}" dt="2023-03-29T13:04:01.917" v="7101" actId="478"/>
          <ac:spMkLst>
            <pc:docMk/>
            <pc:sldMk cId="4287792751" sldId="2147469790"/>
            <ac:spMk id="95" creationId="{43A127A3-4C4F-E656-151A-2E6DE6FA6F06}"/>
          </ac:spMkLst>
        </pc:spChg>
        <pc:spChg chg="add del mod">
          <ac:chgData name="Paul LEGEARD" userId="73b5704d-da1d-4b70-8e12-6d54d32b01a3" providerId="ADAL" clId="{7E21ABAC-2CC9-43D2-B356-F36799891C85}" dt="2023-03-29T13:26:38.141" v="7775" actId="478"/>
          <ac:spMkLst>
            <pc:docMk/>
            <pc:sldMk cId="4287792751" sldId="2147469790"/>
            <ac:spMk id="98" creationId="{EDBB8A43-806A-D188-3FB5-712D55BDDAF7}"/>
          </ac:spMkLst>
        </pc:spChg>
        <pc:spChg chg="add del mod">
          <ac:chgData name="Paul LEGEARD" userId="73b5704d-da1d-4b70-8e12-6d54d32b01a3" providerId="ADAL" clId="{7E21ABAC-2CC9-43D2-B356-F36799891C85}" dt="2023-03-29T13:26:37.549" v="7774" actId="478"/>
          <ac:spMkLst>
            <pc:docMk/>
            <pc:sldMk cId="4287792751" sldId="2147469790"/>
            <ac:spMk id="99" creationId="{EFB33A73-49E7-821F-19CF-C31A2891EDCC}"/>
          </ac:spMkLst>
        </pc:spChg>
        <pc:spChg chg="add del mod">
          <ac:chgData name="Paul LEGEARD" userId="73b5704d-da1d-4b70-8e12-6d54d32b01a3" providerId="ADAL" clId="{7E21ABAC-2CC9-43D2-B356-F36799891C85}" dt="2023-03-29T13:26:27.202" v="7769" actId="478"/>
          <ac:spMkLst>
            <pc:docMk/>
            <pc:sldMk cId="4287792751" sldId="2147469790"/>
            <ac:spMk id="100" creationId="{5635630F-F775-1B73-9E6A-71289EFFD7EC}"/>
          </ac:spMkLst>
        </pc:spChg>
        <pc:grpChg chg="del mod">
          <ac:chgData name="Paul LEGEARD" userId="73b5704d-da1d-4b70-8e12-6d54d32b01a3" providerId="ADAL" clId="{7E21ABAC-2CC9-43D2-B356-F36799891C85}" dt="2023-03-29T13:26:29.956" v="7770" actId="478"/>
          <ac:grpSpMkLst>
            <pc:docMk/>
            <pc:sldMk cId="4287792751" sldId="2147469790"/>
            <ac:grpSpMk id="2" creationId="{C474635C-59D7-3AC9-BE3F-9D18DE083204}"/>
          </ac:grpSpMkLst>
        </pc:grpChg>
        <pc:grpChg chg="del mod">
          <ac:chgData name="Paul LEGEARD" userId="73b5704d-da1d-4b70-8e12-6d54d32b01a3" providerId="ADAL" clId="{7E21ABAC-2CC9-43D2-B356-F36799891C85}" dt="2023-03-29T13:26:36.582" v="7773" actId="478"/>
          <ac:grpSpMkLst>
            <pc:docMk/>
            <pc:sldMk cId="4287792751" sldId="2147469790"/>
            <ac:grpSpMk id="3" creationId="{9FC5ECC7-66B0-CC5C-1B40-3254CBB390AA}"/>
          </ac:grpSpMkLst>
        </pc:grpChg>
        <pc:grpChg chg="del">
          <ac:chgData name="Paul LEGEARD" userId="73b5704d-da1d-4b70-8e12-6d54d32b01a3" providerId="ADAL" clId="{7E21ABAC-2CC9-43D2-B356-F36799891C85}" dt="2023-03-29T12:57:03.838" v="6781" actId="478"/>
          <ac:grpSpMkLst>
            <pc:docMk/>
            <pc:sldMk cId="4287792751" sldId="2147469790"/>
            <ac:grpSpMk id="4" creationId="{217AD1FD-6A77-18A7-42FE-7C0E9899B555}"/>
          </ac:grpSpMkLst>
        </pc:grpChg>
        <pc:grpChg chg="del">
          <ac:chgData name="Paul LEGEARD" userId="73b5704d-da1d-4b70-8e12-6d54d32b01a3" providerId="ADAL" clId="{7E21ABAC-2CC9-43D2-B356-F36799891C85}" dt="2023-03-29T12:57:03.838" v="6781" actId="478"/>
          <ac:grpSpMkLst>
            <pc:docMk/>
            <pc:sldMk cId="4287792751" sldId="2147469790"/>
            <ac:grpSpMk id="8" creationId="{E4D946E0-5C3E-C709-1A92-C653CEAC6FDA}"/>
          </ac:grpSpMkLst>
        </pc:grpChg>
        <pc:grpChg chg="del">
          <ac:chgData name="Paul LEGEARD" userId="73b5704d-da1d-4b70-8e12-6d54d32b01a3" providerId="ADAL" clId="{7E21ABAC-2CC9-43D2-B356-F36799891C85}" dt="2023-03-29T12:57:03.838" v="6781" actId="478"/>
          <ac:grpSpMkLst>
            <pc:docMk/>
            <pc:sldMk cId="4287792751" sldId="2147469790"/>
            <ac:grpSpMk id="9" creationId="{491520EA-D0B0-5932-8735-CA04F20594F1}"/>
          </ac:grpSpMkLst>
        </pc:grpChg>
        <pc:grpChg chg="add del mod">
          <ac:chgData name="Paul LEGEARD" userId="73b5704d-da1d-4b70-8e12-6d54d32b01a3" providerId="ADAL" clId="{7E21ABAC-2CC9-43D2-B356-F36799891C85}" dt="2023-03-29T13:02:52.826" v="7041" actId="478"/>
          <ac:grpSpMkLst>
            <pc:docMk/>
            <pc:sldMk cId="4287792751" sldId="2147469790"/>
            <ac:grpSpMk id="26" creationId="{C4A0F7EC-09DD-8466-ADE0-711DAE54DAB1}"/>
          </ac:grpSpMkLst>
        </pc:grpChg>
        <pc:grpChg chg="add mod">
          <ac:chgData name="Paul LEGEARD" userId="73b5704d-da1d-4b70-8e12-6d54d32b01a3" providerId="ADAL" clId="{7E21ABAC-2CC9-43D2-B356-F36799891C85}" dt="2023-03-29T13:04:18.511" v="7104" actId="12789"/>
          <ac:grpSpMkLst>
            <pc:docMk/>
            <pc:sldMk cId="4287792751" sldId="2147469790"/>
            <ac:grpSpMk id="30" creationId="{17E6B1B8-6550-28C3-37A6-5611838722A9}"/>
          </ac:grpSpMkLst>
        </pc:grpChg>
        <pc:grpChg chg="add mod">
          <ac:chgData name="Paul LEGEARD" userId="73b5704d-da1d-4b70-8e12-6d54d32b01a3" providerId="ADAL" clId="{7E21ABAC-2CC9-43D2-B356-F36799891C85}" dt="2023-03-29T13:04:18.511" v="7104" actId="12789"/>
          <ac:grpSpMkLst>
            <pc:docMk/>
            <pc:sldMk cId="4287792751" sldId="2147469790"/>
            <ac:grpSpMk id="37" creationId="{353182B1-8FE4-A303-46FF-59C37A4820D9}"/>
          </ac:grpSpMkLst>
        </pc:grpChg>
        <pc:grpChg chg="add del mod">
          <ac:chgData name="Paul LEGEARD" userId="73b5704d-da1d-4b70-8e12-6d54d32b01a3" providerId="ADAL" clId="{7E21ABAC-2CC9-43D2-B356-F36799891C85}" dt="2023-03-29T13:04:01.917" v="7101" actId="478"/>
          <ac:grpSpMkLst>
            <pc:docMk/>
            <pc:sldMk cId="4287792751" sldId="2147469790"/>
            <ac:grpSpMk id="51" creationId="{0C1F6E35-292E-3C00-4F97-BEFFC161EF84}"/>
          </ac:grpSpMkLst>
        </pc:grpChg>
        <pc:grpChg chg="mod">
          <ac:chgData name="Paul LEGEARD" userId="73b5704d-da1d-4b70-8e12-6d54d32b01a3" providerId="ADAL" clId="{7E21ABAC-2CC9-43D2-B356-F36799891C85}" dt="2023-03-29T13:03:19.106" v="7047"/>
          <ac:grpSpMkLst>
            <pc:docMk/>
            <pc:sldMk cId="4287792751" sldId="2147469790"/>
            <ac:grpSpMk id="52" creationId="{7B493349-FE44-31FE-FA50-05FA2A826E6E}"/>
          </ac:grpSpMkLst>
        </pc:grpChg>
        <pc:grpChg chg="mod">
          <ac:chgData name="Paul LEGEARD" userId="73b5704d-da1d-4b70-8e12-6d54d32b01a3" providerId="ADAL" clId="{7E21ABAC-2CC9-43D2-B356-F36799891C85}" dt="2023-03-29T13:03:19.106" v="7047"/>
          <ac:grpSpMkLst>
            <pc:docMk/>
            <pc:sldMk cId="4287792751" sldId="2147469790"/>
            <ac:grpSpMk id="53" creationId="{10456E13-023E-22F0-7A4A-5198D9C16382}"/>
          </ac:grpSpMkLst>
        </pc:grpChg>
        <pc:grpChg chg="mod">
          <ac:chgData name="Paul LEGEARD" userId="73b5704d-da1d-4b70-8e12-6d54d32b01a3" providerId="ADAL" clId="{7E21ABAC-2CC9-43D2-B356-F36799891C85}" dt="2023-03-29T13:03:19.106" v="7047"/>
          <ac:grpSpMkLst>
            <pc:docMk/>
            <pc:sldMk cId="4287792751" sldId="2147469790"/>
            <ac:grpSpMk id="54" creationId="{E05F9A4E-E5B0-6F95-36B4-73871F86EC0B}"/>
          </ac:grpSpMkLst>
        </pc:grpChg>
        <pc:picChg chg="add del mod">
          <ac:chgData name="Paul LEGEARD" userId="73b5704d-da1d-4b70-8e12-6d54d32b01a3" providerId="ADAL" clId="{7E21ABAC-2CC9-43D2-B356-F36799891C85}" dt="2023-03-29T13:02:51.994" v="7040" actId="478"/>
          <ac:picMkLst>
            <pc:docMk/>
            <pc:sldMk cId="4287792751" sldId="2147469790"/>
            <ac:picMk id="14" creationId="{880432EF-1FEE-8E5D-74D0-D2003B15C410}"/>
          </ac:picMkLst>
        </pc:picChg>
        <pc:picChg chg="add mod">
          <ac:chgData name="Paul LEGEARD" userId="73b5704d-da1d-4b70-8e12-6d54d32b01a3" providerId="ADAL" clId="{7E21ABAC-2CC9-43D2-B356-F36799891C85}" dt="2023-03-29T13:04:18.511" v="7104" actId="12789"/>
          <ac:picMkLst>
            <pc:docMk/>
            <pc:sldMk cId="4287792751" sldId="2147469790"/>
            <ac:picMk id="25" creationId="{6879B1A4-005B-59BA-8135-8DB14116263B}"/>
          </ac:picMkLst>
        </pc:picChg>
        <pc:picChg chg="mod">
          <ac:chgData name="Paul LEGEARD" userId="73b5704d-da1d-4b70-8e12-6d54d32b01a3" providerId="ADAL" clId="{7E21ABAC-2CC9-43D2-B356-F36799891C85}" dt="2023-03-29T12:57:35.948" v="6790" actId="1076"/>
          <ac:picMkLst>
            <pc:docMk/>
            <pc:sldMk cId="4287792751" sldId="2147469790"/>
            <ac:picMk id="27" creationId="{8F67D3A3-CD65-B761-FDA0-6466CB83EB11}"/>
          </ac:picMkLst>
        </pc:picChg>
        <pc:picChg chg="mod">
          <ac:chgData name="Paul LEGEARD" userId="73b5704d-da1d-4b70-8e12-6d54d32b01a3" providerId="ADAL" clId="{7E21ABAC-2CC9-43D2-B356-F36799891C85}" dt="2023-03-29T13:04:18.511" v="7104" actId="12789"/>
          <ac:picMkLst>
            <pc:docMk/>
            <pc:sldMk cId="4287792751" sldId="2147469790"/>
            <ac:picMk id="31" creationId="{A23D11AF-550E-8EA8-62CE-0C9D9FC32205}"/>
          </ac:picMkLst>
        </pc:picChg>
        <pc:picChg chg="mod">
          <ac:chgData name="Paul LEGEARD" userId="73b5704d-da1d-4b70-8e12-6d54d32b01a3" providerId="ADAL" clId="{7E21ABAC-2CC9-43D2-B356-F36799891C85}" dt="2023-03-29T13:04:18.511" v="7104" actId="12789"/>
          <ac:picMkLst>
            <pc:docMk/>
            <pc:sldMk cId="4287792751" sldId="2147469790"/>
            <ac:picMk id="38" creationId="{05C9F5C7-5E6D-ED10-749B-0806E185AA59}"/>
          </ac:picMkLst>
        </pc:picChg>
        <pc:picChg chg="add del mod">
          <ac:chgData name="Paul LEGEARD" userId="73b5704d-da1d-4b70-8e12-6d54d32b01a3" providerId="ADAL" clId="{7E21ABAC-2CC9-43D2-B356-F36799891C85}" dt="2023-03-29T13:04:01.917" v="7101" actId="478"/>
          <ac:picMkLst>
            <pc:docMk/>
            <pc:sldMk cId="4287792751" sldId="2147469790"/>
            <ac:picMk id="92" creationId="{F9A7307F-5F0F-B9C8-28B6-48B7D1B00AF0}"/>
          </ac:picMkLst>
        </pc:picChg>
        <pc:picChg chg="add del mod">
          <ac:chgData name="Paul LEGEARD" userId="73b5704d-da1d-4b70-8e12-6d54d32b01a3" providerId="ADAL" clId="{7E21ABAC-2CC9-43D2-B356-F36799891C85}" dt="2023-03-29T13:04:01.917" v="7101" actId="478"/>
          <ac:picMkLst>
            <pc:docMk/>
            <pc:sldMk cId="4287792751" sldId="2147469790"/>
            <ac:picMk id="94" creationId="{E69BD715-5A62-BF17-0BE4-F5A6E090FA5B}"/>
          </ac:picMkLst>
        </pc:picChg>
        <pc:picChg chg="add del mod">
          <ac:chgData name="Paul LEGEARD" userId="73b5704d-da1d-4b70-8e12-6d54d32b01a3" providerId="ADAL" clId="{7E21ABAC-2CC9-43D2-B356-F36799891C85}" dt="2023-03-29T13:04:01.917" v="7101" actId="478"/>
          <ac:picMkLst>
            <pc:docMk/>
            <pc:sldMk cId="4287792751" sldId="2147469790"/>
            <ac:picMk id="96" creationId="{7F06D2B2-86FF-0B2B-2D5D-C213DCE6D156}"/>
          </ac:picMkLst>
        </pc:picChg>
        <pc:picChg chg="add mod">
          <ac:chgData name="Paul LEGEARD" userId="73b5704d-da1d-4b70-8e12-6d54d32b01a3" providerId="ADAL" clId="{7E21ABAC-2CC9-43D2-B356-F36799891C85}" dt="2023-03-29T13:17:58.591" v="7462" actId="14100"/>
          <ac:picMkLst>
            <pc:docMk/>
            <pc:sldMk cId="4287792751" sldId="2147469790"/>
            <ac:picMk id="97" creationId="{0A933E32-57F5-9808-DC13-18531DE0A613}"/>
          </ac:picMkLst>
        </pc:picChg>
      </pc:sldChg>
      <pc:sldChg chg="addSp delSp modSp add mod">
        <pc:chgData name="Paul LEGEARD" userId="73b5704d-da1d-4b70-8e12-6d54d32b01a3" providerId="ADAL" clId="{7E21ABAC-2CC9-43D2-B356-F36799891C85}" dt="2023-03-29T13:26:45.646" v="7776" actId="1076"/>
        <pc:sldMkLst>
          <pc:docMk/>
          <pc:sldMk cId="2769979293" sldId="2147469791"/>
        </pc:sldMkLst>
        <pc:spChg chg="add del mod">
          <ac:chgData name="Paul LEGEARD" userId="73b5704d-da1d-4b70-8e12-6d54d32b01a3" providerId="ADAL" clId="{7E21ABAC-2CC9-43D2-B356-F36799891C85}" dt="2023-03-29T13:06:42.130" v="7195"/>
          <ac:spMkLst>
            <pc:docMk/>
            <pc:sldMk cId="2769979293" sldId="2147469791"/>
            <ac:spMk id="4" creationId="{7D54F976-C361-2330-79F4-67AE714531CD}"/>
          </ac:spMkLst>
        </pc:spChg>
        <pc:spChg chg="del">
          <ac:chgData name="Paul LEGEARD" userId="73b5704d-da1d-4b70-8e12-6d54d32b01a3" providerId="ADAL" clId="{7E21ABAC-2CC9-43D2-B356-F36799891C85}" dt="2023-03-29T13:07:15.780" v="7206" actId="478"/>
          <ac:spMkLst>
            <pc:docMk/>
            <pc:sldMk cId="2769979293" sldId="2147469791"/>
            <ac:spMk id="5" creationId="{6DE49BA5-1C67-4899-A6FD-68896B94F078}"/>
          </ac:spMkLst>
        </pc:spChg>
        <pc:spChg chg="del">
          <ac:chgData name="Paul LEGEARD" userId="73b5704d-da1d-4b70-8e12-6d54d32b01a3" providerId="ADAL" clId="{7E21ABAC-2CC9-43D2-B356-F36799891C85}" dt="2023-03-29T13:07:15.780" v="7206" actId="478"/>
          <ac:spMkLst>
            <pc:docMk/>
            <pc:sldMk cId="2769979293" sldId="2147469791"/>
            <ac:spMk id="6" creationId="{9FD44200-2B2E-471A-8D8E-3847F4191214}"/>
          </ac:spMkLst>
        </pc:spChg>
        <pc:spChg chg="add del mod">
          <ac:chgData name="Paul LEGEARD" userId="73b5704d-da1d-4b70-8e12-6d54d32b01a3" providerId="ADAL" clId="{7E21ABAC-2CC9-43D2-B356-F36799891C85}" dt="2023-03-29T13:06:42.130" v="7195"/>
          <ac:spMkLst>
            <pc:docMk/>
            <pc:sldMk cId="2769979293" sldId="2147469791"/>
            <ac:spMk id="8" creationId="{5760FD3E-4848-EE07-96BE-A9DC0C2ECCD7}"/>
          </ac:spMkLst>
        </pc:spChg>
        <pc:spChg chg="add del mod">
          <ac:chgData name="Paul LEGEARD" userId="73b5704d-da1d-4b70-8e12-6d54d32b01a3" providerId="ADAL" clId="{7E21ABAC-2CC9-43D2-B356-F36799891C85}" dt="2023-03-29T13:06:42.130" v="7195"/>
          <ac:spMkLst>
            <pc:docMk/>
            <pc:sldMk cId="2769979293" sldId="2147469791"/>
            <ac:spMk id="9" creationId="{DCAA22B5-AF27-C245-E79E-0E46F2DF00E4}"/>
          </ac:spMkLst>
        </pc:spChg>
        <pc:spChg chg="del">
          <ac:chgData name="Paul LEGEARD" userId="73b5704d-da1d-4b70-8e12-6d54d32b01a3" providerId="ADAL" clId="{7E21ABAC-2CC9-43D2-B356-F36799891C85}" dt="2023-03-29T12:59:27.695" v="6948" actId="478"/>
          <ac:spMkLst>
            <pc:docMk/>
            <pc:sldMk cId="2769979293" sldId="2147469791"/>
            <ac:spMk id="10" creationId="{099D9734-A16E-CDCF-57B5-2505B4366E40}"/>
          </ac:spMkLst>
        </pc:spChg>
        <pc:spChg chg="del">
          <ac:chgData name="Paul LEGEARD" userId="73b5704d-da1d-4b70-8e12-6d54d32b01a3" providerId="ADAL" clId="{7E21ABAC-2CC9-43D2-B356-F36799891C85}" dt="2023-03-29T12:59:27.695" v="6948" actId="478"/>
          <ac:spMkLst>
            <pc:docMk/>
            <pc:sldMk cId="2769979293" sldId="2147469791"/>
            <ac:spMk id="11" creationId="{C6F6796B-56BC-B824-9A77-96F55E4C1C6D}"/>
          </ac:spMkLst>
        </pc:spChg>
        <pc:spChg chg="add del mod">
          <ac:chgData name="Paul LEGEARD" userId="73b5704d-da1d-4b70-8e12-6d54d32b01a3" providerId="ADAL" clId="{7E21ABAC-2CC9-43D2-B356-F36799891C85}" dt="2023-03-29T13:06:42.130" v="7195"/>
          <ac:spMkLst>
            <pc:docMk/>
            <pc:sldMk cId="2769979293" sldId="2147469791"/>
            <ac:spMk id="12" creationId="{FA4C9AA5-7BA5-319A-5F77-20EC4E5E2744}"/>
          </ac:spMkLst>
        </pc:spChg>
        <pc:spChg chg="del">
          <ac:chgData name="Paul LEGEARD" userId="73b5704d-da1d-4b70-8e12-6d54d32b01a3" providerId="ADAL" clId="{7E21ABAC-2CC9-43D2-B356-F36799891C85}" dt="2023-03-29T12:59:27.695" v="6948" actId="478"/>
          <ac:spMkLst>
            <pc:docMk/>
            <pc:sldMk cId="2769979293" sldId="2147469791"/>
            <ac:spMk id="15" creationId="{567659D9-508A-BA1C-5D78-6490F1C08A3C}"/>
          </ac:spMkLst>
        </pc:spChg>
        <pc:spChg chg="mod">
          <ac:chgData name="Paul LEGEARD" userId="73b5704d-da1d-4b70-8e12-6d54d32b01a3" providerId="ADAL" clId="{7E21ABAC-2CC9-43D2-B356-F36799891C85}" dt="2023-03-29T13:06:39.612" v="7194"/>
          <ac:spMkLst>
            <pc:docMk/>
            <pc:sldMk cId="2769979293" sldId="2147469791"/>
            <ac:spMk id="20" creationId="{EE8394DD-007C-9513-0937-FEDB8972CB18}"/>
          </ac:spMkLst>
        </pc:spChg>
        <pc:spChg chg="del">
          <ac:chgData name="Paul LEGEARD" userId="73b5704d-da1d-4b70-8e12-6d54d32b01a3" providerId="ADAL" clId="{7E21ABAC-2CC9-43D2-B356-F36799891C85}" dt="2023-03-29T12:59:27.695" v="6948" actId="478"/>
          <ac:spMkLst>
            <pc:docMk/>
            <pc:sldMk cId="2769979293" sldId="2147469791"/>
            <ac:spMk id="23" creationId="{3F67A514-760F-6910-94A7-97D8B52AE756}"/>
          </ac:spMkLst>
        </pc:spChg>
        <pc:spChg chg="del">
          <ac:chgData name="Paul LEGEARD" userId="73b5704d-da1d-4b70-8e12-6d54d32b01a3" providerId="ADAL" clId="{7E21ABAC-2CC9-43D2-B356-F36799891C85}" dt="2023-03-29T12:59:27.695" v="6948" actId="478"/>
          <ac:spMkLst>
            <pc:docMk/>
            <pc:sldMk cId="2769979293" sldId="2147469791"/>
            <ac:spMk id="24" creationId="{81B008B5-42A5-C127-E28F-7A6DC517764B}"/>
          </ac:spMkLst>
        </pc:spChg>
        <pc:spChg chg="del">
          <ac:chgData name="Paul LEGEARD" userId="73b5704d-da1d-4b70-8e12-6d54d32b01a3" providerId="ADAL" clId="{7E21ABAC-2CC9-43D2-B356-F36799891C85}" dt="2023-03-29T12:59:27.695" v="6948" actId="478"/>
          <ac:spMkLst>
            <pc:docMk/>
            <pc:sldMk cId="2769979293" sldId="2147469791"/>
            <ac:spMk id="46" creationId="{2BAEE255-8E03-5F93-C153-0D9E8FBCB96C}"/>
          </ac:spMkLst>
        </pc:spChg>
        <pc:spChg chg="mod">
          <ac:chgData name="Paul LEGEARD" userId="73b5704d-da1d-4b70-8e12-6d54d32b01a3" providerId="ADAL" clId="{7E21ABAC-2CC9-43D2-B356-F36799891C85}" dt="2023-03-29T13:06:39.612" v="7194"/>
          <ac:spMkLst>
            <pc:docMk/>
            <pc:sldMk cId="2769979293" sldId="2147469791"/>
            <ac:spMk id="47" creationId="{AB7866C2-D73C-FBD7-F2C6-913D1AA69F44}"/>
          </ac:spMkLst>
        </pc:spChg>
        <pc:spChg chg="mod">
          <ac:chgData name="Paul LEGEARD" userId="73b5704d-da1d-4b70-8e12-6d54d32b01a3" providerId="ADAL" clId="{7E21ABAC-2CC9-43D2-B356-F36799891C85}" dt="2023-03-29T13:06:39.612" v="7194"/>
          <ac:spMkLst>
            <pc:docMk/>
            <pc:sldMk cId="2769979293" sldId="2147469791"/>
            <ac:spMk id="48" creationId="{75A285E7-2D4B-43A8-178C-2130D8BC284D}"/>
          </ac:spMkLst>
        </pc:spChg>
        <pc:spChg chg="mod">
          <ac:chgData name="Paul LEGEARD" userId="73b5704d-da1d-4b70-8e12-6d54d32b01a3" providerId="ADAL" clId="{7E21ABAC-2CC9-43D2-B356-F36799891C85}" dt="2023-03-29T13:06:39.612" v="7194"/>
          <ac:spMkLst>
            <pc:docMk/>
            <pc:sldMk cId="2769979293" sldId="2147469791"/>
            <ac:spMk id="49" creationId="{09D1AD0F-EDC4-D133-A423-E4F125D82662}"/>
          </ac:spMkLst>
        </pc:spChg>
        <pc:spChg chg="mod">
          <ac:chgData name="Paul LEGEARD" userId="73b5704d-da1d-4b70-8e12-6d54d32b01a3" providerId="ADAL" clId="{7E21ABAC-2CC9-43D2-B356-F36799891C85}" dt="2023-03-29T13:06:39.612" v="7194"/>
          <ac:spMkLst>
            <pc:docMk/>
            <pc:sldMk cId="2769979293" sldId="2147469791"/>
            <ac:spMk id="50" creationId="{D19A4BF4-BA60-7ECE-DB3D-2851C56CAEFA}"/>
          </ac:spMkLst>
        </pc:spChg>
        <pc:spChg chg="mod">
          <ac:chgData name="Paul LEGEARD" userId="73b5704d-da1d-4b70-8e12-6d54d32b01a3" providerId="ADAL" clId="{7E21ABAC-2CC9-43D2-B356-F36799891C85}" dt="2023-03-29T13:06:39.612" v="7194"/>
          <ac:spMkLst>
            <pc:docMk/>
            <pc:sldMk cId="2769979293" sldId="2147469791"/>
            <ac:spMk id="51" creationId="{D0DFE5BD-2CA4-39E4-CE52-4877559823B2}"/>
          </ac:spMkLst>
        </pc:spChg>
        <pc:spChg chg="mod">
          <ac:chgData name="Paul LEGEARD" userId="73b5704d-da1d-4b70-8e12-6d54d32b01a3" providerId="ADAL" clId="{7E21ABAC-2CC9-43D2-B356-F36799891C85}" dt="2023-03-29T13:06:39.612" v="7194"/>
          <ac:spMkLst>
            <pc:docMk/>
            <pc:sldMk cId="2769979293" sldId="2147469791"/>
            <ac:spMk id="52" creationId="{B52D0DB7-0AC6-DC25-E78C-25115B3BB62C}"/>
          </ac:spMkLst>
        </pc:spChg>
        <pc:spChg chg="mod">
          <ac:chgData name="Paul LEGEARD" userId="73b5704d-da1d-4b70-8e12-6d54d32b01a3" providerId="ADAL" clId="{7E21ABAC-2CC9-43D2-B356-F36799891C85}" dt="2023-03-29T13:06:39.612" v="7194"/>
          <ac:spMkLst>
            <pc:docMk/>
            <pc:sldMk cId="2769979293" sldId="2147469791"/>
            <ac:spMk id="53" creationId="{D14BF9E0-1D3C-EC10-1A2E-D6B5FB8D63A7}"/>
          </ac:spMkLst>
        </pc:spChg>
        <pc:spChg chg="mod">
          <ac:chgData name="Paul LEGEARD" userId="73b5704d-da1d-4b70-8e12-6d54d32b01a3" providerId="ADAL" clId="{7E21ABAC-2CC9-43D2-B356-F36799891C85}" dt="2023-03-29T13:06:39.612" v="7194"/>
          <ac:spMkLst>
            <pc:docMk/>
            <pc:sldMk cId="2769979293" sldId="2147469791"/>
            <ac:spMk id="54" creationId="{E3F5D6EA-69AE-8FA2-55F1-49FE4FF26CC9}"/>
          </ac:spMkLst>
        </pc:spChg>
        <pc:spChg chg="mod">
          <ac:chgData name="Paul LEGEARD" userId="73b5704d-da1d-4b70-8e12-6d54d32b01a3" providerId="ADAL" clId="{7E21ABAC-2CC9-43D2-B356-F36799891C85}" dt="2023-03-29T13:06:39.612" v="7194"/>
          <ac:spMkLst>
            <pc:docMk/>
            <pc:sldMk cId="2769979293" sldId="2147469791"/>
            <ac:spMk id="55" creationId="{5A840BD9-1181-4883-0296-931AD258AD8E}"/>
          </ac:spMkLst>
        </pc:spChg>
        <pc:spChg chg="mod">
          <ac:chgData name="Paul LEGEARD" userId="73b5704d-da1d-4b70-8e12-6d54d32b01a3" providerId="ADAL" clId="{7E21ABAC-2CC9-43D2-B356-F36799891C85}" dt="2023-03-29T13:06:39.612" v="7194"/>
          <ac:spMkLst>
            <pc:docMk/>
            <pc:sldMk cId="2769979293" sldId="2147469791"/>
            <ac:spMk id="56" creationId="{C40F5DE5-34C6-F63D-BC6E-4B0206A0EAF9}"/>
          </ac:spMkLst>
        </pc:spChg>
        <pc:spChg chg="mod">
          <ac:chgData name="Paul LEGEARD" userId="73b5704d-da1d-4b70-8e12-6d54d32b01a3" providerId="ADAL" clId="{7E21ABAC-2CC9-43D2-B356-F36799891C85}" dt="2023-03-29T13:06:39.612" v="7194"/>
          <ac:spMkLst>
            <pc:docMk/>
            <pc:sldMk cId="2769979293" sldId="2147469791"/>
            <ac:spMk id="57" creationId="{CAAD1BDF-CCCC-1394-3C4A-61B72AE88E0E}"/>
          </ac:spMkLst>
        </pc:spChg>
        <pc:spChg chg="mod">
          <ac:chgData name="Paul LEGEARD" userId="73b5704d-da1d-4b70-8e12-6d54d32b01a3" providerId="ADAL" clId="{7E21ABAC-2CC9-43D2-B356-F36799891C85}" dt="2023-03-29T13:06:39.612" v="7194"/>
          <ac:spMkLst>
            <pc:docMk/>
            <pc:sldMk cId="2769979293" sldId="2147469791"/>
            <ac:spMk id="58" creationId="{1286BBBC-B03F-4660-816A-40B3DB207F7C}"/>
          </ac:spMkLst>
        </pc:spChg>
        <pc:spChg chg="mod">
          <ac:chgData name="Paul LEGEARD" userId="73b5704d-da1d-4b70-8e12-6d54d32b01a3" providerId="ADAL" clId="{7E21ABAC-2CC9-43D2-B356-F36799891C85}" dt="2023-03-29T13:06:39.612" v="7194"/>
          <ac:spMkLst>
            <pc:docMk/>
            <pc:sldMk cId="2769979293" sldId="2147469791"/>
            <ac:spMk id="59" creationId="{D03FC57B-2292-7303-D688-5D086093E817}"/>
          </ac:spMkLst>
        </pc:spChg>
        <pc:spChg chg="mod">
          <ac:chgData name="Paul LEGEARD" userId="73b5704d-da1d-4b70-8e12-6d54d32b01a3" providerId="ADAL" clId="{7E21ABAC-2CC9-43D2-B356-F36799891C85}" dt="2023-03-29T13:06:39.612" v="7194"/>
          <ac:spMkLst>
            <pc:docMk/>
            <pc:sldMk cId="2769979293" sldId="2147469791"/>
            <ac:spMk id="60" creationId="{F74A588D-3DFD-3FCF-1822-BC2EFD820F40}"/>
          </ac:spMkLst>
        </pc:spChg>
        <pc:spChg chg="mod">
          <ac:chgData name="Paul LEGEARD" userId="73b5704d-da1d-4b70-8e12-6d54d32b01a3" providerId="ADAL" clId="{7E21ABAC-2CC9-43D2-B356-F36799891C85}" dt="2023-03-29T13:06:39.612" v="7194"/>
          <ac:spMkLst>
            <pc:docMk/>
            <pc:sldMk cId="2769979293" sldId="2147469791"/>
            <ac:spMk id="61" creationId="{02ECDCCE-9BA9-79B6-DC23-460AA8A9F441}"/>
          </ac:spMkLst>
        </pc:spChg>
        <pc:spChg chg="mod">
          <ac:chgData name="Paul LEGEARD" userId="73b5704d-da1d-4b70-8e12-6d54d32b01a3" providerId="ADAL" clId="{7E21ABAC-2CC9-43D2-B356-F36799891C85}" dt="2023-03-29T13:06:39.612" v="7194"/>
          <ac:spMkLst>
            <pc:docMk/>
            <pc:sldMk cId="2769979293" sldId="2147469791"/>
            <ac:spMk id="62" creationId="{5EE34285-0AF3-1997-03BA-D0FC4FCD83FE}"/>
          </ac:spMkLst>
        </pc:spChg>
        <pc:spChg chg="mod">
          <ac:chgData name="Paul LEGEARD" userId="73b5704d-da1d-4b70-8e12-6d54d32b01a3" providerId="ADAL" clId="{7E21ABAC-2CC9-43D2-B356-F36799891C85}" dt="2023-03-29T13:06:39.612" v="7194"/>
          <ac:spMkLst>
            <pc:docMk/>
            <pc:sldMk cId="2769979293" sldId="2147469791"/>
            <ac:spMk id="63" creationId="{C56A3230-7C4D-BE2E-9ADB-CDB7BBD0B0B9}"/>
          </ac:spMkLst>
        </pc:spChg>
        <pc:spChg chg="mod">
          <ac:chgData name="Paul LEGEARD" userId="73b5704d-da1d-4b70-8e12-6d54d32b01a3" providerId="ADAL" clId="{7E21ABAC-2CC9-43D2-B356-F36799891C85}" dt="2023-03-29T13:06:39.612" v="7194"/>
          <ac:spMkLst>
            <pc:docMk/>
            <pc:sldMk cId="2769979293" sldId="2147469791"/>
            <ac:spMk id="64" creationId="{714D550A-051C-E014-C98F-41F0D88FE776}"/>
          </ac:spMkLst>
        </pc:spChg>
        <pc:spChg chg="mod">
          <ac:chgData name="Paul LEGEARD" userId="73b5704d-da1d-4b70-8e12-6d54d32b01a3" providerId="ADAL" clId="{7E21ABAC-2CC9-43D2-B356-F36799891C85}" dt="2023-03-29T13:06:39.612" v="7194"/>
          <ac:spMkLst>
            <pc:docMk/>
            <pc:sldMk cId="2769979293" sldId="2147469791"/>
            <ac:spMk id="65" creationId="{B75941F2-C96F-6CBC-FE6D-2328DA61A174}"/>
          </ac:spMkLst>
        </pc:spChg>
        <pc:spChg chg="mod">
          <ac:chgData name="Paul LEGEARD" userId="73b5704d-da1d-4b70-8e12-6d54d32b01a3" providerId="ADAL" clId="{7E21ABAC-2CC9-43D2-B356-F36799891C85}" dt="2023-03-29T13:06:39.612" v="7194"/>
          <ac:spMkLst>
            <pc:docMk/>
            <pc:sldMk cId="2769979293" sldId="2147469791"/>
            <ac:spMk id="66" creationId="{DA39759A-C77D-5437-FD2D-B773F2B2A439}"/>
          </ac:spMkLst>
        </pc:spChg>
        <pc:spChg chg="mod">
          <ac:chgData name="Paul LEGEARD" userId="73b5704d-da1d-4b70-8e12-6d54d32b01a3" providerId="ADAL" clId="{7E21ABAC-2CC9-43D2-B356-F36799891C85}" dt="2023-03-29T13:06:39.612" v="7194"/>
          <ac:spMkLst>
            <pc:docMk/>
            <pc:sldMk cId="2769979293" sldId="2147469791"/>
            <ac:spMk id="67" creationId="{F24F3892-38D9-B7F3-5180-A99AF0168D02}"/>
          </ac:spMkLst>
        </pc:spChg>
        <pc:spChg chg="mod">
          <ac:chgData name="Paul LEGEARD" userId="73b5704d-da1d-4b70-8e12-6d54d32b01a3" providerId="ADAL" clId="{7E21ABAC-2CC9-43D2-B356-F36799891C85}" dt="2023-03-29T13:06:39.612" v="7194"/>
          <ac:spMkLst>
            <pc:docMk/>
            <pc:sldMk cId="2769979293" sldId="2147469791"/>
            <ac:spMk id="68" creationId="{42DB9317-DAB6-ACA0-C2BD-AD05D3A82479}"/>
          </ac:spMkLst>
        </pc:spChg>
        <pc:spChg chg="mod">
          <ac:chgData name="Paul LEGEARD" userId="73b5704d-da1d-4b70-8e12-6d54d32b01a3" providerId="ADAL" clId="{7E21ABAC-2CC9-43D2-B356-F36799891C85}" dt="2023-03-29T13:06:39.612" v="7194"/>
          <ac:spMkLst>
            <pc:docMk/>
            <pc:sldMk cId="2769979293" sldId="2147469791"/>
            <ac:spMk id="69" creationId="{760E0D48-2266-4BED-5772-39A5DE6B4D62}"/>
          </ac:spMkLst>
        </pc:spChg>
        <pc:spChg chg="mod">
          <ac:chgData name="Paul LEGEARD" userId="73b5704d-da1d-4b70-8e12-6d54d32b01a3" providerId="ADAL" clId="{7E21ABAC-2CC9-43D2-B356-F36799891C85}" dt="2023-03-29T13:06:39.612" v="7194"/>
          <ac:spMkLst>
            <pc:docMk/>
            <pc:sldMk cId="2769979293" sldId="2147469791"/>
            <ac:spMk id="70" creationId="{A87D5F8D-AB0C-138B-72DD-C1A761D10239}"/>
          </ac:spMkLst>
        </pc:spChg>
        <pc:spChg chg="mod">
          <ac:chgData name="Paul LEGEARD" userId="73b5704d-da1d-4b70-8e12-6d54d32b01a3" providerId="ADAL" clId="{7E21ABAC-2CC9-43D2-B356-F36799891C85}" dt="2023-03-29T13:06:39.612" v="7194"/>
          <ac:spMkLst>
            <pc:docMk/>
            <pc:sldMk cId="2769979293" sldId="2147469791"/>
            <ac:spMk id="71" creationId="{5E9EF845-9C02-3D31-6D46-49E4668D07A5}"/>
          </ac:spMkLst>
        </pc:spChg>
        <pc:spChg chg="mod">
          <ac:chgData name="Paul LEGEARD" userId="73b5704d-da1d-4b70-8e12-6d54d32b01a3" providerId="ADAL" clId="{7E21ABAC-2CC9-43D2-B356-F36799891C85}" dt="2023-03-29T13:06:39.612" v="7194"/>
          <ac:spMkLst>
            <pc:docMk/>
            <pc:sldMk cId="2769979293" sldId="2147469791"/>
            <ac:spMk id="72" creationId="{01A1AB89-FCA9-BBF6-D83F-458E3243907C}"/>
          </ac:spMkLst>
        </pc:spChg>
        <pc:spChg chg="mod">
          <ac:chgData name="Paul LEGEARD" userId="73b5704d-da1d-4b70-8e12-6d54d32b01a3" providerId="ADAL" clId="{7E21ABAC-2CC9-43D2-B356-F36799891C85}" dt="2023-03-29T13:06:39.612" v="7194"/>
          <ac:spMkLst>
            <pc:docMk/>
            <pc:sldMk cId="2769979293" sldId="2147469791"/>
            <ac:spMk id="73" creationId="{51DA4EB6-C26A-91CD-A59F-E7B37E40B1BF}"/>
          </ac:spMkLst>
        </pc:spChg>
        <pc:spChg chg="mod">
          <ac:chgData name="Paul LEGEARD" userId="73b5704d-da1d-4b70-8e12-6d54d32b01a3" providerId="ADAL" clId="{7E21ABAC-2CC9-43D2-B356-F36799891C85}" dt="2023-03-29T13:06:39.612" v="7194"/>
          <ac:spMkLst>
            <pc:docMk/>
            <pc:sldMk cId="2769979293" sldId="2147469791"/>
            <ac:spMk id="74" creationId="{D4A30345-CE9B-CB76-027A-D86DD5E3EF16}"/>
          </ac:spMkLst>
        </pc:spChg>
        <pc:spChg chg="mod">
          <ac:chgData name="Paul LEGEARD" userId="73b5704d-da1d-4b70-8e12-6d54d32b01a3" providerId="ADAL" clId="{7E21ABAC-2CC9-43D2-B356-F36799891C85}" dt="2023-03-29T13:06:39.612" v="7194"/>
          <ac:spMkLst>
            <pc:docMk/>
            <pc:sldMk cId="2769979293" sldId="2147469791"/>
            <ac:spMk id="75" creationId="{8683BAD6-9F85-356F-CDF5-29E029BAE3BE}"/>
          </ac:spMkLst>
        </pc:spChg>
        <pc:spChg chg="mod">
          <ac:chgData name="Paul LEGEARD" userId="73b5704d-da1d-4b70-8e12-6d54d32b01a3" providerId="ADAL" clId="{7E21ABAC-2CC9-43D2-B356-F36799891C85}" dt="2023-03-29T13:06:39.612" v="7194"/>
          <ac:spMkLst>
            <pc:docMk/>
            <pc:sldMk cId="2769979293" sldId="2147469791"/>
            <ac:spMk id="76" creationId="{15061F24-7D8A-EDB2-E752-A1B31BFDE118}"/>
          </ac:spMkLst>
        </pc:spChg>
        <pc:spChg chg="mod">
          <ac:chgData name="Paul LEGEARD" userId="73b5704d-da1d-4b70-8e12-6d54d32b01a3" providerId="ADAL" clId="{7E21ABAC-2CC9-43D2-B356-F36799891C85}" dt="2023-03-29T13:06:39.612" v="7194"/>
          <ac:spMkLst>
            <pc:docMk/>
            <pc:sldMk cId="2769979293" sldId="2147469791"/>
            <ac:spMk id="77" creationId="{E65CD946-9350-F720-497D-DFDA801E1E71}"/>
          </ac:spMkLst>
        </pc:spChg>
        <pc:spChg chg="mod">
          <ac:chgData name="Paul LEGEARD" userId="73b5704d-da1d-4b70-8e12-6d54d32b01a3" providerId="ADAL" clId="{7E21ABAC-2CC9-43D2-B356-F36799891C85}" dt="2023-03-29T13:06:39.612" v="7194"/>
          <ac:spMkLst>
            <pc:docMk/>
            <pc:sldMk cId="2769979293" sldId="2147469791"/>
            <ac:spMk id="78" creationId="{C641A982-14E2-55D8-50D5-DAF93A920438}"/>
          </ac:spMkLst>
        </pc:spChg>
        <pc:spChg chg="mod">
          <ac:chgData name="Paul LEGEARD" userId="73b5704d-da1d-4b70-8e12-6d54d32b01a3" providerId="ADAL" clId="{7E21ABAC-2CC9-43D2-B356-F36799891C85}" dt="2023-03-29T13:23:49.881" v="7710" actId="404"/>
          <ac:spMkLst>
            <pc:docMk/>
            <pc:sldMk cId="2769979293" sldId="2147469791"/>
            <ac:spMk id="79" creationId="{9007893F-DE3F-4277-8B72-135CF4773651}"/>
          </ac:spMkLst>
        </pc:spChg>
        <pc:spChg chg="mod">
          <ac:chgData name="Paul LEGEARD" userId="73b5704d-da1d-4b70-8e12-6d54d32b01a3" providerId="ADAL" clId="{7E21ABAC-2CC9-43D2-B356-F36799891C85}" dt="2023-03-29T13:06:39.612" v="7194"/>
          <ac:spMkLst>
            <pc:docMk/>
            <pc:sldMk cId="2769979293" sldId="2147469791"/>
            <ac:spMk id="80" creationId="{BC24F59E-C55C-C310-9677-047453FBC45C}"/>
          </ac:spMkLst>
        </pc:spChg>
        <pc:spChg chg="mod">
          <ac:chgData name="Paul LEGEARD" userId="73b5704d-da1d-4b70-8e12-6d54d32b01a3" providerId="ADAL" clId="{7E21ABAC-2CC9-43D2-B356-F36799891C85}" dt="2023-03-29T13:06:39.612" v="7194"/>
          <ac:spMkLst>
            <pc:docMk/>
            <pc:sldMk cId="2769979293" sldId="2147469791"/>
            <ac:spMk id="81" creationId="{7E26C3D7-EE85-1157-3F3E-3D2EF054A547}"/>
          </ac:spMkLst>
        </pc:spChg>
        <pc:spChg chg="mod">
          <ac:chgData name="Paul LEGEARD" userId="73b5704d-da1d-4b70-8e12-6d54d32b01a3" providerId="ADAL" clId="{7E21ABAC-2CC9-43D2-B356-F36799891C85}" dt="2023-03-29T13:06:39.612" v="7194"/>
          <ac:spMkLst>
            <pc:docMk/>
            <pc:sldMk cId="2769979293" sldId="2147469791"/>
            <ac:spMk id="82" creationId="{F23F78B1-50E4-9136-A1F9-B39449099216}"/>
          </ac:spMkLst>
        </pc:spChg>
        <pc:spChg chg="add del mod">
          <ac:chgData name="Paul LEGEARD" userId="73b5704d-da1d-4b70-8e12-6d54d32b01a3" providerId="ADAL" clId="{7E21ABAC-2CC9-43D2-B356-F36799891C85}" dt="2023-03-29T13:07:45.574" v="7214" actId="478"/>
          <ac:spMkLst>
            <pc:docMk/>
            <pc:sldMk cId="2769979293" sldId="2147469791"/>
            <ac:spMk id="83" creationId="{D4958EAC-FBED-610E-F993-EB5A07B1F44C}"/>
          </ac:spMkLst>
        </pc:spChg>
        <pc:spChg chg="add mod">
          <ac:chgData name="Paul LEGEARD" userId="73b5704d-da1d-4b70-8e12-6d54d32b01a3" providerId="ADAL" clId="{7E21ABAC-2CC9-43D2-B356-F36799891C85}" dt="2023-03-29T13:26:45.646" v="7776" actId="1076"/>
          <ac:spMkLst>
            <pc:docMk/>
            <pc:sldMk cId="2769979293" sldId="2147469791"/>
            <ac:spMk id="84" creationId="{B8C79E55-A2A2-DB19-47CA-9839E2EB217D}"/>
          </ac:spMkLst>
        </pc:spChg>
        <pc:spChg chg="add del mod">
          <ac:chgData name="Paul LEGEARD" userId="73b5704d-da1d-4b70-8e12-6d54d32b01a3" providerId="ADAL" clId="{7E21ABAC-2CC9-43D2-B356-F36799891C85}" dt="2023-03-29T13:07:15.780" v="7206" actId="478"/>
          <ac:spMkLst>
            <pc:docMk/>
            <pc:sldMk cId="2769979293" sldId="2147469791"/>
            <ac:spMk id="85" creationId="{7C131DEA-339C-2D91-86B9-7D1E7F5611C7}"/>
          </ac:spMkLst>
        </pc:spChg>
        <pc:spChg chg="add del mod">
          <ac:chgData name="Paul LEGEARD" userId="73b5704d-da1d-4b70-8e12-6d54d32b01a3" providerId="ADAL" clId="{7E21ABAC-2CC9-43D2-B356-F36799891C85}" dt="2023-03-29T13:07:15.780" v="7206" actId="478"/>
          <ac:spMkLst>
            <pc:docMk/>
            <pc:sldMk cId="2769979293" sldId="2147469791"/>
            <ac:spMk id="86" creationId="{456BA8BD-C546-006F-F3CC-CB1F301D91B4}"/>
          </ac:spMkLst>
        </pc:spChg>
        <pc:spChg chg="mod">
          <ac:chgData name="Paul LEGEARD" userId="73b5704d-da1d-4b70-8e12-6d54d32b01a3" providerId="ADAL" clId="{7E21ABAC-2CC9-43D2-B356-F36799891C85}" dt="2023-03-29T13:06:42.977" v="7196"/>
          <ac:spMkLst>
            <pc:docMk/>
            <pc:sldMk cId="2769979293" sldId="2147469791"/>
            <ac:spMk id="91" creationId="{317991B0-EFD6-AD26-CB50-F5D73954DF3A}"/>
          </ac:spMkLst>
        </pc:spChg>
        <pc:spChg chg="mod">
          <ac:chgData name="Paul LEGEARD" userId="73b5704d-da1d-4b70-8e12-6d54d32b01a3" providerId="ADAL" clId="{7E21ABAC-2CC9-43D2-B356-F36799891C85}" dt="2023-03-29T13:06:42.977" v="7196"/>
          <ac:spMkLst>
            <pc:docMk/>
            <pc:sldMk cId="2769979293" sldId="2147469791"/>
            <ac:spMk id="92" creationId="{16C2363F-106E-0439-3F0F-05735A36B58A}"/>
          </ac:spMkLst>
        </pc:spChg>
        <pc:spChg chg="mod">
          <ac:chgData name="Paul LEGEARD" userId="73b5704d-da1d-4b70-8e12-6d54d32b01a3" providerId="ADAL" clId="{7E21ABAC-2CC9-43D2-B356-F36799891C85}" dt="2023-03-29T13:06:42.977" v="7196"/>
          <ac:spMkLst>
            <pc:docMk/>
            <pc:sldMk cId="2769979293" sldId="2147469791"/>
            <ac:spMk id="93" creationId="{C34168F8-218D-2E80-8684-5E1DA305B369}"/>
          </ac:spMkLst>
        </pc:spChg>
        <pc:spChg chg="mod">
          <ac:chgData name="Paul LEGEARD" userId="73b5704d-da1d-4b70-8e12-6d54d32b01a3" providerId="ADAL" clId="{7E21ABAC-2CC9-43D2-B356-F36799891C85}" dt="2023-03-29T13:06:42.977" v="7196"/>
          <ac:spMkLst>
            <pc:docMk/>
            <pc:sldMk cId="2769979293" sldId="2147469791"/>
            <ac:spMk id="94" creationId="{D08B83AB-C164-845D-9BFC-A73971BC8E7B}"/>
          </ac:spMkLst>
        </pc:spChg>
        <pc:spChg chg="mod">
          <ac:chgData name="Paul LEGEARD" userId="73b5704d-da1d-4b70-8e12-6d54d32b01a3" providerId="ADAL" clId="{7E21ABAC-2CC9-43D2-B356-F36799891C85}" dt="2023-03-29T13:06:42.977" v="7196"/>
          <ac:spMkLst>
            <pc:docMk/>
            <pc:sldMk cId="2769979293" sldId="2147469791"/>
            <ac:spMk id="95" creationId="{B53127E7-727C-4C0A-6390-A43C987B826E}"/>
          </ac:spMkLst>
        </pc:spChg>
        <pc:spChg chg="mod">
          <ac:chgData name="Paul LEGEARD" userId="73b5704d-da1d-4b70-8e12-6d54d32b01a3" providerId="ADAL" clId="{7E21ABAC-2CC9-43D2-B356-F36799891C85}" dt="2023-03-29T13:06:42.977" v="7196"/>
          <ac:spMkLst>
            <pc:docMk/>
            <pc:sldMk cId="2769979293" sldId="2147469791"/>
            <ac:spMk id="96" creationId="{58F2F01D-2B4B-739E-B063-94194969A2DF}"/>
          </ac:spMkLst>
        </pc:spChg>
        <pc:spChg chg="mod">
          <ac:chgData name="Paul LEGEARD" userId="73b5704d-da1d-4b70-8e12-6d54d32b01a3" providerId="ADAL" clId="{7E21ABAC-2CC9-43D2-B356-F36799891C85}" dt="2023-03-29T13:06:42.977" v="7196"/>
          <ac:spMkLst>
            <pc:docMk/>
            <pc:sldMk cId="2769979293" sldId="2147469791"/>
            <ac:spMk id="97" creationId="{340D5A90-922B-8A28-BA9E-35A09DC5B0AF}"/>
          </ac:spMkLst>
        </pc:spChg>
        <pc:spChg chg="mod">
          <ac:chgData name="Paul LEGEARD" userId="73b5704d-da1d-4b70-8e12-6d54d32b01a3" providerId="ADAL" clId="{7E21ABAC-2CC9-43D2-B356-F36799891C85}" dt="2023-03-29T13:06:42.977" v="7196"/>
          <ac:spMkLst>
            <pc:docMk/>
            <pc:sldMk cId="2769979293" sldId="2147469791"/>
            <ac:spMk id="98" creationId="{1AFDAEDF-BB96-3FAA-7145-712CD6BBA153}"/>
          </ac:spMkLst>
        </pc:spChg>
        <pc:spChg chg="mod">
          <ac:chgData name="Paul LEGEARD" userId="73b5704d-da1d-4b70-8e12-6d54d32b01a3" providerId="ADAL" clId="{7E21ABAC-2CC9-43D2-B356-F36799891C85}" dt="2023-03-29T13:06:42.977" v="7196"/>
          <ac:spMkLst>
            <pc:docMk/>
            <pc:sldMk cId="2769979293" sldId="2147469791"/>
            <ac:spMk id="99" creationId="{8D019B53-5863-0C0B-F007-26618407C57B}"/>
          </ac:spMkLst>
        </pc:spChg>
        <pc:spChg chg="mod">
          <ac:chgData name="Paul LEGEARD" userId="73b5704d-da1d-4b70-8e12-6d54d32b01a3" providerId="ADAL" clId="{7E21ABAC-2CC9-43D2-B356-F36799891C85}" dt="2023-03-29T13:06:42.977" v="7196"/>
          <ac:spMkLst>
            <pc:docMk/>
            <pc:sldMk cId="2769979293" sldId="2147469791"/>
            <ac:spMk id="100" creationId="{6D04C347-6076-C477-4856-2B8A9EA61325}"/>
          </ac:spMkLst>
        </pc:spChg>
        <pc:spChg chg="mod">
          <ac:chgData name="Paul LEGEARD" userId="73b5704d-da1d-4b70-8e12-6d54d32b01a3" providerId="ADAL" clId="{7E21ABAC-2CC9-43D2-B356-F36799891C85}" dt="2023-03-29T13:06:42.977" v="7196"/>
          <ac:spMkLst>
            <pc:docMk/>
            <pc:sldMk cId="2769979293" sldId="2147469791"/>
            <ac:spMk id="101" creationId="{24BFCC8B-6F04-187B-1E50-7CFDEA845410}"/>
          </ac:spMkLst>
        </pc:spChg>
        <pc:spChg chg="mod">
          <ac:chgData name="Paul LEGEARD" userId="73b5704d-da1d-4b70-8e12-6d54d32b01a3" providerId="ADAL" clId="{7E21ABAC-2CC9-43D2-B356-F36799891C85}" dt="2023-03-29T13:06:42.977" v="7196"/>
          <ac:spMkLst>
            <pc:docMk/>
            <pc:sldMk cId="2769979293" sldId="2147469791"/>
            <ac:spMk id="102" creationId="{623F1DC6-A717-6F81-40CF-722BBB423DAF}"/>
          </ac:spMkLst>
        </pc:spChg>
        <pc:spChg chg="mod">
          <ac:chgData name="Paul LEGEARD" userId="73b5704d-da1d-4b70-8e12-6d54d32b01a3" providerId="ADAL" clId="{7E21ABAC-2CC9-43D2-B356-F36799891C85}" dt="2023-03-29T13:06:42.977" v="7196"/>
          <ac:spMkLst>
            <pc:docMk/>
            <pc:sldMk cId="2769979293" sldId="2147469791"/>
            <ac:spMk id="103" creationId="{9E998E74-406F-E62E-6BC3-F96766EDBCFB}"/>
          </ac:spMkLst>
        </pc:spChg>
        <pc:spChg chg="mod">
          <ac:chgData name="Paul LEGEARD" userId="73b5704d-da1d-4b70-8e12-6d54d32b01a3" providerId="ADAL" clId="{7E21ABAC-2CC9-43D2-B356-F36799891C85}" dt="2023-03-29T13:06:42.977" v="7196"/>
          <ac:spMkLst>
            <pc:docMk/>
            <pc:sldMk cId="2769979293" sldId="2147469791"/>
            <ac:spMk id="104" creationId="{0D773EF3-1DE1-FA91-0AF8-74B4A841DD1F}"/>
          </ac:spMkLst>
        </pc:spChg>
        <pc:spChg chg="mod">
          <ac:chgData name="Paul LEGEARD" userId="73b5704d-da1d-4b70-8e12-6d54d32b01a3" providerId="ADAL" clId="{7E21ABAC-2CC9-43D2-B356-F36799891C85}" dt="2023-03-29T13:06:42.977" v="7196"/>
          <ac:spMkLst>
            <pc:docMk/>
            <pc:sldMk cId="2769979293" sldId="2147469791"/>
            <ac:spMk id="105" creationId="{3722D0D7-D353-6C17-1525-1A2B7C4359FE}"/>
          </ac:spMkLst>
        </pc:spChg>
        <pc:spChg chg="mod">
          <ac:chgData name="Paul LEGEARD" userId="73b5704d-da1d-4b70-8e12-6d54d32b01a3" providerId="ADAL" clId="{7E21ABAC-2CC9-43D2-B356-F36799891C85}" dt="2023-03-29T13:06:42.977" v="7196"/>
          <ac:spMkLst>
            <pc:docMk/>
            <pc:sldMk cId="2769979293" sldId="2147469791"/>
            <ac:spMk id="106" creationId="{B315DC39-5815-DD27-016D-DFB5262156C2}"/>
          </ac:spMkLst>
        </pc:spChg>
        <pc:spChg chg="mod">
          <ac:chgData name="Paul LEGEARD" userId="73b5704d-da1d-4b70-8e12-6d54d32b01a3" providerId="ADAL" clId="{7E21ABAC-2CC9-43D2-B356-F36799891C85}" dt="2023-03-29T13:06:42.977" v="7196"/>
          <ac:spMkLst>
            <pc:docMk/>
            <pc:sldMk cId="2769979293" sldId="2147469791"/>
            <ac:spMk id="107" creationId="{102050C8-B568-7A9D-51E0-F0DE4C05874E}"/>
          </ac:spMkLst>
        </pc:spChg>
        <pc:spChg chg="mod">
          <ac:chgData name="Paul LEGEARD" userId="73b5704d-da1d-4b70-8e12-6d54d32b01a3" providerId="ADAL" clId="{7E21ABAC-2CC9-43D2-B356-F36799891C85}" dt="2023-03-29T13:06:42.977" v="7196"/>
          <ac:spMkLst>
            <pc:docMk/>
            <pc:sldMk cId="2769979293" sldId="2147469791"/>
            <ac:spMk id="108" creationId="{2463B025-1D26-673F-1716-A3463CD169BB}"/>
          </ac:spMkLst>
        </pc:spChg>
        <pc:spChg chg="mod">
          <ac:chgData name="Paul LEGEARD" userId="73b5704d-da1d-4b70-8e12-6d54d32b01a3" providerId="ADAL" clId="{7E21ABAC-2CC9-43D2-B356-F36799891C85}" dt="2023-03-29T13:06:42.977" v="7196"/>
          <ac:spMkLst>
            <pc:docMk/>
            <pc:sldMk cId="2769979293" sldId="2147469791"/>
            <ac:spMk id="109" creationId="{DC595699-A7A2-BA19-62B9-CC6F5FB9C6D0}"/>
          </ac:spMkLst>
        </pc:spChg>
        <pc:spChg chg="mod">
          <ac:chgData name="Paul LEGEARD" userId="73b5704d-da1d-4b70-8e12-6d54d32b01a3" providerId="ADAL" clId="{7E21ABAC-2CC9-43D2-B356-F36799891C85}" dt="2023-03-29T13:06:42.977" v="7196"/>
          <ac:spMkLst>
            <pc:docMk/>
            <pc:sldMk cId="2769979293" sldId="2147469791"/>
            <ac:spMk id="110" creationId="{68440DE2-F9A1-84A6-4CEB-27B2EAD0F38C}"/>
          </ac:spMkLst>
        </pc:spChg>
        <pc:spChg chg="mod">
          <ac:chgData name="Paul LEGEARD" userId="73b5704d-da1d-4b70-8e12-6d54d32b01a3" providerId="ADAL" clId="{7E21ABAC-2CC9-43D2-B356-F36799891C85}" dt="2023-03-29T13:06:42.977" v="7196"/>
          <ac:spMkLst>
            <pc:docMk/>
            <pc:sldMk cId="2769979293" sldId="2147469791"/>
            <ac:spMk id="111" creationId="{0A1F6FBD-33F4-428D-C6FD-763C5B7F5829}"/>
          </ac:spMkLst>
        </pc:spChg>
        <pc:spChg chg="mod">
          <ac:chgData name="Paul LEGEARD" userId="73b5704d-da1d-4b70-8e12-6d54d32b01a3" providerId="ADAL" clId="{7E21ABAC-2CC9-43D2-B356-F36799891C85}" dt="2023-03-29T13:06:42.977" v="7196"/>
          <ac:spMkLst>
            <pc:docMk/>
            <pc:sldMk cId="2769979293" sldId="2147469791"/>
            <ac:spMk id="112" creationId="{20465B4D-0ED2-2AFF-9F69-1BC1C2C0B6D2}"/>
          </ac:spMkLst>
        </pc:spChg>
        <pc:spChg chg="mod">
          <ac:chgData name="Paul LEGEARD" userId="73b5704d-da1d-4b70-8e12-6d54d32b01a3" providerId="ADAL" clId="{7E21ABAC-2CC9-43D2-B356-F36799891C85}" dt="2023-03-29T13:06:42.977" v="7196"/>
          <ac:spMkLst>
            <pc:docMk/>
            <pc:sldMk cId="2769979293" sldId="2147469791"/>
            <ac:spMk id="113" creationId="{FA8CC8E4-7B47-8A2B-C04F-F620F26A3E57}"/>
          </ac:spMkLst>
        </pc:spChg>
        <pc:spChg chg="mod">
          <ac:chgData name="Paul LEGEARD" userId="73b5704d-da1d-4b70-8e12-6d54d32b01a3" providerId="ADAL" clId="{7E21ABAC-2CC9-43D2-B356-F36799891C85}" dt="2023-03-29T13:06:42.977" v="7196"/>
          <ac:spMkLst>
            <pc:docMk/>
            <pc:sldMk cId="2769979293" sldId="2147469791"/>
            <ac:spMk id="114" creationId="{AF981115-536D-37FE-9100-D4C0755A1462}"/>
          </ac:spMkLst>
        </pc:spChg>
        <pc:spChg chg="mod">
          <ac:chgData name="Paul LEGEARD" userId="73b5704d-da1d-4b70-8e12-6d54d32b01a3" providerId="ADAL" clId="{7E21ABAC-2CC9-43D2-B356-F36799891C85}" dt="2023-03-29T13:06:42.977" v="7196"/>
          <ac:spMkLst>
            <pc:docMk/>
            <pc:sldMk cId="2769979293" sldId="2147469791"/>
            <ac:spMk id="115" creationId="{105032CC-1054-0277-1DAB-755820042084}"/>
          </ac:spMkLst>
        </pc:spChg>
        <pc:spChg chg="mod">
          <ac:chgData name="Paul LEGEARD" userId="73b5704d-da1d-4b70-8e12-6d54d32b01a3" providerId="ADAL" clId="{7E21ABAC-2CC9-43D2-B356-F36799891C85}" dt="2023-03-29T13:06:42.977" v="7196"/>
          <ac:spMkLst>
            <pc:docMk/>
            <pc:sldMk cId="2769979293" sldId="2147469791"/>
            <ac:spMk id="116" creationId="{1D3DBF68-AF66-8A5C-5CB1-03FD1D46B30B}"/>
          </ac:spMkLst>
        </pc:spChg>
        <pc:spChg chg="mod">
          <ac:chgData name="Paul LEGEARD" userId="73b5704d-da1d-4b70-8e12-6d54d32b01a3" providerId="ADAL" clId="{7E21ABAC-2CC9-43D2-B356-F36799891C85}" dt="2023-03-29T13:06:42.977" v="7196"/>
          <ac:spMkLst>
            <pc:docMk/>
            <pc:sldMk cId="2769979293" sldId="2147469791"/>
            <ac:spMk id="117" creationId="{151F7705-6B23-B5B1-7B65-2ECAD6C8183D}"/>
          </ac:spMkLst>
        </pc:spChg>
        <pc:spChg chg="mod">
          <ac:chgData name="Paul LEGEARD" userId="73b5704d-da1d-4b70-8e12-6d54d32b01a3" providerId="ADAL" clId="{7E21ABAC-2CC9-43D2-B356-F36799891C85}" dt="2023-03-29T13:06:42.977" v="7196"/>
          <ac:spMkLst>
            <pc:docMk/>
            <pc:sldMk cId="2769979293" sldId="2147469791"/>
            <ac:spMk id="118" creationId="{3B68931A-E5D4-F641-F1C4-D4E1BFB7EACC}"/>
          </ac:spMkLst>
        </pc:spChg>
        <pc:spChg chg="mod">
          <ac:chgData name="Paul LEGEARD" userId="73b5704d-da1d-4b70-8e12-6d54d32b01a3" providerId="ADAL" clId="{7E21ABAC-2CC9-43D2-B356-F36799891C85}" dt="2023-03-29T13:06:42.977" v="7196"/>
          <ac:spMkLst>
            <pc:docMk/>
            <pc:sldMk cId="2769979293" sldId="2147469791"/>
            <ac:spMk id="119" creationId="{67380BBA-5154-1113-531E-5F3B7A0F2E79}"/>
          </ac:spMkLst>
        </pc:spChg>
        <pc:spChg chg="mod">
          <ac:chgData name="Paul LEGEARD" userId="73b5704d-da1d-4b70-8e12-6d54d32b01a3" providerId="ADAL" clId="{7E21ABAC-2CC9-43D2-B356-F36799891C85}" dt="2023-03-29T13:06:42.977" v="7196"/>
          <ac:spMkLst>
            <pc:docMk/>
            <pc:sldMk cId="2769979293" sldId="2147469791"/>
            <ac:spMk id="120" creationId="{B26BD35C-2F02-0231-5DC8-5D93E8D63FD2}"/>
          </ac:spMkLst>
        </pc:spChg>
        <pc:spChg chg="mod">
          <ac:chgData name="Paul LEGEARD" userId="73b5704d-da1d-4b70-8e12-6d54d32b01a3" providerId="ADAL" clId="{7E21ABAC-2CC9-43D2-B356-F36799891C85}" dt="2023-03-29T13:06:42.977" v="7196"/>
          <ac:spMkLst>
            <pc:docMk/>
            <pc:sldMk cId="2769979293" sldId="2147469791"/>
            <ac:spMk id="121" creationId="{E6D538CC-49D5-6E48-8FB1-AE424E8B3D19}"/>
          </ac:spMkLst>
        </pc:spChg>
        <pc:spChg chg="mod">
          <ac:chgData name="Paul LEGEARD" userId="73b5704d-da1d-4b70-8e12-6d54d32b01a3" providerId="ADAL" clId="{7E21ABAC-2CC9-43D2-B356-F36799891C85}" dt="2023-03-29T13:06:42.977" v="7196"/>
          <ac:spMkLst>
            <pc:docMk/>
            <pc:sldMk cId="2769979293" sldId="2147469791"/>
            <ac:spMk id="122" creationId="{73BF2B2A-284C-E455-E89F-CD4F9622B028}"/>
          </ac:spMkLst>
        </pc:spChg>
        <pc:spChg chg="mod">
          <ac:chgData name="Paul LEGEARD" userId="73b5704d-da1d-4b70-8e12-6d54d32b01a3" providerId="ADAL" clId="{7E21ABAC-2CC9-43D2-B356-F36799891C85}" dt="2023-03-29T13:06:42.977" v="7196"/>
          <ac:spMkLst>
            <pc:docMk/>
            <pc:sldMk cId="2769979293" sldId="2147469791"/>
            <ac:spMk id="123" creationId="{B9206B9C-098B-E5EB-2E89-8F2D29500B1F}"/>
          </ac:spMkLst>
        </pc:spChg>
        <pc:spChg chg="mod">
          <ac:chgData name="Paul LEGEARD" userId="73b5704d-da1d-4b70-8e12-6d54d32b01a3" providerId="ADAL" clId="{7E21ABAC-2CC9-43D2-B356-F36799891C85}" dt="2023-03-29T13:06:42.977" v="7196"/>
          <ac:spMkLst>
            <pc:docMk/>
            <pc:sldMk cId="2769979293" sldId="2147469791"/>
            <ac:spMk id="124" creationId="{8FDA44ED-91E5-E013-96AB-6FB3D18850BB}"/>
          </ac:spMkLst>
        </pc:spChg>
        <pc:spChg chg="mod">
          <ac:chgData name="Paul LEGEARD" userId="73b5704d-da1d-4b70-8e12-6d54d32b01a3" providerId="ADAL" clId="{7E21ABAC-2CC9-43D2-B356-F36799891C85}" dt="2023-03-29T13:06:42.977" v="7196"/>
          <ac:spMkLst>
            <pc:docMk/>
            <pc:sldMk cId="2769979293" sldId="2147469791"/>
            <ac:spMk id="125" creationId="{FFF475FF-3F5F-BC40-346A-85FF94DE4433}"/>
          </ac:spMkLst>
        </pc:spChg>
        <pc:spChg chg="mod">
          <ac:chgData name="Paul LEGEARD" userId="73b5704d-da1d-4b70-8e12-6d54d32b01a3" providerId="ADAL" clId="{7E21ABAC-2CC9-43D2-B356-F36799891C85}" dt="2023-03-29T13:06:42.977" v="7196"/>
          <ac:spMkLst>
            <pc:docMk/>
            <pc:sldMk cId="2769979293" sldId="2147469791"/>
            <ac:spMk id="126" creationId="{16879AD8-3C11-9341-427D-6A2614E3F725}"/>
          </ac:spMkLst>
        </pc:spChg>
        <pc:spChg chg="add mod ord">
          <ac:chgData name="Paul LEGEARD" userId="73b5704d-da1d-4b70-8e12-6d54d32b01a3" providerId="ADAL" clId="{7E21ABAC-2CC9-43D2-B356-F36799891C85}" dt="2023-03-29T13:26:45.646" v="7776" actId="1076"/>
          <ac:spMkLst>
            <pc:docMk/>
            <pc:sldMk cId="2769979293" sldId="2147469791"/>
            <ac:spMk id="127" creationId="{343715D7-E4EC-4740-0C54-C6ED1A15E8B4}"/>
          </ac:spMkLst>
        </pc:spChg>
        <pc:spChg chg="add del mod">
          <ac:chgData name="Paul LEGEARD" userId="73b5704d-da1d-4b70-8e12-6d54d32b01a3" providerId="ADAL" clId="{7E21ABAC-2CC9-43D2-B356-F36799891C85}" dt="2023-03-29T13:13:18.342" v="7295" actId="478"/>
          <ac:spMkLst>
            <pc:docMk/>
            <pc:sldMk cId="2769979293" sldId="2147469791"/>
            <ac:spMk id="128" creationId="{EFCA15FE-CD0F-0BE6-6345-A26B4320AF2F}"/>
          </ac:spMkLst>
        </pc:spChg>
        <pc:spChg chg="add del mod">
          <ac:chgData name="Paul LEGEARD" userId="73b5704d-da1d-4b70-8e12-6d54d32b01a3" providerId="ADAL" clId="{7E21ABAC-2CC9-43D2-B356-F36799891C85}" dt="2023-03-29T13:13:18.342" v="7295" actId="478"/>
          <ac:spMkLst>
            <pc:docMk/>
            <pc:sldMk cId="2769979293" sldId="2147469791"/>
            <ac:spMk id="129" creationId="{02F62970-4E61-5721-2A84-B5C6409DB165}"/>
          </ac:spMkLst>
        </pc:spChg>
        <pc:spChg chg="add mod">
          <ac:chgData name="Paul LEGEARD" userId="73b5704d-da1d-4b70-8e12-6d54d32b01a3" providerId="ADAL" clId="{7E21ABAC-2CC9-43D2-B356-F36799891C85}" dt="2023-03-29T13:26:45.646" v="7776" actId="1076"/>
          <ac:spMkLst>
            <pc:docMk/>
            <pc:sldMk cId="2769979293" sldId="2147469791"/>
            <ac:spMk id="130" creationId="{B76FD444-13E1-A4D4-53AD-1A6B19CD6699}"/>
          </ac:spMkLst>
        </pc:spChg>
        <pc:spChg chg="add del mod">
          <ac:chgData name="Paul LEGEARD" userId="73b5704d-da1d-4b70-8e12-6d54d32b01a3" providerId="ADAL" clId="{7E21ABAC-2CC9-43D2-B356-F36799891C85}" dt="2023-03-29T13:09:29.466" v="7233" actId="478"/>
          <ac:spMkLst>
            <pc:docMk/>
            <pc:sldMk cId="2769979293" sldId="2147469791"/>
            <ac:spMk id="131" creationId="{264933C4-A93D-2FF0-C160-C839BF7FF02D}"/>
          </ac:spMkLst>
        </pc:spChg>
        <pc:spChg chg="mod">
          <ac:chgData name="Paul LEGEARD" userId="73b5704d-da1d-4b70-8e12-6d54d32b01a3" providerId="ADAL" clId="{7E21ABAC-2CC9-43D2-B356-F36799891C85}" dt="2023-03-29T13:09:39.590" v="7236" actId="14100"/>
          <ac:spMkLst>
            <pc:docMk/>
            <pc:sldMk cId="2769979293" sldId="2147469791"/>
            <ac:spMk id="136" creationId="{0EBB3A04-9FBA-C005-EA41-7112AA90354B}"/>
          </ac:spMkLst>
        </pc:spChg>
        <pc:spChg chg="mod">
          <ac:chgData name="Paul LEGEARD" userId="73b5704d-da1d-4b70-8e12-6d54d32b01a3" providerId="ADAL" clId="{7E21ABAC-2CC9-43D2-B356-F36799891C85}" dt="2023-03-29T13:09:39.590" v="7236" actId="14100"/>
          <ac:spMkLst>
            <pc:docMk/>
            <pc:sldMk cId="2769979293" sldId="2147469791"/>
            <ac:spMk id="137" creationId="{0A06B033-09CA-3416-DAED-9AE3ECDAEDC3}"/>
          </ac:spMkLst>
        </pc:spChg>
        <pc:spChg chg="mod">
          <ac:chgData name="Paul LEGEARD" userId="73b5704d-da1d-4b70-8e12-6d54d32b01a3" providerId="ADAL" clId="{7E21ABAC-2CC9-43D2-B356-F36799891C85}" dt="2023-03-29T13:09:39.590" v="7236" actId="14100"/>
          <ac:spMkLst>
            <pc:docMk/>
            <pc:sldMk cId="2769979293" sldId="2147469791"/>
            <ac:spMk id="138" creationId="{7E818D64-7462-2FEC-7C93-11EE29697D4D}"/>
          </ac:spMkLst>
        </pc:spChg>
        <pc:spChg chg="mod">
          <ac:chgData name="Paul LEGEARD" userId="73b5704d-da1d-4b70-8e12-6d54d32b01a3" providerId="ADAL" clId="{7E21ABAC-2CC9-43D2-B356-F36799891C85}" dt="2023-03-29T13:09:39.590" v="7236" actId="14100"/>
          <ac:spMkLst>
            <pc:docMk/>
            <pc:sldMk cId="2769979293" sldId="2147469791"/>
            <ac:spMk id="139" creationId="{B659720E-226B-8EAF-F579-08D435151654}"/>
          </ac:spMkLst>
        </pc:spChg>
        <pc:spChg chg="mod">
          <ac:chgData name="Paul LEGEARD" userId="73b5704d-da1d-4b70-8e12-6d54d32b01a3" providerId="ADAL" clId="{7E21ABAC-2CC9-43D2-B356-F36799891C85}" dt="2023-03-29T13:09:39.590" v="7236" actId="14100"/>
          <ac:spMkLst>
            <pc:docMk/>
            <pc:sldMk cId="2769979293" sldId="2147469791"/>
            <ac:spMk id="140" creationId="{9D87FC99-32D9-24AE-AC36-8B12C9F4ABCC}"/>
          </ac:spMkLst>
        </pc:spChg>
        <pc:spChg chg="add mod">
          <ac:chgData name="Paul LEGEARD" userId="73b5704d-da1d-4b70-8e12-6d54d32b01a3" providerId="ADAL" clId="{7E21ABAC-2CC9-43D2-B356-F36799891C85}" dt="2023-03-29T13:26:45.646" v="7776" actId="1076"/>
          <ac:spMkLst>
            <pc:docMk/>
            <pc:sldMk cId="2769979293" sldId="2147469791"/>
            <ac:spMk id="144" creationId="{9AA318CE-9CB7-0F7A-955E-7DA48DF781E5}"/>
          </ac:spMkLst>
        </pc:spChg>
        <pc:spChg chg="add mod">
          <ac:chgData name="Paul LEGEARD" userId="73b5704d-da1d-4b70-8e12-6d54d32b01a3" providerId="ADAL" clId="{7E21ABAC-2CC9-43D2-B356-F36799891C85}" dt="2023-03-29T13:26:45.646" v="7776" actId="1076"/>
          <ac:spMkLst>
            <pc:docMk/>
            <pc:sldMk cId="2769979293" sldId="2147469791"/>
            <ac:spMk id="145" creationId="{038595AE-F59A-DDF3-8817-36B8B48A9B08}"/>
          </ac:spMkLst>
        </pc:spChg>
        <pc:spChg chg="add mod">
          <ac:chgData name="Paul LEGEARD" userId="73b5704d-da1d-4b70-8e12-6d54d32b01a3" providerId="ADAL" clId="{7E21ABAC-2CC9-43D2-B356-F36799891C85}" dt="2023-03-29T13:26:45.646" v="7776" actId="1076"/>
          <ac:spMkLst>
            <pc:docMk/>
            <pc:sldMk cId="2769979293" sldId="2147469791"/>
            <ac:spMk id="149" creationId="{4956AB03-62ED-C956-75A1-92B0CAB8506C}"/>
          </ac:spMkLst>
        </pc:spChg>
        <pc:spChg chg="add mod">
          <ac:chgData name="Paul LEGEARD" userId="73b5704d-da1d-4b70-8e12-6d54d32b01a3" providerId="ADAL" clId="{7E21ABAC-2CC9-43D2-B356-F36799891C85}" dt="2023-03-29T13:26:45.646" v="7776" actId="1076"/>
          <ac:spMkLst>
            <pc:docMk/>
            <pc:sldMk cId="2769979293" sldId="2147469791"/>
            <ac:spMk id="150" creationId="{1995A51A-F734-AA64-446B-AE1BE227E0A5}"/>
          </ac:spMkLst>
        </pc:spChg>
        <pc:spChg chg="add mod">
          <ac:chgData name="Paul LEGEARD" userId="73b5704d-da1d-4b70-8e12-6d54d32b01a3" providerId="ADAL" clId="{7E21ABAC-2CC9-43D2-B356-F36799891C85}" dt="2023-03-29T13:26:45.646" v="7776" actId="1076"/>
          <ac:spMkLst>
            <pc:docMk/>
            <pc:sldMk cId="2769979293" sldId="2147469791"/>
            <ac:spMk id="154" creationId="{35E78D68-7519-E94D-8CB7-7C5093F04FF4}"/>
          </ac:spMkLst>
        </pc:spChg>
        <pc:spChg chg="add mod">
          <ac:chgData name="Paul LEGEARD" userId="73b5704d-da1d-4b70-8e12-6d54d32b01a3" providerId="ADAL" clId="{7E21ABAC-2CC9-43D2-B356-F36799891C85}" dt="2023-03-29T13:26:45.646" v="7776" actId="1076"/>
          <ac:spMkLst>
            <pc:docMk/>
            <pc:sldMk cId="2769979293" sldId="2147469791"/>
            <ac:spMk id="155" creationId="{3278F12C-F236-7D7D-89C5-9C770CE99710}"/>
          </ac:spMkLst>
        </pc:spChg>
        <pc:spChg chg="add mod">
          <ac:chgData name="Paul LEGEARD" userId="73b5704d-da1d-4b70-8e12-6d54d32b01a3" providerId="ADAL" clId="{7E21ABAC-2CC9-43D2-B356-F36799891C85}" dt="2023-03-29T13:26:45.646" v="7776" actId="1076"/>
          <ac:spMkLst>
            <pc:docMk/>
            <pc:sldMk cId="2769979293" sldId="2147469791"/>
            <ac:spMk id="156" creationId="{BAF992EC-AB11-491A-DF73-2A9CD1F9E3A7}"/>
          </ac:spMkLst>
        </pc:spChg>
        <pc:spChg chg="add mod">
          <ac:chgData name="Paul LEGEARD" userId="73b5704d-da1d-4b70-8e12-6d54d32b01a3" providerId="ADAL" clId="{7E21ABAC-2CC9-43D2-B356-F36799891C85}" dt="2023-03-29T13:26:45.646" v="7776" actId="1076"/>
          <ac:spMkLst>
            <pc:docMk/>
            <pc:sldMk cId="2769979293" sldId="2147469791"/>
            <ac:spMk id="157" creationId="{09B197FB-FE66-7F9F-06D5-EE6BCE89F18B}"/>
          </ac:spMkLst>
        </pc:spChg>
        <pc:spChg chg="add mod">
          <ac:chgData name="Paul LEGEARD" userId="73b5704d-da1d-4b70-8e12-6d54d32b01a3" providerId="ADAL" clId="{7E21ABAC-2CC9-43D2-B356-F36799891C85}" dt="2023-03-29T13:26:45.646" v="7776" actId="1076"/>
          <ac:spMkLst>
            <pc:docMk/>
            <pc:sldMk cId="2769979293" sldId="2147469791"/>
            <ac:spMk id="161" creationId="{D7E83B31-CC8E-22AB-ED1D-D6731B8EF31E}"/>
          </ac:spMkLst>
        </pc:spChg>
        <pc:spChg chg="add mod">
          <ac:chgData name="Paul LEGEARD" userId="73b5704d-da1d-4b70-8e12-6d54d32b01a3" providerId="ADAL" clId="{7E21ABAC-2CC9-43D2-B356-F36799891C85}" dt="2023-03-29T13:26:45.646" v="7776" actId="1076"/>
          <ac:spMkLst>
            <pc:docMk/>
            <pc:sldMk cId="2769979293" sldId="2147469791"/>
            <ac:spMk id="162" creationId="{C105F3EB-DB57-71EA-EB52-5B4164B10B7B}"/>
          </ac:spMkLst>
        </pc:spChg>
        <pc:spChg chg="add mod">
          <ac:chgData name="Paul LEGEARD" userId="73b5704d-da1d-4b70-8e12-6d54d32b01a3" providerId="ADAL" clId="{7E21ABAC-2CC9-43D2-B356-F36799891C85}" dt="2023-03-29T13:26:45.646" v="7776" actId="1076"/>
          <ac:spMkLst>
            <pc:docMk/>
            <pc:sldMk cId="2769979293" sldId="2147469791"/>
            <ac:spMk id="166" creationId="{0E99E752-E866-6D00-3965-AAF4BEBFEBD2}"/>
          </ac:spMkLst>
        </pc:spChg>
        <pc:spChg chg="add mod">
          <ac:chgData name="Paul LEGEARD" userId="73b5704d-da1d-4b70-8e12-6d54d32b01a3" providerId="ADAL" clId="{7E21ABAC-2CC9-43D2-B356-F36799891C85}" dt="2023-03-29T13:26:45.646" v="7776" actId="1076"/>
          <ac:spMkLst>
            <pc:docMk/>
            <pc:sldMk cId="2769979293" sldId="2147469791"/>
            <ac:spMk id="167" creationId="{7EF668F8-6D86-2A45-E769-EF861E3B94F5}"/>
          </ac:spMkLst>
        </pc:spChg>
        <pc:spChg chg="add mod">
          <ac:chgData name="Paul LEGEARD" userId="73b5704d-da1d-4b70-8e12-6d54d32b01a3" providerId="ADAL" clId="{7E21ABAC-2CC9-43D2-B356-F36799891C85}" dt="2023-03-29T13:26:45.646" v="7776" actId="1076"/>
          <ac:spMkLst>
            <pc:docMk/>
            <pc:sldMk cId="2769979293" sldId="2147469791"/>
            <ac:spMk id="169" creationId="{C2AE00D8-D2E3-D914-81B9-4E930B09C685}"/>
          </ac:spMkLst>
        </pc:spChg>
        <pc:spChg chg="add mod">
          <ac:chgData name="Paul LEGEARD" userId="73b5704d-da1d-4b70-8e12-6d54d32b01a3" providerId="ADAL" clId="{7E21ABAC-2CC9-43D2-B356-F36799891C85}" dt="2023-03-29T13:26:45.646" v="7776" actId="1076"/>
          <ac:spMkLst>
            <pc:docMk/>
            <pc:sldMk cId="2769979293" sldId="2147469791"/>
            <ac:spMk id="173" creationId="{EAA126C0-DA8C-8FA2-88FB-FF4A5E995BE9}"/>
          </ac:spMkLst>
        </pc:spChg>
        <pc:spChg chg="add mod">
          <ac:chgData name="Paul LEGEARD" userId="73b5704d-da1d-4b70-8e12-6d54d32b01a3" providerId="ADAL" clId="{7E21ABAC-2CC9-43D2-B356-F36799891C85}" dt="2023-03-29T13:26:45.646" v="7776" actId="1076"/>
          <ac:spMkLst>
            <pc:docMk/>
            <pc:sldMk cId="2769979293" sldId="2147469791"/>
            <ac:spMk id="174" creationId="{E41697AF-5175-CAEF-9AA0-4B8D997F8D82}"/>
          </ac:spMkLst>
        </pc:spChg>
        <pc:spChg chg="add mod">
          <ac:chgData name="Paul LEGEARD" userId="73b5704d-da1d-4b70-8e12-6d54d32b01a3" providerId="ADAL" clId="{7E21ABAC-2CC9-43D2-B356-F36799891C85}" dt="2023-03-29T13:26:45.646" v="7776" actId="1076"/>
          <ac:spMkLst>
            <pc:docMk/>
            <pc:sldMk cId="2769979293" sldId="2147469791"/>
            <ac:spMk id="175" creationId="{0D41FF9C-EDAB-6B40-B112-C3F68A3127A1}"/>
          </ac:spMkLst>
        </pc:spChg>
        <pc:spChg chg="add mod">
          <ac:chgData name="Paul LEGEARD" userId="73b5704d-da1d-4b70-8e12-6d54d32b01a3" providerId="ADAL" clId="{7E21ABAC-2CC9-43D2-B356-F36799891C85}" dt="2023-03-29T13:26:45.646" v="7776" actId="1076"/>
          <ac:spMkLst>
            <pc:docMk/>
            <pc:sldMk cId="2769979293" sldId="2147469791"/>
            <ac:spMk id="177" creationId="{7EBA6195-33D6-18B5-7FAB-BE65B6A17D55}"/>
          </ac:spMkLst>
        </pc:spChg>
        <pc:spChg chg="add mod">
          <ac:chgData name="Paul LEGEARD" userId="73b5704d-da1d-4b70-8e12-6d54d32b01a3" providerId="ADAL" clId="{7E21ABAC-2CC9-43D2-B356-F36799891C85}" dt="2023-03-29T13:26:45.646" v="7776" actId="1076"/>
          <ac:spMkLst>
            <pc:docMk/>
            <pc:sldMk cId="2769979293" sldId="2147469791"/>
            <ac:spMk id="178" creationId="{7641F3F4-DE1F-7E0E-4277-27B689EFA893}"/>
          </ac:spMkLst>
        </pc:spChg>
        <pc:spChg chg="add mod">
          <ac:chgData name="Paul LEGEARD" userId="73b5704d-da1d-4b70-8e12-6d54d32b01a3" providerId="ADAL" clId="{7E21ABAC-2CC9-43D2-B356-F36799891C85}" dt="2023-03-29T13:26:45.646" v="7776" actId="1076"/>
          <ac:spMkLst>
            <pc:docMk/>
            <pc:sldMk cId="2769979293" sldId="2147469791"/>
            <ac:spMk id="180" creationId="{01D3DD3D-C759-AF40-337F-8E3D63029EAC}"/>
          </ac:spMkLst>
        </pc:spChg>
        <pc:spChg chg="add del mod">
          <ac:chgData name="Paul LEGEARD" userId="73b5704d-da1d-4b70-8e12-6d54d32b01a3" providerId="ADAL" clId="{7E21ABAC-2CC9-43D2-B356-F36799891C85}" dt="2023-03-29T13:16:59.492" v="7405" actId="478"/>
          <ac:spMkLst>
            <pc:docMk/>
            <pc:sldMk cId="2769979293" sldId="2147469791"/>
            <ac:spMk id="181" creationId="{A94768C8-D69F-B0FD-35E1-001CA2554C42}"/>
          </ac:spMkLst>
        </pc:spChg>
        <pc:spChg chg="add del mod">
          <ac:chgData name="Paul LEGEARD" userId="73b5704d-da1d-4b70-8e12-6d54d32b01a3" providerId="ADAL" clId="{7E21ABAC-2CC9-43D2-B356-F36799891C85}" dt="2023-03-29T13:16:59.492" v="7405" actId="478"/>
          <ac:spMkLst>
            <pc:docMk/>
            <pc:sldMk cId="2769979293" sldId="2147469791"/>
            <ac:spMk id="183" creationId="{D0560B46-DE53-A21E-F648-90AE248D303A}"/>
          </ac:spMkLst>
        </pc:spChg>
        <pc:grpChg chg="del">
          <ac:chgData name="Paul LEGEARD" userId="73b5704d-da1d-4b70-8e12-6d54d32b01a3" providerId="ADAL" clId="{7E21ABAC-2CC9-43D2-B356-F36799891C85}" dt="2023-03-29T12:59:27.695" v="6948" actId="478"/>
          <ac:grpSpMkLst>
            <pc:docMk/>
            <pc:sldMk cId="2769979293" sldId="2147469791"/>
            <ac:grpSpMk id="2" creationId="{C474635C-59D7-3AC9-BE3F-9D18DE083204}"/>
          </ac:grpSpMkLst>
        </pc:grpChg>
        <pc:grpChg chg="del">
          <ac:chgData name="Paul LEGEARD" userId="73b5704d-da1d-4b70-8e12-6d54d32b01a3" providerId="ADAL" clId="{7E21ABAC-2CC9-43D2-B356-F36799891C85}" dt="2023-03-29T12:59:27.695" v="6948" actId="478"/>
          <ac:grpSpMkLst>
            <pc:docMk/>
            <pc:sldMk cId="2769979293" sldId="2147469791"/>
            <ac:grpSpMk id="3" creationId="{9FC5ECC7-66B0-CC5C-1B40-3254CBB390AA}"/>
          </ac:grpSpMkLst>
        </pc:grpChg>
        <pc:grpChg chg="add del mod">
          <ac:chgData name="Paul LEGEARD" userId="73b5704d-da1d-4b70-8e12-6d54d32b01a3" providerId="ADAL" clId="{7E21ABAC-2CC9-43D2-B356-F36799891C85}" dt="2023-03-29T13:06:42.130" v="7195"/>
          <ac:grpSpMkLst>
            <pc:docMk/>
            <pc:sldMk cId="2769979293" sldId="2147469791"/>
            <ac:grpSpMk id="13" creationId="{BC0B461E-1A5D-A3A5-E87F-912F9A4BAD39}"/>
          </ac:grpSpMkLst>
        </pc:grpChg>
        <pc:grpChg chg="mod">
          <ac:chgData name="Paul LEGEARD" userId="73b5704d-da1d-4b70-8e12-6d54d32b01a3" providerId="ADAL" clId="{7E21ABAC-2CC9-43D2-B356-F36799891C85}" dt="2023-03-29T13:06:39.612" v="7194"/>
          <ac:grpSpMkLst>
            <pc:docMk/>
            <pc:sldMk cId="2769979293" sldId="2147469791"/>
            <ac:grpSpMk id="16" creationId="{00ACC2F4-B36C-DCA1-B688-C7C36904AA67}"/>
          </ac:grpSpMkLst>
        </pc:grpChg>
        <pc:grpChg chg="mod">
          <ac:chgData name="Paul LEGEARD" userId="73b5704d-da1d-4b70-8e12-6d54d32b01a3" providerId="ADAL" clId="{7E21ABAC-2CC9-43D2-B356-F36799891C85}" dt="2023-03-29T13:06:39.612" v="7194"/>
          <ac:grpSpMkLst>
            <pc:docMk/>
            <pc:sldMk cId="2769979293" sldId="2147469791"/>
            <ac:grpSpMk id="18" creationId="{338DE01F-D1BF-3BD7-E25E-A4B88DB2041A}"/>
          </ac:grpSpMkLst>
        </pc:grpChg>
        <pc:grpChg chg="mod">
          <ac:chgData name="Paul LEGEARD" userId="73b5704d-da1d-4b70-8e12-6d54d32b01a3" providerId="ADAL" clId="{7E21ABAC-2CC9-43D2-B356-F36799891C85}" dt="2023-03-29T13:06:39.612" v="7194"/>
          <ac:grpSpMkLst>
            <pc:docMk/>
            <pc:sldMk cId="2769979293" sldId="2147469791"/>
            <ac:grpSpMk id="19" creationId="{1E3C339F-E16F-4032-E97D-AAE0F0A8C2D6}"/>
          </ac:grpSpMkLst>
        </pc:grpChg>
        <pc:grpChg chg="del">
          <ac:chgData name="Paul LEGEARD" userId="73b5704d-da1d-4b70-8e12-6d54d32b01a3" providerId="ADAL" clId="{7E21ABAC-2CC9-43D2-B356-F36799891C85}" dt="2023-03-29T12:59:27.695" v="6948" actId="478"/>
          <ac:grpSpMkLst>
            <pc:docMk/>
            <pc:sldMk cId="2769979293" sldId="2147469791"/>
            <ac:grpSpMk id="26" creationId="{C4A0F7EC-09DD-8466-ADE0-711DAE54DAB1}"/>
          </ac:grpSpMkLst>
        </pc:grpChg>
        <pc:grpChg chg="del">
          <ac:chgData name="Paul LEGEARD" userId="73b5704d-da1d-4b70-8e12-6d54d32b01a3" providerId="ADAL" clId="{7E21ABAC-2CC9-43D2-B356-F36799891C85}" dt="2023-03-29T12:59:27.695" v="6948" actId="478"/>
          <ac:grpSpMkLst>
            <pc:docMk/>
            <pc:sldMk cId="2769979293" sldId="2147469791"/>
            <ac:grpSpMk id="30" creationId="{17E6B1B8-6550-28C3-37A6-5611838722A9}"/>
          </ac:grpSpMkLst>
        </pc:grpChg>
        <pc:grpChg chg="del">
          <ac:chgData name="Paul LEGEARD" userId="73b5704d-da1d-4b70-8e12-6d54d32b01a3" providerId="ADAL" clId="{7E21ABAC-2CC9-43D2-B356-F36799891C85}" dt="2023-03-29T12:59:27.695" v="6948" actId="478"/>
          <ac:grpSpMkLst>
            <pc:docMk/>
            <pc:sldMk cId="2769979293" sldId="2147469791"/>
            <ac:grpSpMk id="37" creationId="{353182B1-8FE4-A303-46FF-59C37A4820D9}"/>
          </ac:grpSpMkLst>
        </pc:grpChg>
        <pc:grpChg chg="add del mod">
          <ac:chgData name="Paul LEGEARD" userId="73b5704d-da1d-4b70-8e12-6d54d32b01a3" providerId="ADAL" clId="{7E21ABAC-2CC9-43D2-B356-F36799891C85}" dt="2023-03-29T13:06:46.987" v="7198" actId="478"/>
          <ac:grpSpMkLst>
            <pc:docMk/>
            <pc:sldMk cId="2769979293" sldId="2147469791"/>
            <ac:grpSpMk id="87" creationId="{30E1D38C-BA4A-B4DD-212E-8A9B9D68D532}"/>
          </ac:grpSpMkLst>
        </pc:grpChg>
        <pc:grpChg chg="mod">
          <ac:chgData name="Paul LEGEARD" userId="73b5704d-da1d-4b70-8e12-6d54d32b01a3" providerId="ADAL" clId="{7E21ABAC-2CC9-43D2-B356-F36799891C85}" dt="2023-03-29T13:06:42.977" v="7196"/>
          <ac:grpSpMkLst>
            <pc:docMk/>
            <pc:sldMk cId="2769979293" sldId="2147469791"/>
            <ac:grpSpMk id="88" creationId="{0F0A9025-6EEE-B2E7-B5D3-5936F659848E}"/>
          </ac:grpSpMkLst>
        </pc:grpChg>
        <pc:grpChg chg="mod">
          <ac:chgData name="Paul LEGEARD" userId="73b5704d-da1d-4b70-8e12-6d54d32b01a3" providerId="ADAL" clId="{7E21ABAC-2CC9-43D2-B356-F36799891C85}" dt="2023-03-29T13:06:42.977" v="7196"/>
          <ac:grpSpMkLst>
            <pc:docMk/>
            <pc:sldMk cId="2769979293" sldId="2147469791"/>
            <ac:grpSpMk id="89" creationId="{C6236063-A804-C61C-CA20-A0A87DF928B6}"/>
          </ac:grpSpMkLst>
        </pc:grpChg>
        <pc:grpChg chg="mod">
          <ac:chgData name="Paul LEGEARD" userId="73b5704d-da1d-4b70-8e12-6d54d32b01a3" providerId="ADAL" clId="{7E21ABAC-2CC9-43D2-B356-F36799891C85}" dt="2023-03-29T13:06:42.977" v="7196"/>
          <ac:grpSpMkLst>
            <pc:docMk/>
            <pc:sldMk cId="2769979293" sldId="2147469791"/>
            <ac:grpSpMk id="90" creationId="{1E992B3B-E0D5-39DC-2289-C92F5C07D31D}"/>
          </ac:grpSpMkLst>
        </pc:grpChg>
        <pc:grpChg chg="add del mod">
          <ac:chgData name="Paul LEGEARD" userId="73b5704d-da1d-4b70-8e12-6d54d32b01a3" providerId="ADAL" clId="{7E21ABAC-2CC9-43D2-B356-F36799891C85}" dt="2023-03-29T13:09:43.752" v="7240" actId="478"/>
          <ac:grpSpMkLst>
            <pc:docMk/>
            <pc:sldMk cId="2769979293" sldId="2147469791"/>
            <ac:grpSpMk id="134" creationId="{E475A90D-EF3A-59C3-666F-670AE8813463}"/>
          </ac:grpSpMkLst>
        </pc:grpChg>
        <pc:picChg chg="del">
          <ac:chgData name="Paul LEGEARD" userId="73b5704d-da1d-4b70-8e12-6d54d32b01a3" providerId="ADAL" clId="{7E21ABAC-2CC9-43D2-B356-F36799891C85}" dt="2023-03-29T12:59:27.695" v="6948" actId="478"/>
          <ac:picMkLst>
            <pc:docMk/>
            <pc:sldMk cId="2769979293" sldId="2147469791"/>
            <ac:picMk id="14" creationId="{880432EF-1FEE-8E5D-74D0-D2003B15C410}"/>
          </ac:picMkLst>
        </pc:picChg>
        <pc:picChg chg="del">
          <ac:chgData name="Paul LEGEARD" userId="73b5704d-da1d-4b70-8e12-6d54d32b01a3" providerId="ADAL" clId="{7E21ABAC-2CC9-43D2-B356-F36799891C85}" dt="2023-03-29T12:59:27.695" v="6948" actId="478"/>
          <ac:picMkLst>
            <pc:docMk/>
            <pc:sldMk cId="2769979293" sldId="2147469791"/>
            <ac:picMk id="25" creationId="{6879B1A4-005B-59BA-8135-8DB14116263B}"/>
          </ac:picMkLst>
        </pc:picChg>
        <pc:picChg chg="add del mod">
          <ac:chgData name="Paul LEGEARD" userId="73b5704d-da1d-4b70-8e12-6d54d32b01a3" providerId="ADAL" clId="{7E21ABAC-2CC9-43D2-B356-F36799891C85}" dt="2023-03-29T13:09:30.276" v="7234" actId="478"/>
          <ac:picMkLst>
            <pc:docMk/>
            <pc:sldMk cId="2769979293" sldId="2147469791"/>
            <ac:picMk id="132" creationId="{476A0E24-D754-62FD-E5B2-7492015FB2AD}"/>
          </ac:picMkLst>
        </pc:picChg>
        <pc:picChg chg="add del mod">
          <ac:chgData name="Paul LEGEARD" userId="73b5704d-da1d-4b70-8e12-6d54d32b01a3" providerId="ADAL" clId="{7E21ABAC-2CC9-43D2-B356-F36799891C85}" dt="2023-03-29T13:09:42.363" v="7238" actId="478"/>
          <ac:picMkLst>
            <pc:docMk/>
            <pc:sldMk cId="2769979293" sldId="2147469791"/>
            <ac:picMk id="133" creationId="{4E889364-DA3B-9453-7A89-9FDFDC24DCDF}"/>
          </ac:picMkLst>
        </pc:picChg>
        <pc:picChg chg="mod">
          <ac:chgData name="Paul LEGEARD" userId="73b5704d-da1d-4b70-8e12-6d54d32b01a3" providerId="ADAL" clId="{7E21ABAC-2CC9-43D2-B356-F36799891C85}" dt="2023-03-29T13:09:39.590" v="7236" actId="14100"/>
          <ac:picMkLst>
            <pc:docMk/>
            <pc:sldMk cId="2769979293" sldId="2147469791"/>
            <ac:picMk id="135" creationId="{AD5EE642-5A1F-F671-E143-A0C500847161}"/>
          </ac:picMkLst>
        </pc:picChg>
        <pc:picChg chg="add mod">
          <ac:chgData name="Paul LEGEARD" userId="73b5704d-da1d-4b70-8e12-6d54d32b01a3" providerId="ADAL" clId="{7E21ABAC-2CC9-43D2-B356-F36799891C85}" dt="2023-03-29T13:26:45.646" v="7776" actId="1076"/>
          <ac:picMkLst>
            <pc:docMk/>
            <pc:sldMk cId="2769979293" sldId="2147469791"/>
            <ac:picMk id="141" creationId="{E49D9D16-4426-3C20-4F46-9FAC8326D179}"/>
          </ac:picMkLst>
        </pc:picChg>
        <pc:picChg chg="add mod">
          <ac:chgData name="Paul LEGEARD" userId="73b5704d-da1d-4b70-8e12-6d54d32b01a3" providerId="ADAL" clId="{7E21ABAC-2CC9-43D2-B356-F36799891C85}" dt="2023-03-29T13:26:45.646" v="7776" actId="1076"/>
          <ac:picMkLst>
            <pc:docMk/>
            <pc:sldMk cId="2769979293" sldId="2147469791"/>
            <ac:picMk id="142" creationId="{45FAFBDC-5685-AFD1-03A1-0A6AA6CF6406}"/>
          </ac:picMkLst>
        </pc:picChg>
        <pc:picChg chg="add del mod">
          <ac:chgData name="Paul LEGEARD" userId="73b5704d-da1d-4b70-8e12-6d54d32b01a3" providerId="ADAL" clId="{7E21ABAC-2CC9-43D2-B356-F36799891C85}" dt="2023-03-29T13:13:18.342" v="7295" actId="478"/>
          <ac:picMkLst>
            <pc:docMk/>
            <pc:sldMk cId="2769979293" sldId="2147469791"/>
            <ac:picMk id="143" creationId="{629430FE-4FD0-49FA-FEC1-6408F6F2003C}"/>
          </ac:picMkLst>
        </pc:picChg>
        <pc:picChg chg="add mod">
          <ac:chgData name="Paul LEGEARD" userId="73b5704d-da1d-4b70-8e12-6d54d32b01a3" providerId="ADAL" clId="{7E21ABAC-2CC9-43D2-B356-F36799891C85}" dt="2023-03-29T13:26:45.646" v="7776" actId="1076"/>
          <ac:picMkLst>
            <pc:docMk/>
            <pc:sldMk cId="2769979293" sldId="2147469791"/>
            <ac:picMk id="146" creationId="{0BB30FC8-3396-FBF5-A34E-8BEEFD786295}"/>
          </ac:picMkLst>
        </pc:picChg>
        <pc:picChg chg="add mod">
          <ac:chgData name="Paul LEGEARD" userId="73b5704d-da1d-4b70-8e12-6d54d32b01a3" providerId="ADAL" clId="{7E21ABAC-2CC9-43D2-B356-F36799891C85}" dt="2023-03-29T13:26:45.646" v="7776" actId="1076"/>
          <ac:picMkLst>
            <pc:docMk/>
            <pc:sldMk cId="2769979293" sldId="2147469791"/>
            <ac:picMk id="147" creationId="{FB2B8F3E-F7C9-34DC-65A3-030C6E8718A3}"/>
          </ac:picMkLst>
        </pc:picChg>
        <pc:picChg chg="add mod">
          <ac:chgData name="Paul LEGEARD" userId="73b5704d-da1d-4b70-8e12-6d54d32b01a3" providerId="ADAL" clId="{7E21ABAC-2CC9-43D2-B356-F36799891C85}" dt="2023-03-29T13:26:45.646" v="7776" actId="1076"/>
          <ac:picMkLst>
            <pc:docMk/>
            <pc:sldMk cId="2769979293" sldId="2147469791"/>
            <ac:picMk id="148" creationId="{9C141399-9AB0-47B4-3A6E-EB2FF7510EBA}"/>
          </ac:picMkLst>
        </pc:picChg>
        <pc:picChg chg="add mod">
          <ac:chgData name="Paul LEGEARD" userId="73b5704d-da1d-4b70-8e12-6d54d32b01a3" providerId="ADAL" clId="{7E21ABAC-2CC9-43D2-B356-F36799891C85}" dt="2023-03-29T13:26:45.646" v="7776" actId="1076"/>
          <ac:picMkLst>
            <pc:docMk/>
            <pc:sldMk cId="2769979293" sldId="2147469791"/>
            <ac:picMk id="151" creationId="{8278D1E3-4BD3-D982-FBEE-FD2B594AF03B}"/>
          </ac:picMkLst>
        </pc:picChg>
        <pc:picChg chg="add del mod">
          <ac:chgData name="Paul LEGEARD" userId="73b5704d-da1d-4b70-8e12-6d54d32b01a3" providerId="ADAL" clId="{7E21ABAC-2CC9-43D2-B356-F36799891C85}" dt="2023-03-29T13:12:33.401" v="7289" actId="478"/>
          <ac:picMkLst>
            <pc:docMk/>
            <pc:sldMk cId="2769979293" sldId="2147469791"/>
            <ac:picMk id="152" creationId="{CB22B6F6-B3D0-A490-6909-930F125AF9BE}"/>
          </ac:picMkLst>
        </pc:picChg>
        <pc:picChg chg="add del mod">
          <ac:chgData name="Paul LEGEARD" userId="73b5704d-da1d-4b70-8e12-6d54d32b01a3" providerId="ADAL" clId="{7E21ABAC-2CC9-43D2-B356-F36799891C85}" dt="2023-03-29T13:12:27.918" v="7288" actId="478"/>
          <ac:picMkLst>
            <pc:docMk/>
            <pc:sldMk cId="2769979293" sldId="2147469791"/>
            <ac:picMk id="153" creationId="{83EC8EB1-7CFB-0008-0034-FD4346666E7F}"/>
          </ac:picMkLst>
        </pc:picChg>
        <pc:picChg chg="add mod">
          <ac:chgData name="Paul LEGEARD" userId="73b5704d-da1d-4b70-8e12-6d54d32b01a3" providerId="ADAL" clId="{7E21ABAC-2CC9-43D2-B356-F36799891C85}" dt="2023-03-29T13:26:45.646" v="7776" actId="1076"/>
          <ac:picMkLst>
            <pc:docMk/>
            <pc:sldMk cId="2769979293" sldId="2147469791"/>
            <ac:picMk id="158" creationId="{FF7FBEDA-56EB-AB09-897B-DF53BC3AD6B8}"/>
          </ac:picMkLst>
        </pc:picChg>
        <pc:picChg chg="add del mod">
          <ac:chgData name="Paul LEGEARD" userId="73b5704d-da1d-4b70-8e12-6d54d32b01a3" providerId="ADAL" clId="{7E21ABAC-2CC9-43D2-B356-F36799891C85}" dt="2023-03-29T13:15:16.331" v="7354" actId="478"/>
          <ac:picMkLst>
            <pc:docMk/>
            <pc:sldMk cId="2769979293" sldId="2147469791"/>
            <ac:picMk id="159" creationId="{CDD427F5-372F-2E46-0C4C-ABFFC1BFBE0B}"/>
          </ac:picMkLst>
        </pc:picChg>
        <pc:picChg chg="add del mod">
          <ac:chgData name="Paul LEGEARD" userId="73b5704d-da1d-4b70-8e12-6d54d32b01a3" providerId="ADAL" clId="{7E21ABAC-2CC9-43D2-B356-F36799891C85}" dt="2023-03-29T13:13:51.503" v="7319" actId="478"/>
          <ac:picMkLst>
            <pc:docMk/>
            <pc:sldMk cId="2769979293" sldId="2147469791"/>
            <ac:picMk id="160" creationId="{05AF36F5-7C64-3A47-0CDB-22096DEBD0A0}"/>
          </ac:picMkLst>
        </pc:picChg>
        <pc:picChg chg="add mod">
          <ac:chgData name="Paul LEGEARD" userId="73b5704d-da1d-4b70-8e12-6d54d32b01a3" providerId="ADAL" clId="{7E21ABAC-2CC9-43D2-B356-F36799891C85}" dt="2023-03-29T13:26:45.646" v="7776" actId="1076"/>
          <ac:picMkLst>
            <pc:docMk/>
            <pc:sldMk cId="2769979293" sldId="2147469791"/>
            <ac:picMk id="163" creationId="{CB9F5207-8D2D-9921-9CB3-F8E5056B9019}"/>
          </ac:picMkLst>
        </pc:picChg>
        <pc:picChg chg="add del mod">
          <ac:chgData name="Paul LEGEARD" userId="73b5704d-da1d-4b70-8e12-6d54d32b01a3" providerId="ADAL" clId="{7E21ABAC-2CC9-43D2-B356-F36799891C85}" dt="2023-03-29T13:15:15.737" v="7353" actId="478"/>
          <ac:picMkLst>
            <pc:docMk/>
            <pc:sldMk cId="2769979293" sldId="2147469791"/>
            <ac:picMk id="164" creationId="{5720A545-D524-0B61-ED28-098A6388AE25}"/>
          </ac:picMkLst>
        </pc:picChg>
        <pc:picChg chg="add del mod">
          <ac:chgData name="Paul LEGEARD" userId="73b5704d-da1d-4b70-8e12-6d54d32b01a3" providerId="ADAL" clId="{7E21ABAC-2CC9-43D2-B356-F36799891C85}" dt="2023-03-29T13:13:51.868" v="7320" actId="478"/>
          <ac:picMkLst>
            <pc:docMk/>
            <pc:sldMk cId="2769979293" sldId="2147469791"/>
            <ac:picMk id="165" creationId="{2E5D3545-EE28-33A4-E727-2EA89F733678}"/>
          </ac:picMkLst>
        </pc:picChg>
        <pc:picChg chg="add mod">
          <ac:chgData name="Paul LEGEARD" userId="73b5704d-da1d-4b70-8e12-6d54d32b01a3" providerId="ADAL" clId="{7E21ABAC-2CC9-43D2-B356-F36799891C85}" dt="2023-03-29T13:26:45.646" v="7776" actId="1076"/>
          <ac:picMkLst>
            <pc:docMk/>
            <pc:sldMk cId="2769979293" sldId="2147469791"/>
            <ac:picMk id="168" creationId="{91225404-ABF8-7DB5-F69A-A271A0EB821D}"/>
          </ac:picMkLst>
        </pc:picChg>
        <pc:picChg chg="add del mod">
          <ac:chgData name="Paul LEGEARD" userId="73b5704d-da1d-4b70-8e12-6d54d32b01a3" providerId="ADAL" clId="{7E21ABAC-2CC9-43D2-B356-F36799891C85}" dt="2023-03-29T13:13:53.090" v="7321" actId="478"/>
          <ac:picMkLst>
            <pc:docMk/>
            <pc:sldMk cId="2769979293" sldId="2147469791"/>
            <ac:picMk id="170" creationId="{70F5686D-5111-0B8B-8DE5-DA4C8D55C721}"/>
          </ac:picMkLst>
        </pc:picChg>
        <pc:picChg chg="add mod">
          <ac:chgData name="Paul LEGEARD" userId="73b5704d-da1d-4b70-8e12-6d54d32b01a3" providerId="ADAL" clId="{7E21ABAC-2CC9-43D2-B356-F36799891C85}" dt="2023-03-29T13:26:45.646" v="7776" actId="1076"/>
          <ac:picMkLst>
            <pc:docMk/>
            <pc:sldMk cId="2769979293" sldId="2147469791"/>
            <ac:picMk id="171" creationId="{88E7BC19-0AA1-9FDB-F27F-8582BC1BD00D}"/>
          </ac:picMkLst>
        </pc:picChg>
        <pc:picChg chg="add mod">
          <ac:chgData name="Paul LEGEARD" userId="73b5704d-da1d-4b70-8e12-6d54d32b01a3" providerId="ADAL" clId="{7E21ABAC-2CC9-43D2-B356-F36799891C85}" dt="2023-03-29T13:26:45.646" v="7776" actId="1076"/>
          <ac:picMkLst>
            <pc:docMk/>
            <pc:sldMk cId="2769979293" sldId="2147469791"/>
            <ac:picMk id="172" creationId="{AAA43C26-6C62-3DD7-D120-43DF22C78C42}"/>
          </ac:picMkLst>
        </pc:picChg>
        <pc:picChg chg="add del mod">
          <ac:chgData name="Paul LEGEARD" userId="73b5704d-da1d-4b70-8e12-6d54d32b01a3" providerId="ADAL" clId="{7E21ABAC-2CC9-43D2-B356-F36799891C85}" dt="2023-03-29T13:15:57.180" v="7391" actId="478"/>
          <ac:picMkLst>
            <pc:docMk/>
            <pc:sldMk cId="2769979293" sldId="2147469791"/>
            <ac:picMk id="176" creationId="{F54F7444-5EBE-8D98-2FAE-AD4D243FDB1A}"/>
          </ac:picMkLst>
        </pc:picChg>
        <pc:picChg chg="add mod">
          <ac:chgData name="Paul LEGEARD" userId="73b5704d-da1d-4b70-8e12-6d54d32b01a3" providerId="ADAL" clId="{7E21ABAC-2CC9-43D2-B356-F36799891C85}" dt="2023-03-29T13:26:45.646" v="7776" actId="1076"/>
          <ac:picMkLst>
            <pc:docMk/>
            <pc:sldMk cId="2769979293" sldId="2147469791"/>
            <ac:picMk id="179" creationId="{6DF83A38-CD7E-363C-A8F9-B2EFB85C803E}"/>
          </ac:picMkLst>
        </pc:picChg>
        <pc:picChg chg="add del mod">
          <ac:chgData name="Paul LEGEARD" userId="73b5704d-da1d-4b70-8e12-6d54d32b01a3" providerId="ADAL" clId="{7E21ABAC-2CC9-43D2-B356-F36799891C85}" dt="2023-03-29T13:16:59.492" v="7405" actId="478"/>
          <ac:picMkLst>
            <pc:docMk/>
            <pc:sldMk cId="2769979293" sldId="2147469791"/>
            <ac:picMk id="182" creationId="{5F7B0977-A68D-90AA-54DD-E497E37B744C}"/>
          </ac:picMkLst>
        </pc:picChg>
        <pc:picChg chg="add del mod">
          <ac:chgData name="Paul LEGEARD" userId="73b5704d-da1d-4b70-8e12-6d54d32b01a3" providerId="ADAL" clId="{7E21ABAC-2CC9-43D2-B356-F36799891C85}" dt="2023-03-29T13:16:11.622" v="7395" actId="478"/>
          <ac:picMkLst>
            <pc:docMk/>
            <pc:sldMk cId="2769979293" sldId="2147469791"/>
            <ac:picMk id="184" creationId="{A047BCAC-473A-4DDE-F6FA-FBAF56C24E5A}"/>
          </ac:picMkLst>
        </pc:picChg>
        <pc:picChg chg="add del mod">
          <ac:chgData name="Paul LEGEARD" userId="73b5704d-da1d-4b70-8e12-6d54d32b01a3" providerId="ADAL" clId="{7E21ABAC-2CC9-43D2-B356-F36799891C85}" dt="2023-03-29T13:16:44.390" v="7401" actId="478"/>
          <ac:picMkLst>
            <pc:docMk/>
            <pc:sldMk cId="2769979293" sldId="2147469791"/>
            <ac:picMk id="185" creationId="{14D04DB2-DEFF-8221-8F37-4F9F9DD79327}"/>
          </ac:picMkLst>
        </pc:picChg>
        <pc:picChg chg="add del mod">
          <ac:chgData name="Paul LEGEARD" userId="73b5704d-da1d-4b70-8e12-6d54d32b01a3" providerId="ADAL" clId="{7E21ABAC-2CC9-43D2-B356-F36799891C85}" dt="2023-03-29T13:16:45.369" v="7402" actId="478"/>
          <ac:picMkLst>
            <pc:docMk/>
            <pc:sldMk cId="2769979293" sldId="2147469791"/>
            <ac:picMk id="186" creationId="{5449297B-F329-FA51-36CE-581C70E815C7}"/>
          </ac:picMkLst>
        </pc:picChg>
        <pc:picChg chg="add mod">
          <ac:chgData name="Paul LEGEARD" userId="73b5704d-da1d-4b70-8e12-6d54d32b01a3" providerId="ADAL" clId="{7E21ABAC-2CC9-43D2-B356-F36799891C85}" dt="2023-03-29T13:26:45.646" v="7776" actId="1076"/>
          <ac:picMkLst>
            <pc:docMk/>
            <pc:sldMk cId="2769979293" sldId="2147469791"/>
            <ac:picMk id="187" creationId="{9C231DD0-2EF9-B217-A508-1E4BF684DA9C}"/>
          </ac:picMkLst>
        </pc:picChg>
        <pc:picChg chg="add mod">
          <ac:chgData name="Paul LEGEARD" userId="73b5704d-da1d-4b70-8e12-6d54d32b01a3" providerId="ADAL" clId="{7E21ABAC-2CC9-43D2-B356-F36799891C85}" dt="2023-03-29T13:26:45.646" v="7776" actId="1076"/>
          <ac:picMkLst>
            <pc:docMk/>
            <pc:sldMk cId="2769979293" sldId="2147469791"/>
            <ac:picMk id="188" creationId="{386E089D-7590-6C2A-B3AB-4FAC530DD1CF}"/>
          </ac:picMkLst>
        </pc:picChg>
        <pc:picChg chg="add mod">
          <ac:chgData name="Paul LEGEARD" userId="73b5704d-da1d-4b70-8e12-6d54d32b01a3" providerId="ADAL" clId="{7E21ABAC-2CC9-43D2-B356-F36799891C85}" dt="2023-03-29T13:26:45.646" v="7776" actId="1076"/>
          <ac:picMkLst>
            <pc:docMk/>
            <pc:sldMk cId="2769979293" sldId="2147469791"/>
            <ac:picMk id="1026" creationId="{4767ECA7-F504-0768-26F7-8B084DB01CA4}"/>
          </ac:picMkLst>
        </pc:picChg>
        <pc:picChg chg="add mod">
          <ac:chgData name="Paul LEGEARD" userId="73b5704d-da1d-4b70-8e12-6d54d32b01a3" providerId="ADAL" clId="{7E21ABAC-2CC9-43D2-B356-F36799891C85}" dt="2023-03-29T13:26:45.646" v="7776" actId="1076"/>
          <ac:picMkLst>
            <pc:docMk/>
            <pc:sldMk cId="2769979293" sldId="2147469791"/>
            <ac:picMk id="1028" creationId="{8A03887C-C009-CAF8-240D-ECFA4890FA78}"/>
          </ac:picMkLst>
        </pc:picChg>
        <pc:picChg chg="add mod">
          <ac:chgData name="Paul LEGEARD" userId="73b5704d-da1d-4b70-8e12-6d54d32b01a3" providerId="ADAL" clId="{7E21ABAC-2CC9-43D2-B356-F36799891C85}" dt="2023-03-29T13:26:45.646" v="7776" actId="1076"/>
          <ac:picMkLst>
            <pc:docMk/>
            <pc:sldMk cId="2769979293" sldId="2147469791"/>
            <ac:picMk id="1030" creationId="{DDD8F2FA-D58B-F506-3D95-945B3A68057F}"/>
          </ac:picMkLst>
        </pc:picChg>
        <pc:picChg chg="add mod">
          <ac:chgData name="Paul LEGEARD" userId="73b5704d-da1d-4b70-8e12-6d54d32b01a3" providerId="ADAL" clId="{7E21ABAC-2CC9-43D2-B356-F36799891C85}" dt="2023-03-29T13:26:45.646" v="7776" actId="1076"/>
          <ac:picMkLst>
            <pc:docMk/>
            <pc:sldMk cId="2769979293" sldId="2147469791"/>
            <ac:picMk id="1032" creationId="{56668B60-4C87-60D9-AA3D-273BE245FABB}"/>
          </ac:picMkLst>
        </pc:picChg>
      </pc:sldChg>
      <pc:sldChg chg="modSp add mod">
        <pc:chgData name="Paul LEGEARD" userId="73b5704d-da1d-4b70-8e12-6d54d32b01a3" providerId="ADAL" clId="{7E21ABAC-2CC9-43D2-B356-F36799891C85}" dt="2023-04-04T07:57:53.990" v="9600" actId="20577"/>
        <pc:sldMkLst>
          <pc:docMk/>
          <pc:sldMk cId="1474012493" sldId="2147469792"/>
        </pc:sldMkLst>
        <pc:spChg chg="mod">
          <ac:chgData name="Paul LEGEARD" userId="73b5704d-da1d-4b70-8e12-6d54d32b01a3" providerId="ADAL" clId="{7E21ABAC-2CC9-43D2-B356-F36799891C85}" dt="2023-04-04T07:57:53.990" v="9600" actId="20577"/>
          <ac:spMkLst>
            <pc:docMk/>
            <pc:sldMk cId="1474012493" sldId="2147469792"/>
            <ac:spMk id="5" creationId="{62EC2C63-67F0-42BF-BBD4-DB9781BF0F7F}"/>
          </ac:spMkLst>
        </pc:spChg>
      </pc:sldChg>
    </pc:docChg>
  </pc:docChgLst>
  <pc:docChgLst>
    <pc:chgData name="Paul LEGEARD" userId="S::paul.legeard_tribu-conseil.com#ext#@cacommun.onmicrosoft.com::d93005c4-da71-4b00-9907-059060be94dc" providerId="AD" clId="Web-{102AE393-A3B1-606C-0936-1A9CDC61927C}"/>
    <pc:docChg chg="modSld">
      <pc:chgData name="Paul LEGEARD" userId="S::paul.legeard_tribu-conseil.com#ext#@cacommun.onmicrosoft.com::d93005c4-da71-4b00-9907-059060be94dc" providerId="AD" clId="Web-{102AE393-A3B1-606C-0936-1A9CDC61927C}" dt="2023-06-17T09:26:09.838" v="23"/>
      <pc:docMkLst>
        <pc:docMk/>
      </pc:docMkLst>
      <pc:sldChg chg="modSp">
        <pc:chgData name="Paul LEGEARD" userId="S::paul.legeard_tribu-conseil.com#ext#@cacommun.onmicrosoft.com::d93005c4-da71-4b00-9907-059060be94dc" providerId="AD" clId="Web-{102AE393-A3B1-606C-0936-1A9CDC61927C}" dt="2023-06-17T09:26:09.838" v="23"/>
        <pc:sldMkLst>
          <pc:docMk/>
          <pc:sldMk cId="3600652313" sldId="2147471288"/>
        </pc:sldMkLst>
        <pc:graphicFrameChg chg="mod modGraphic">
          <ac:chgData name="Paul LEGEARD" userId="S::paul.legeard_tribu-conseil.com#ext#@cacommun.onmicrosoft.com::d93005c4-da71-4b00-9907-059060be94dc" providerId="AD" clId="Web-{102AE393-A3B1-606C-0936-1A9CDC61927C}" dt="2023-06-17T09:26:09.838" v="23"/>
          <ac:graphicFrameMkLst>
            <pc:docMk/>
            <pc:sldMk cId="3600652313" sldId="2147471288"/>
            <ac:graphicFrameMk id="9" creationId="{51239E48-7966-E664-CC13-42A971F8F844}"/>
          </ac:graphicFrameMkLst>
        </pc:graphicFrameChg>
      </pc:sldChg>
    </pc:docChg>
  </pc:docChgLst>
  <pc:docChgLst>
    <pc:chgData name="Paul LEGEARD" userId="73b5704d-da1d-4b70-8e12-6d54d32b01a3" providerId="ADAL" clId="{F1F059D9-6E4A-4A3F-96C5-D04E5D7097C3}"/>
    <pc:docChg chg="modSld">
      <pc:chgData name="Paul LEGEARD" userId="73b5704d-da1d-4b70-8e12-6d54d32b01a3" providerId="ADAL" clId="{F1F059D9-6E4A-4A3F-96C5-D04E5D7097C3}" dt="2023-04-06T12:05:47.514" v="0" actId="1036"/>
      <pc:docMkLst>
        <pc:docMk/>
      </pc:docMkLst>
      <pc:sldChg chg="modSp mod">
        <pc:chgData name="Paul LEGEARD" userId="73b5704d-da1d-4b70-8e12-6d54d32b01a3" providerId="ADAL" clId="{F1F059D9-6E4A-4A3F-96C5-D04E5D7097C3}" dt="2023-04-06T12:05:47.514" v="0" actId="1036"/>
        <pc:sldMkLst>
          <pc:docMk/>
          <pc:sldMk cId="2983749358" sldId="2147374879"/>
        </pc:sldMkLst>
        <pc:spChg chg="mod">
          <ac:chgData name="Paul LEGEARD" userId="73b5704d-da1d-4b70-8e12-6d54d32b01a3" providerId="ADAL" clId="{F1F059D9-6E4A-4A3F-96C5-D04E5D7097C3}" dt="2023-04-06T12:05:47.514" v="0" actId="1036"/>
          <ac:spMkLst>
            <pc:docMk/>
            <pc:sldMk cId="2983749358" sldId="2147374879"/>
            <ac:spMk id="79" creationId="{9007893F-DE3F-4277-8B72-135CF4773651}"/>
          </ac:spMkLst>
        </pc:spChg>
      </pc:sldChg>
    </pc:docChg>
  </pc:docChgLst>
  <pc:docChgLst>
    <pc:chgData name="Sabina PETRASHOVA" userId="S::sabina.petrashova_tribu-conseil.com#ext#@cacommun.onmicrosoft.com::130c87d6-a9a5-4581-a97a-ed5fb9af8a0e" providerId="AD" clId="Web-{40B07D3E-784A-4E91-BC9E-4A6E9873A82D}"/>
    <pc:docChg chg="addSld modSld">
      <pc:chgData name="Sabina PETRASHOVA" userId="S::sabina.petrashova_tribu-conseil.com#ext#@cacommun.onmicrosoft.com::130c87d6-a9a5-4581-a97a-ed5fb9af8a0e" providerId="AD" clId="Web-{40B07D3E-784A-4E91-BC9E-4A6E9873A82D}" dt="2023-09-18T11:56:13.416" v="2605"/>
      <pc:docMkLst>
        <pc:docMk/>
      </pc:docMkLst>
      <pc:sldChg chg="addSp delSp modSp">
        <pc:chgData name="Sabina PETRASHOVA" userId="S::sabina.petrashova_tribu-conseil.com#ext#@cacommun.onmicrosoft.com::130c87d6-a9a5-4581-a97a-ed5fb9af8a0e" providerId="AD" clId="Web-{40B07D3E-784A-4E91-BC9E-4A6E9873A82D}" dt="2023-09-18T11:51:00.828" v="2424" actId="20577"/>
        <pc:sldMkLst>
          <pc:docMk/>
          <pc:sldMk cId="1546576851" sldId="2147471315"/>
        </pc:sldMkLst>
        <pc:spChg chg="add del mod">
          <ac:chgData name="Sabina PETRASHOVA" userId="S::sabina.petrashova_tribu-conseil.com#ext#@cacommun.onmicrosoft.com::130c87d6-a9a5-4581-a97a-ed5fb9af8a0e" providerId="AD" clId="Web-{40B07D3E-784A-4E91-BC9E-4A6E9873A82D}" dt="2023-09-18T09:50:24.549" v="1818"/>
          <ac:spMkLst>
            <pc:docMk/>
            <pc:sldMk cId="1546576851" sldId="2147471315"/>
            <ac:spMk id="3" creationId="{A1611552-D9FA-5A07-8B72-8498D6989F64}"/>
          </ac:spMkLst>
        </pc:spChg>
        <pc:spChg chg="mod">
          <ac:chgData name="Sabina PETRASHOVA" userId="S::sabina.petrashova_tribu-conseil.com#ext#@cacommun.onmicrosoft.com::130c87d6-a9a5-4581-a97a-ed5fb9af8a0e" providerId="AD" clId="Web-{40B07D3E-784A-4E91-BC9E-4A6E9873A82D}" dt="2023-09-18T11:51:00.828" v="2424" actId="20577"/>
          <ac:spMkLst>
            <pc:docMk/>
            <pc:sldMk cId="1546576851" sldId="2147471315"/>
            <ac:spMk id="10" creationId="{8358D74C-4804-E26A-A663-A72EC1B44D29}"/>
          </ac:spMkLst>
        </pc:spChg>
      </pc:sldChg>
      <pc:sldChg chg="modSp">
        <pc:chgData name="Sabina PETRASHOVA" userId="S::sabina.petrashova_tribu-conseil.com#ext#@cacommun.onmicrosoft.com::130c87d6-a9a5-4581-a97a-ed5fb9af8a0e" providerId="AD" clId="Web-{40B07D3E-784A-4E91-BC9E-4A6E9873A82D}" dt="2023-09-18T07:12:31.744" v="0" actId="20577"/>
        <pc:sldMkLst>
          <pc:docMk/>
          <pc:sldMk cId="1420692517" sldId="2147471316"/>
        </pc:sldMkLst>
        <pc:spChg chg="mod">
          <ac:chgData name="Sabina PETRASHOVA" userId="S::sabina.petrashova_tribu-conseil.com#ext#@cacommun.onmicrosoft.com::130c87d6-a9a5-4581-a97a-ed5fb9af8a0e" providerId="AD" clId="Web-{40B07D3E-784A-4E91-BC9E-4A6E9873A82D}" dt="2023-09-18T07:12:31.744" v="0" actId="20577"/>
          <ac:spMkLst>
            <pc:docMk/>
            <pc:sldMk cId="1420692517" sldId="2147471316"/>
            <ac:spMk id="10" creationId="{8358D74C-4804-E26A-A663-A72EC1B44D29}"/>
          </ac:spMkLst>
        </pc:spChg>
      </pc:sldChg>
      <pc:sldChg chg="modSp">
        <pc:chgData name="Sabina PETRASHOVA" userId="S::sabina.petrashova_tribu-conseil.com#ext#@cacommun.onmicrosoft.com::130c87d6-a9a5-4581-a97a-ed5fb9af8a0e" providerId="AD" clId="Web-{40B07D3E-784A-4E91-BC9E-4A6E9873A82D}" dt="2023-09-18T08:54:14.188" v="194" actId="20577"/>
        <pc:sldMkLst>
          <pc:docMk/>
          <pc:sldMk cId="2232240678" sldId="2147471318"/>
        </pc:sldMkLst>
        <pc:spChg chg="mod">
          <ac:chgData name="Sabina PETRASHOVA" userId="S::sabina.petrashova_tribu-conseil.com#ext#@cacommun.onmicrosoft.com::130c87d6-a9a5-4581-a97a-ed5fb9af8a0e" providerId="AD" clId="Web-{40B07D3E-784A-4E91-BC9E-4A6E9873A82D}" dt="2023-09-18T08:54:14.188" v="194" actId="20577"/>
          <ac:spMkLst>
            <pc:docMk/>
            <pc:sldMk cId="2232240678" sldId="2147471318"/>
            <ac:spMk id="4" creationId="{6E6612E3-5657-D6B0-453A-F4D98E1651C4}"/>
          </ac:spMkLst>
        </pc:spChg>
      </pc:sldChg>
      <pc:sldChg chg="delSp modSp add replId">
        <pc:chgData name="Sabina PETRASHOVA" userId="S::sabina.petrashova_tribu-conseil.com#ext#@cacommun.onmicrosoft.com::130c87d6-a9a5-4581-a97a-ed5fb9af8a0e" providerId="AD" clId="Web-{40B07D3E-784A-4E91-BC9E-4A6E9873A82D}" dt="2023-09-18T10:08:20.452" v="2101" actId="20577"/>
        <pc:sldMkLst>
          <pc:docMk/>
          <pc:sldMk cId="2636854505" sldId="2147471319"/>
        </pc:sldMkLst>
        <pc:spChg chg="del mod">
          <ac:chgData name="Sabina PETRASHOVA" userId="S::sabina.petrashova_tribu-conseil.com#ext#@cacommun.onmicrosoft.com::130c87d6-a9a5-4581-a97a-ed5fb9af8a0e" providerId="AD" clId="Web-{40B07D3E-784A-4E91-BC9E-4A6E9873A82D}" dt="2023-09-18T09:51:16.208" v="1839"/>
          <ac:spMkLst>
            <pc:docMk/>
            <pc:sldMk cId="2636854505" sldId="2147471319"/>
            <ac:spMk id="3" creationId="{A1611552-D9FA-5A07-8B72-8498D6989F64}"/>
          </ac:spMkLst>
        </pc:spChg>
        <pc:spChg chg="mod">
          <ac:chgData name="Sabina PETRASHOVA" userId="S::sabina.petrashova_tribu-conseil.com#ext#@cacommun.onmicrosoft.com::130c87d6-a9a5-4581-a97a-ed5fb9af8a0e" providerId="AD" clId="Web-{40B07D3E-784A-4E91-BC9E-4A6E9873A82D}" dt="2023-09-18T10:08:20.452" v="2101" actId="20577"/>
          <ac:spMkLst>
            <pc:docMk/>
            <pc:sldMk cId="2636854505" sldId="2147471319"/>
            <ac:spMk id="10" creationId="{8358D74C-4804-E26A-A663-A72EC1B44D29}"/>
          </ac:spMkLst>
        </pc:spChg>
      </pc:sldChg>
      <pc:sldChg chg="modSp add replId">
        <pc:chgData name="Sabina PETRASHOVA" userId="S::sabina.petrashova_tribu-conseil.com#ext#@cacommun.onmicrosoft.com::130c87d6-a9a5-4581-a97a-ed5fb9af8a0e" providerId="AD" clId="Web-{40B07D3E-784A-4E91-BC9E-4A6E9873A82D}" dt="2023-09-18T10:13:56.866" v="2202" actId="20577"/>
        <pc:sldMkLst>
          <pc:docMk/>
          <pc:sldMk cId="3233450854" sldId="2147471320"/>
        </pc:sldMkLst>
        <pc:spChg chg="mod">
          <ac:chgData name="Sabina PETRASHOVA" userId="S::sabina.petrashova_tribu-conseil.com#ext#@cacommun.onmicrosoft.com::130c87d6-a9a5-4581-a97a-ed5fb9af8a0e" providerId="AD" clId="Web-{40B07D3E-784A-4E91-BC9E-4A6E9873A82D}" dt="2023-09-18T10:13:56.866" v="2202" actId="20577"/>
          <ac:spMkLst>
            <pc:docMk/>
            <pc:sldMk cId="3233450854" sldId="2147471320"/>
            <ac:spMk id="10" creationId="{8358D74C-4804-E26A-A663-A72EC1B44D29}"/>
          </ac:spMkLst>
        </pc:spChg>
      </pc:sldChg>
      <pc:sldChg chg="addSp delSp modSp new">
        <pc:chgData name="Sabina PETRASHOVA" userId="S::sabina.petrashova_tribu-conseil.com#ext#@cacommun.onmicrosoft.com::130c87d6-a9a5-4581-a97a-ed5fb9af8a0e" providerId="AD" clId="Web-{40B07D3E-784A-4E91-BC9E-4A6E9873A82D}" dt="2023-09-18T11:56:13.416" v="2605"/>
        <pc:sldMkLst>
          <pc:docMk/>
          <pc:sldMk cId="2817600707" sldId="2147471321"/>
        </pc:sldMkLst>
        <pc:spChg chg="mod">
          <ac:chgData name="Sabina PETRASHOVA" userId="S::sabina.petrashova_tribu-conseil.com#ext#@cacommun.onmicrosoft.com::130c87d6-a9a5-4581-a97a-ed5fb9af8a0e" providerId="AD" clId="Web-{40B07D3E-784A-4E91-BC9E-4A6E9873A82D}" dt="2023-09-18T11:46:36.133" v="2231" actId="1076"/>
          <ac:spMkLst>
            <pc:docMk/>
            <pc:sldMk cId="2817600707" sldId="2147471321"/>
            <ac:spMk id="2" creationId="{86E96E2E-3416-B7AF-69BC-1F4BC5A5D72A}"/>
          </ac:spMkLst>
        </pc:spChg>
        <pc:spChg chg="add del mod">
          <ac:chgData name="Sabina PETRASHOVA" userId="S::sabina.petrashova_tribu-conseil.com#ext#@cacommun.onmicrosoft.com::130c87d6-a9a5-4581-a97a-ed5fb9af8a0e" providerId="AD" clId="Web-{40B07D3E-784A-4E91-BC9E-4A6E9873A82D}" dt="2023-09-18T11:51:11.407" v="2430"/>
          <ac:spMkLst>
            <pc:docMk/>
            <pc:sldMk cId="2817600707" sldId="2147471321"/>
            <ac:spMk id="6" creationId="{B5576A69-B23D-A456-132F-F71CABB6C5ED}"/>
          </ac:spMkLst>
        </pc:spChg>
        <pc:spChg chg="add mod">
          <ac:chgData name="Sabina PETRASHOVA" userId="S::sabina.petrashova_tribu-conseil.com#ext#@cacommun.onmicrosoft.com::130c87d6-a9a5-4581-a97a-ed5fb9af8a0e" providerId="AD" clId="Web-{40B07D3E-784A-4E91-BC9E-4A6E9873A82D}" dt="2023-09-18T11:56:00.056" v="2595" actId="1076"/>
          <ac:spMkLst>
            <pc:docMk/>
            <pc:sldMk cId="2817600707" sldId="2147471321"/>
            <ac:spMk id="10" creationId="{76256144-891E-1863-F8A2-545D41208D47}"/>
          </ac:spMkLst>
        </pc:spChg>
        <pc:graphicFrameChg chg="add del mod modGraphic">
          <ac:chgData name="Sabina PETRASHOVA" userId="S::sabina.petrashova_tribu-conseil.com#ext#@cacommun.onmicrosoft.com::130c87d6-a9a5-4581-a97a-ed5fb9af8a0e" providerId="AD" clId="Web-{40B07D3E-784A-4E91-BC9E-4A6E9873A82D}" dt="2023-09-18T11:49:26.060" v="2419"/>
          <ac:graphicFrameMkLst>
            <pc:docMk/>
            <pc:sldMk cId="2817600707" sldId="2147471321"/>
            <ac:graphicFrameMk id="5" creationId="{E3FAD4EB-2E4F-11FD-9CF9-C02FEE2A5C48}"/>
          </ac:graphicFrameMkLst>
        </pc:graphicFrameChg>
        <pc:graphicFrameChg chg="add mod modGraphic">
          <ac:chgData name="Sabina PETRASHOVA" userId="S::sabina.petrashova_tribu-conseil.com#ext#@cacommun.onmicrosoft.com::130c87d6-a9a5-4581-a97a-ed5fb9af8a0e" providerId="AD" clId="Web-{40B07D3E-784A-4E91-BC9E-4A6E9873A82D}" dt="2023-09-18T11:56:13.416" v="2605"/>
          <ac:graphicFrameMkLst>
            <pc:docMk/>
            <pc:sldMk cId="2817600707" sldId="2147471321"/>
            <ac:graphicFrameMk id="8" creationId="{01846BB2-EE5F-34B2-37D2-7BBDA78FC326}"/>
          </ac:graphicFrameMkLst>
        </pc:graphicFrameChg>
      </pc:sldChg>
    </pc:docChg>
  </pc:docChgLst>
  <pc:docChgLst>
    <pc:chgData name="Sabina PETRASHOVA" userId="7d838aae-e6ab-4ec0-b04f-8f08a9482ebc" providerId="ADAL" clId="{C1847504-C51D-45E1-96BE-B0CE464851E6}"/>
    <pc:docChg chg="undo redo custSel addSld delSld modSld sldOrd">
      <pc:chgData name="Sabina PETRASHOVA" userId="7d838aae-e6ab-4ec0-b04f-8f08a9482ebc" providerId="ADAL" clId="{C1847504-C51D-45E1-96BE-B0CE464851E6}" dt="2023-09-29T14:19:35.949" v="39233" actId="20577"/>
      <pc:docMkLst>
        <pc:docMk/>
      </pc:docMkLst>
      <pc:sldChg chg="setBg">
        <pc:chgData name="Sabina PETRASHOVA" userId="7d838aae-e6ab-4ec0-b04f-8f08a9482ebc" providerId="ADAL" clId="{C1847504-C51D-45E1-96BE-B0CE464851E6}" dt="2023-09-26T15:02:32.810" v="28838"/>
        <pc:sldMkLst>
          <pc:docMk/>
          <pc:sldMk cId="1065887249" sldId="256"/>
        </pc:sldMkLst>
      </pc:sldChg>
      <pc:sldChg chg="modSp add del mod">
        <pc:chgData name="Sabina PETRASHOVA" userId="7d838aae-e6ab-4ec0-b04f-8f08a9482ebc" providerId="ADAL" clId="{C1847504-C51D-45E1-96BE-B0CE464851E6}" dt="2023-09-28T13:21:20.105" v="32351" actId="1076"/>
        <pc:sldMkLst>
          <pc:docMk/>
          <pc:sldMk cId="2177110135" sldId="2147471267"/>
        </pc:sldMkLst>
        <pc:spChg chg="mod">
          <ac:chgData name="Sabina PETRASHOVA" userId="7d838aae-e6ab-4ec0-b04f-8f08a9482ebc" providerId="ADAL" clId="{C1847504-C51D-45E1-96BE-B0CE464851E6}" dt="2023-09-28T13:19:14.964" v="32333" actId="1076"/>
          <ac:spMkLst>
            <pc:docMk/>
            <pc:sldMk cId="2177110135" sldId="2147471267"/>
            <ac:spMk id="26" creationId="{41A6CDF1-5FA4-2074-AFDB-8D93C47E8F90}"/>
          </ac:spMkLst>
        </pc:spChg>
        <pc:graphicFrameChg chg="mod modGraphic">
          <ac:chgData name="Sabina PETRASHOVA" userId="7d838aae-e6ab-4ec0-b04f-8f08a9482ebc" providerId="ADAL" clId="{C1847504-C51D-45E1-96BE-B0CE464851E6}" dt="2023-09-28T13:21:20.105" v="32351" actId="1076"/>
          <ac:graphicFrameMkLst>
            <pc:docMk/>
            <pc:sldMk cId="2177110135" sldId="2147471267"/>
            <ac:graphicFrameMk id="31" creationId="{DB0FFF77-4836-FB6F-BD7B-4F1D0096B34A}"/>
          </ac:graphicFrameMkLst>
        </pc:graphicFrameChg>
      </pc:sldChg>
      <pc:sldChg chg="modSp del mod ord">
        <pc:chgData name="Sabina PETRASHOVA" userId="7d838aae-e6ab-4ec0-b04f-8f08a9482ebc" providerId="ADAL" clId="{C1847504-C51D-45E1-96BE-B0CE464851E6}" dt="2023-09-22T12:50:21.287" v="18873" actId="2696"/>
        <pc:sldMkLst>
          <pc:docMk/>
          <pc:sldMk cId="3813276438" sldId="2147471286"/>
        </pc:sldMkLst>
        <pc:picChg chg="mod">
          <ac:chgData name="Sabina PETRASHOVA" userId="7d838aae-e6ab-4ec0-b04f-8f08a9482ebc" providerId="ADAL" clId="{C1847504-C51D-45E1-96BE-B0CE464851E6}" dt="2023-09-22T12:42:48.225" v="18773" actId="1076"/>
          <ac:picMkLst>
            <pc:docMk/>
            <pc:sldMk cId="3813276438" sldId="2147471286"/>
            <ac:picMk id="13" creationId="{EF490FB7-FC0E-4A3A-DE8F-43B1D37F180E}"/>
          </ac:picMkLst>
        </pc:picChg>
      </pc:sldChg>
      <pc:sldChg chg="modSp mod">
        <pc:chgData name="Sabina PETRASHOVA" userId="7d838aae-e6ab-4ec0-b04f-8f08a9482ebc" providerId="ADAL" clId="{C1847504-C51D-45E1-96BE-B0CE464851E6}" dt="2023-09-26T15:03:35.359" v="28852" actId="1076"/>
        <pc:sldMkLst>
          <pc:docMk/>
          <pc:sldMk cId="676178199" sldId="2147471308"/>
        </pc:sldMkLst>
        <pc:spChg chg="mod">
          <ac:chgData name="Sabina PETRASHOVA" userId="7d838aae-e6ab-4ec0-b04f-8f08a9482ebc" providerId="ADAL" clId="{C1847504-C51D-45E1-96BE-B0CE464851E6}" dt="2023-09-26T15:03:15.751" v="28851" actId="1036"/>
          <ac:spMkLst>
            <pc:docMk/>
            <pc:sldMk cId="676178199" sldId="2147471308"/>
            <ac:spMk id="4" creationId="{4AE1A105-2898-BA5A-3B25-87E86FB37126}"/>
          </ac:spMkLst>
        </pc:spChg>
        <pc:spChg chg="mod">
          <ac:chgData name="Sabina PETRASHOVA" userId="7d838aae-e6ab-4ec0-b04f-8f08a9482ebc" providerId="ADAL" clId="{C1847504-C51D-45E1-96BE-B0CE464851E6}" dt="2023-09-22T15:43:22.679" v="21914" actId="552"/>
          <ac:spMkLst>
            <pc:docMk/>
            <pc:sldMk cId="676178199" sldId="2147471308"/>
            <ac:spMk id="10" creationId="{8358D74C-4804-E26A-A663-A72EC1B44D29}"/>
          </ac:spMkLst>
        </pc:spChg>
        <pc:spChg chg="mod">
          <ac:chgData name="Sabina PETRASHOVA" userId="7d838aae-e6ab-4ec0-b04f-8f08a9482ebc" providerId="ADAL" clId="{C1847504-C51D-45E1-96BE-B0CE464851E6}" dt="2023-09-22T15:43:22.679" v="21914" actId="552"/>
          <ac:spMkLst>
            <pc:docMk/>
            <pc:sldMk cId="676178199" sldId="2147471308"/>
            <ac:spMk id="79" creationId="{9007893F-DE3F-4277-8B72-135CF4773651}"/>
          </ac:spMkLst>
        </pc:spChg>
        <pc:picChg chg="mod">
          <ac:chgData name="Sabina PETRASHOVA" userId="7d838aae-e6ab-4ec0-b04f-8f08a9482ebc" providerId="ADAL" clId="{C1847504-C51D-45E1-96BE-B0CE464851E6}" dt="2023-09-26T15:03:35.359" v="28852" actId="1076"/>
          <ac:picMkLst>
            <pc:docMk/>
            <pc:sldMk cId="676178199" sldId="2147471308"/>
            <ac:picMk id="5" creationId="{685B0B03-5794-2B51-8A20-874FA134BDD4}"/>
          </ac:picMkLst>
        </pc:picChg>
      </pc:sldChg>
      <pc:sldChg chg="del">
        <pc:chgData name="Sabina PETRASHOVA" userId="7d838aae-e6ab-4ec0-b04f-8f08a9482ebc" providerId="ADAL" clId="{C1847504-C51D-45E1-96BE-B0CE464851E6}" dt="2023-09-19T20:26:43.013" v="15433" actId="2696"/>
        <pc:sldMkLst>
          <pc:docMk/>
          <pc:sldMk cId="3810706850" sldId="2147471309"/>
        </pc:sldMkLst>
      </pc:sldChg>
      <pc:sldChg chg="del">
        <pc:chgData name="Sabina PETRASHOVA" userId="7d838aae-e6ab-4ec0-b04f-8f08a9482ebc" providerId="ADAL" clId="{C1847504-C51D-45E1-96BE-B0CE464851E6}" dt="2023-09-18T12:39:14.936" v="4388" actId="2696"/>
        <pc:sldMkLst>
          <pc:docMk/>
          <pc:sldMk cId="1546576851" sldId="2147471315"/>
        </pc:sldMkLst>
      </pc:sldChg>
      <pc:sldChg chg="addSp delSp modSp mod ord modCm">
        <pc:chgData name="Sabina PETRASHOVA" userId="7d838aae-e6ab-4ec0-b04f-8f08a9482ebc" providerId="ADAL" clId="{C1847504-C51D-45E1-96BE-B0CE464851E6}" dt="2023-09-28T09:02:01.968" v="30371"/>
        <pc:sldMkLst>
          <pc:docMk/>
          <pc:sldMk cId="1420692517" sldId="2147471316"/>
        </pc:sldMkLst>
        <pc:spChg chg="add del mod">
          <ac:chgData name="Sabina PETRASHOVA" userId="7d838aae-e6ab-4ec0-b04f-8f08a9482ebc" providerId="ADAL" clId="{C1847504-C51D-45E1-96BE-B0CE464851E6}" dt="2023-09-18T14:54:54.158" v="8621" actId="478"/>
          <ac:spMkLst>
            <pc:docMk/>
            <pc:sldMk cId="1420692517" sldId="2147471316"/>
            <ac:spMk id="3" creationId="{42632616-D237-5C34-650A-83B88F870F55}"/>
          </ac:spMkLst>
        </pc:spChg>
        <pc:spChg chg="add del mod">
          <ac:chgData name="Sabina PETRASHOVA" userId="7d838aae-e6ab-4ec0-b04f-8f08a9482ebc" providerId="ADAL" clId="{C1847504-C51D-45E1-96BE-B0CE464851E6}" dt="2023-09-18T14:59:01.265" v="8639" actId="478"/>
          <ac:spMkLst>
            <pc:docMk/>
            <pc:sldMk cId="1420692517" sldId="2147471316"/>
            <ac:spMk id="5" creationId="{49DA9C6E-C426-799F-A08A-95CAF7BBC363}"/>
          </ac:spMkLst>
        </pc:spChg>
        <pc:spChg chg="add mod ord">
          <ac:chgData name="Sabina PETRASHOVA" userId="7d838aae-e6ab-4ec0-b04f-8f08a9482ebc" providerId="ADAL" clId="{C1847504-C51D-45E1-96BE-B0CE464851E6}" dt="2023-09-22T12:20:41.507" v="18403" actId="1035"/>
          <ac:spMkLst>
            <pc:docMk/>
            <pc:sldMk cId="1420692517" sldId="2147471316"/>
            <ac:spMk id="5" creationId="{81AC9D26-7E3B-0FA5-C6CA-4BBF1968E37A}"/>
          </ac:spMkLst>
        </pc:spChg>
        <pc:spChg chg="add mod ord">
          <ac:chgData name="Sabina PETRASHOVA" userId="7d838aae-e6ab-4ec0-b04f-8f08a9482ebc" providerId="ADAL" clId="{C1847504-C51D-45E1-96BE-B0CE464851E6}" dt="2023-09-25T12:03:10.322" v="22299" actId="1076"/>
          <ac:spMkLst>
            <pc:docMk/>
            <pc:sldMk cId="1420692517" sldId="2147471316"/>
            <ac:spMk id="6" creationId="{B8BD6F09-303A-2630-1A5F-CD0F0E51BCD3}"/>
          </ac:spMkLst>
        </pc:spChg>
        <pc:spChg chg="add mod">
          <ac:chgData name="Sabina PETRASHOVA" userId="7d838aae-e6ab-4ec0-b04f-8f08a9482ebc" providerId="ADAL" clId="{C1847504-C51D-45E1-96BE-B0CE464851E6}" dt="2023-09-28T08:04:40.566" v="29875" actId="20577"/>
          <ac:spMkLst>
            <pc:docMk/>
            <pc:sldMk cId="1420692517" sldId="2147471316"/>
            <ac:spMk id="7" creationId="{A300BE7B-B721-1C06-05A5-6304E336EA99}"/>
          </ac:spMkLst>
        </pc:spChg>
        <pc:spChg chg="add mod ord">
          <ac:chgData name="Sabina PETRASHOVA" userId="7d838aae-e6ab-4ec0-b04f-8f08a9482ebc" providerId="ADAL" clId="{C1847504-C51D-45E1-96BE-B0CE464851E6}" dt="2023-09-25T12:02:51.839" v="22296" actId="108"/>
          <ac:spMkLst>
            <pc:docMk/>
            <pc:sldMk cId="1420692517" sldId="2147471316"/>
            <ac:spMk id="8" creationId="{84956CD2-7EF6-572C-637B-E07F903D9F7C}"/>
          </ac:spMkLst>
        </pc:spChg>
        <pc:spChg chg="del mod">
          <ac:chgData name="Sabina PETRASHOVA" userId="7d838aae-e6ab-4ec0-b04f-8f08a9482ebc" providerId="ADAL" clId="{C1847504-C51D-45E1-96BE-B0CE464851E6}" dt="2023-09-18T14:58:19.865" v="8633" actId="478"/>
          <ac:spMkLst>
            <pc:docMk/>
            <pc:sldMk cId="1420692517" sldId="2147471316"/>
            <ac:spMk id="10" creationId="{8358D74C-4804-E26A-A663-A72EC1B44D29}"/>
          </ac:spMkLst>
        </pc:spChg>
        <pc:spChg chg="add del mod">
          <ac:chgData name="Sabina PETRASHOVA" userId="7d838aae-e6ab-4ec0-b04f-8f08a9482ebc" providerId="ADAL" clId="{C1847504-C51D-45E1-96BE-B0CE464851E6}" dt="2023-09-18T15:10:13.079" v="9188" actId="478"/>
          <ac:spMkLst>
            <pc:docMk/>
            <pc:sldMk cId="1420692517" sldId="2147471316"/>
            <ac:spMk id="11" creationId="{1C7E0FCB-C7F0-3DFE-E4C2-E983F9DEA3DE}"/>
          </ac:spMkLst>
        </pc:spChg>
        <pc:spChg chg="add del mod">
          <ac:chgData name="Sabina PETRASHOVA" userId="7d838aae-e6ab-4ec0-b04f-8f08a9482ebc" providerId="ADAL" clId="{C1847504-C51D-45E1-96BE-B0CE464851E6}" dt="2023-09-18T15:27:56.792" v="9879" actId="478"/>
          <ac:spMkLst>
            <pc:docMk/>
            <pc:sldMk cId="1420692517" sldId="2147471316"/>
            <ac:spMk id="13" creationId="{39DBC130-14D7-7E83-E437-977B042C89DB}"/>
          </ac:spMkLst>
        </pc:spChg>
        <pc:spChg chg="add mod">
          <ac:chgData name="Sabina PETRASHOVA" userId="7d838aae-e6ab-4ec0-b04f-8f08a9482ebc" providerId="ADAL" clId="{C1847504-C51D-45E1-96BE-B0CE464851E6}" dt="2023-09-22T12:43:18.753" v="18777" actId="108"/>
          <ac:spMkLst>
            <pc:docMk/>
            <pc:sldMk cId="1420692517" sldId="2147471316"/>
            <ac:spMk id="14" creationId="{7A957847-4A36-2497-0C70-2532420EB71A}"/>
          </ac:spMkLst>
        </pc:spChg>
        <pc:spChg chg="add mod">
          <ac:chgData name="Sabina PETRASHOVA" userId="7d838aae-e6ab-4ec0-b04f-8f08a9482ebc" providerId="ADAL" clId="{C1847504-C51D-45E1-96BE-B0CE464851E6}" dt="2023-09-22T12:20:41.507" v="18403" actId="1035"/>
          <ac:spMkLst>
            <pc:docMk/>
            <pc:sldMk cId="1420692517" sldId="2147471316"/>
            <ac:spMk id="15" creationId="{BD001DDC-69C4-4C24-CF1B-8467C92078A7}"/>
          </ac:spMkLst>
        </pc:spChg>
        <pc:spChg chg="add mod">
          <ac:chgData name="Sabina PETRASHOVA" userId="7d838aae-e6ab-4ec0-b04f-8f08a9482ebc" providerId="ADAL" clId="{C1847504-C51D-45E1-96BE-B0CE464851E6}" dt="2023-09-22T12:20:41.507" v="18403" actId="1035"/>
          <ac:spMkLst>
            <pc:docMk/>
            <pc:sldMk cId="1420692517" sldId="2147471316"/>
            <ac:spMk id="16" creationId="{A195F156-A779-108C-5F80-99E82A6B3374}"/>
          </ac:spMkLst>
        </pc:spChg>
        <pc:spChg chg="add del mod">
          <ac:chgData name="Sabina PETRASHOVA" userId="7d838aae-e6ab-4ec0-b04f-8f08a9482ebc" providerId="ADAL" clId="{C1847504-C51D-45E1-96BE-B0CE464851E6}" dt="2023-09-19T15:31:14.409" v="10759" actId="478"/>
          <ac:spMkLst>
            <pc:docMk/>
            <pc:sldMk cId="1420692517" sldId="2147471316"/>
            <ac:spMk id="23" creationId="{C23DD0AF-B617-5E74-AD5F-F7B4818EC189}"/>
          </ac:spMkLst>
        </pc:spChg>
        <pc:spChg chg="add del mod">
          <ac:chgData name="Sabina PETRASHOVA" userId="7d838aae-e6ab-4ec0-b04f-8f08a9482ebc" providerId="ADAL" clId="{C1847504-C51D-45E1-96BE-B0CE464851E6}" dt="2023-09-19T15:31:19.273" v="10761" actId="478"/>
          <ac:spMkLst>
            <pc:docMk/>
            <pc:sldMk cId="1420692517" sldId="2147471316"/>
            <ac:spMk id="24" creationId="{AC00D935-BA76-4EA6-4C59-BE3DDDC89ABA}"/>
          </ac:spMkLst>
        </pc:spChg>
        <pc:spChg chg="add del mod">
          <ac:chgData name="Sabina PETRASHOVA" userId="7d838aae-e6ab-4ec0-b04f-8f08a9482ebc" providerId="ADAL" clId="{C1847504-C51D-45E1-96BE-B0CE464851E6}" dt="2023-09-19T15:31:16.784" v="10760" actId="478"/>
          <ac:spMkLst>
            <pc:docMk/>
            <pc:sldMk cId="1420692517" sldId="2147471316"/>
            <ac:spMk id="25" creationId="{77770F30-446F-11A0-C891-AE1D5AE02208}"/>
          </ac:spMkLst>
        </pc:spChg>
        <pc:spChg chg="add mod">
          <ac:chgData name="Sabina PETRASHOVA" userId="7d838aae-e6ab-4ec0-b04f-8f08a9482ebc" providerId="ADAL" clId="{C1847504-C51D-45E1-96BE-B0CE464851E6}" dt="2023-09-22T12:43:30.128" v="18778" actId="207"/>
          <ac:spMkLst>
            <pc:docMk/>
            <pc:sldMk cId="1420692517" sldId="2147471316"/>
            <ac:spMk id="26" creationId="{E19C7E1A-A494-6C11-83CF-6870E6EA1689}"/>
          </ac:spMkLst>
        </pc:spChg>
        <pc:spChg chg="add del mod">
          <ac:chgData name="Sabina PETRASHOVA" userId="7d838aae-e6ab-4ec0-b04f-8f08a9482ebc" providerId="ADAL" clId="{C1847504-C51D-45E1-96BE-B0CE464851E6}" dt="2023-09-25T11:57:39.631" v="22286" actId="478"/>
          <ac:spMkLst>
            <pc:docMk/>
            <pc:sldMk cId="1420692517" sldId="2147471316"/>
            <ac:spMk id="27" creationId="{468AE9A0-13AA-701B-52B5-3317E44C0BDB}"/>
          </ac:spMkLst>
        </pc:spChg>
        <pc:spChg chg="add del mod">
          <ac:chgData name="Sabina PETRASHOVA" userId="7d838aae-e6ab-4ec0-b04f-8f08a9482ebc" providerId="ADAL" clId="{C1847504-C51D-45E1-96BE-B0CE464851E6}" dt="2023-09-25T11:58:11.079" v="22290" actId="478"/>
          <ac:spMkLst>
            <pc:docMk/>
            <pc:sldMk cId="1420692517" sldId="2147471316"/>
            <ac:spMk id="28" creationId="{7C52930E-44ED-E598-EA54-24F88E3EFE28}"/>
          </ac:spMkLst>
        </pc:spChg>
        <pc:spChg chg="add del mod ord">
          <ac:chgData name="Sabina PETRASHOVA" userId="7d838aae-e6ab-4ec0-b04f-8f08a9482ebc" providerId="ADAL" clId="{C1847504-C51D-45E1-96BE-B0CE464851E6}" dt="2023-09-18T15:47:02.635" v="10226" actId="11529"/>
          <ac:spMkLst>
            <pc:docMk/>
            <pc:sldMk cId="1420692517" sldId="2147471316"/>
            <ac:spMk id="29" creationId="{2CECB2D9-A322-46CB-E893-91671BF1A08D}"/>
          </ac:spMkLst>
        </pc:spChg>
        <pc:spChg chg="add del mod">
          <ac:chgData name="Sabina PETRASHOVA" userId="7d838aae-e6ab-4ec0-b04f-8f08a9482ebc" providerId="ADAL" clId="{C1847504-C51D-45E1-96BE-B0CE464851E6}" dt="2023-09-18T15:47:00.811" v="10223"/>
          <ac:spMkLst>
            <pc:docMk/>
            <pc:sldMk cId="1420692517" sldId="2147471316"/>
            <ac:spMk id="30" creationId="{37F0D279-F97D-4768-479A-185EFEB37E7C}"/>
          </ac:spMkLst>
        </pc:spChg>
        <pc:spChg chg="mod">
          <ac:chgData name="Sabina PETRASHOVA" userId="7d838aae-e6ab-4ec0-b04f-8f08a9482ebc" providerId="ADAL" clId="{C1847504-C51D-45E1-96BE-B0CE464851E6}" dt="2023-09-22T15:44:05.513" v="21919" actId="552"/>
          <ac:spMkLst>
            <pc:docMk/>
            <pc:sldMk cId="1420692517" sldId="2147471316"/>
            <ac:spMk id="79" creationId="{9007893F-DE3F-4277-8B72-135CF4773651}"/>
          </ac:spMkLst>
        </pc:spChg>
        <pc:picChg chg="add del mod">
          <ac:chgData name="Sabina PETRASHOVA" userId="7d838aae-e6ab-4ec0-b04f-8f08a9482ebc" providerId="ADAL" clId="{C1847504-C51D-45E1-96BE-B0CE464851E6}" dt="2023-09-18T15:11:07.398" v="9196" actId="478"/>
          <ac:picMkLst>
            <pc:docMk/>
            <pc:sldMk cId="1420692517" sldId="2147471316"/>
            <ac:picMk id="9" creationId="{999679BD-DCDD-5920-FDD6-27577653F6F0}"/>
          </ac:picMkLst>
        </pc:picChg>
        <pc:picChg chg="add del mod">
          <ac:chgData name="Sabina PETRASHOVA" userId="7d838aae-e6ab-4ec0-b04f-8f08a9482ebc" providerId="ADAL" clId="{C1847504-C51D-45E1-96BE-B0CE464851E6}" dt="2023-09-18T15:42:27.577" v="9888" actId="478"/>
          <ac:picMkLst>
            <pc:docMk/>
            <pc:sldMk cId="1420692517" sldId="2147471316"/>
            <ac:picMk id="18" creationId="{06FF972E-5559-D4D0-9430-E6D5A2F2AA40}"/>
          </ac:picMkLst>
        </pc:picChg>
        <pc:picChg chg="add del mod">
          <ac:chgData name="Sabina PETRASHOVA" userId="7d838aae-e6ab-4ec0-b04f-8f08a9482ebc" providerId="ADAL" clId="{C1847504-C51D-45E1-96BE-B0CE464851E6}" dt="2023-09-18T15:42:29.453" v="9889" actId="478"/>
          <ac:picMkLst>
            <pc:docMk/>
            <pc:sldMk cId="1420692517" sldId="2147471316"/>
            <ac:picMk id="20" creationId="{2ECA875F-BD18-CA22-54AC-656B2AB3848B}"/>
          </ac:picMkLst>
        </pc:picChg>
        <pc:picChg chg="add del mod">
          <ac:chgData name="Sabina PETRASHOVA" userId="7d838aae-e6ab-4ec0-b04f-8f08a9482ebc" providerId="ADAL" clId="{C1847504-C51D-45E1-96BE-B0CE464851E6}" dt="2023-09-18T15:42:30.819" v="9890" actId="478"/>
          <ac:picMkLst>
            <pc:docMk/>
            <pc:sldMk cId="1420692517" sldId="2147471316"/>
            <ac:picMk id="22" creationId="{5950566F-3747-CA6B-4A76-BA6D33B129F4}"/>
          </ac:picMkLst>
        </pc:picChg>
        <pc:cxnChg chg="add del mod">
          <ac:chgData name="Sabina PETRASHOVA" userId="7d838aae-e6ab-4ec0-b04f-8f08a9482ebc" providerId="ADAL" clId="{C1847504-C51D-45E1-96BE-B0CE464851E6}" dt="2023-09-22T12:16:53.099" v="18344" actId="478"/>
          <ac:cxnSpMkLst>
            <pc:docMk/>
            <pc:sldMk cId="1420692517" sldId="2147471316"/>
            <ac:cxnSpMk id="32" creationId="{11C64EC9-4804-2C9A-B301-D23CD1E118AA}"/>
          </ac:cxnSpMkLst>
        </pc:cxnChg>
        <pc:cxnChg chg="add del mod">
          <ac:chgData name="Sabina PETRASHOVA" userId="7d838aae-e6ab-4ec0-b04f-8f08a9482ebc" providerId="ADAL" clId="{C1847504-C51D-45E1-96BE-B0CE464851E6}" dt="2023-09-22T12:16:50.914" v="18343" actId="478"/>
          <ac:cxnSpMkLst>
            <pc:docMk/>
            <pc:sldMk cId="1420692517" sldId="2147471316"/>
            <ac:cxnSpMk id="33" creationId="{63A75C8B-936D-D7A5-8125-3907D2FAA865}"/>
          </ac:cxnSpMkLst>
        </pc:cxnChg>
        <pc:cxnChg chg="add del mod">
          <ac:chgData name="Sabina PETRASHOVA" userId="7d838aae-e6ab-4ec0-b04f-8f08a9482ebc" providerId="ADAL" clId="{C1847504-C51D-45E1-96BE-B0CE464851E6}" dt="2023-09-22T12:16:48.693" v="18342" actId="478"/>
          <ac:cxnSpMkLst>
            <pc:docMk/>
            <pc:sldMk cId="1420692517" sldId="2147471316"/>
            <ac:cxnSpMk id="34" creationId="{9333E3B3-EE73-D8F7-43F2-865B83BAD5BE}"/>
          </ac:cxnSpMkLst>
        </pc:cxn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09:01:58.059" v="30370"/>
              <pc2:cmMkLst xmlns:pc2="http://schemas.microsoft.com/office/powerpoint/2019/9/main/command">
                <pc:docMk/>
                <pc:sldMk cId="1420692517" sldId="2147471316"/>
                <pc2:cmMk id="{BA94152C-926C-470D-8CA6-52BF672A0DDD}"/>
              </pc2:cmMkLst>
            </pc226:cmChg>
            <pc226:cmChg xmlns:pc226="http://schemas.microsoft.com/office/powerpoint/2022/06/main/command" chg="mod modRxn">
              <pc226:chgData name="Sabina PETRASHOVA" userId="7d838aae-e6ab-4ec0-b04f-8f08a9482ebc" providerId="ADAL" clId="{C1847504-C51D-45E1-96BE-B0CE464851E6}" dt="2023-09-28T09:02:01.968" v="30371"/>
              <pc2:cmMkLst xmlns:pc2="http://schemas.microsoft.com/office/powerpoint/2019/9/main/command">
                <pc:docMk/>
                <pc:sldMk cId="1420692517" sldId="2147471316"/>
                <pc2:cmMk id="{F84B655C-23B5-47ED-BFDC-EB5CBC59EE90}"/>
              </pc2:cmMkLst>
            </pc226:cmChg>
          </p:ext>
        </pc:extLst>
      </pc:sldChg>
      <pc:sldChg chg="addSp delSp modSp add mod ord">
        <pc:chgData name="Sabina PETRASHOVA" userId="7d838aae-e6ab-4ec0-b04f-8f08a9482ebc" providerId="ADAL" clId="{C1847504-C51D-45E1-96BE-B0CE464851E6}" dt="2023-09-19T21:02:40.709" v="15641" actId="20577"/>
        <pc:sldMkLst>
          <pc:docMk/>
          <pc:sldMk cId="4190501591" sldId="2147471317"/>
        </pc:sldMkLst>
        <pc:spChg chg="add del mod">
          <ac:chgData name="Sabina PETRASHOVA" userId="7d838aae-e6ab-4ec0-b04f-8f08a9482ebc" providerId="ADAL" clId="{C1847504-C51D-45E1-96BE-B0CE464851E6}" dt="2023-09-19T16:11:43.804" v="10917" actId="478"/>
          <ac:spMkLst>
            <pc:docMk/>
            <pc:sldMk cId="4190501591" sldId="2147471317"/>
            <ac:spMk id="3" creationId="{3675EC4C-CA2E-7A59-2E23-BC6B5F0F0028}"/>
          </ac:spMkLst>
        </pc:spChg>
        <pc:spChg chg="add mod">
          <ac:chgData name="Sabina PETRASHOVA" userId="7d838aae-e6ab-4ec0-b04f-8f08a9482ebc" providerId="ADAL" clId="{C1847504-C51D-45E1-96BE-B0CE464851E6}" dt="2023-09-19T20:28:06.523" v="15440" actId="113"/>
          <ac:spMkLst>
            <pc:docMk/>
            <pc:sldMk cId="4190501591" sldId="2147471317"/>
            <ac:spMk id="4" creationId="{CDF34CA7-3805-0EC4-601B-88B120103834}"/>
          </ac:spMkLst>
        </pc:spChg>
        <pc:spChg chg="add mod">
          <ac:chgData name="Sabina PETRASHOVA" userId="7d838aae-e6ab-4ec0-b04f-8f08a9482ebc" providerId="ADAL" clId="{C1847504-C51D-45E1-96BE-B0CE464851E6}" dt="2023-09-19T20:53:16.774" v="15624" actId="13822"/>
          <ac:spMkLst>
            <pc:docMk/>
            <pc:sldMk cId="4190501591" sldId="2147471317"/>
            <ac:spMk id="7" creationId="{C0FB04F6-4689-2A46-FB53-F48ED99D5AAC}"/>
          </ac:spMkLst>
        </pc:spChg>
        <pc:spChg chg="del">
          <ac:chgData name="Sabina PETRASHOVA" userId="7d838aae-e6ab-4ec0-b04f-8f08a9482ebc" providerId="ADAL" clId="{C1847504-C51D-45E1-96BE-B0CE464851E6}" dt="2023-09-15T12:52:49.208" v="177" actId="478"/>
          <ac:spMkLst>
            <pc:docMk/>
            <pc:sldMk cId="4190501591" sldId="2147471317"/>
            <ac:spMk id="10" creationId="{8358D74C-4804-E26A-A663-A72EC1B44D29}"/>
          </ac:spMkLst>
        </pc:spChg>
        <pc:spChg chg="mod">
          <ac:chgData name="Sabina PETRASHOVA" userId="7d838aae-e6ab-4ec0-b04f-8f08a9482ebc" providerId="ADAL" clId="{C1847504-C51D-45E1-96BE-B0CE464851E6}" dt="2023-09-19T21:02:40.709" v="15641" actId="20577"/>
          <ac:spMkLst>
            <pc:docMk/>
            <pc:sldMk cId="4190501591" sldId="2147471317"/>
            <ac:spMk id="79" creationId="{9007893F-DE3F-4277-8B72-135CF4773651}"/>
          </ac:spMkLst>
        </pc:spChg>
        <pc:picChg chg="add mod">
          <ac:chgData name="Sabina PETRASHOVA" userId="7d838aae-e6ab-4ec0-b04f-8f08a9482ebc" providerId="ADAL" clId="{C1847504-C51D-45E1-96BE-B0CE464851E6}" dt="2023-09-19T17:11:19.818" v="12921" actId="1036"/>
          <ac:picMkLst>
            <pc:docMk/>
            <pc:sldMk cId="4190501591" sldId="2147471317"/>
            <ac:picMk id="6" creationId="{7C0DEC5B-3D33-DB43-E1A9-D02170AD81BC}"/>
          </ac:picMkLst>
        </pc:picChg>
      </pc:sldChg>
      <pc:sldChg chg="addSp delSp modSp add del mod">
        <pc:chgData name="Sabina PETRASHOVA" userId="7d838aae-e6ab-4ec0-b04f-8f08a9482ebc" providerId="ADAL" clId="{C1847504-C51D-45E1-96BE-B0CE464851E6}" dt="2023-09-18T14:12:51.206" v="6936" actId="2696"/>
        <pc:sldMkLst>
          <pc:docMk/>
          <pc:sldMk cId="2232240678" sldId="2147471318"/>
        </pc:sldMkLst>
        <pc:spChg chg="add del mod">
          <ac:chgData name="Sabina PETRASHOVA" userId="7d838aae-e6ab-4ec0-b04f-8f08a9482ebc" providerId="ADAL" clId="{C1847504-C51D-45E1-96BE-B0CE464851E6}" dt="2023-09-15T14:02:05.229" v="1399"/>
          <ac:spMkLst>
            <pc:docMk/>
            <pc:sldMk cId="2232240678" sldId="2147471318"/>
            <ac:spMk id="3" creationId="{30232FC1-9F96-666C-4D1D-3F118E4075CA}"/>
          </ac:spMkLst>
        </pc:spChg>
        <pc:spChg chg="add del mod">
          <ac:chgData name="Sabina PETRASHOVA" userId="7d838aae-e6ab-4ec0-b04f-8f08a9482ebc" providerId="ADAL" clId="{C1847504-C51D-45E1-96BE-B0CE464851E6}" dt="2023-09-18T14:11:08.133" v="6742" actId="21"/>
          <ac:spMkLst>
            <pc:docMk/>
            <pc:sldMk cId="2232240678" sldId="2147471318"/>
            <ac:spMk id="4" creationId="{6E6612E3-5657-D6B0-453A-F4D98E1651C4}"/>
          </ac:spMkLst>
        </pc:spChg>
        <pc:spChg chg="del mod">
          <ac:chgData name="Sabina PETRASHOVA" userId="7d838aae-e6ab-4ec0-b04f-8f08a9482ebc" providerId="ADAL" clId="{C1847504-C51D-45E1-96BE-B0CE464851E6}" dt="2023-09-15T14:01:38.270" v="1382" actId="478"/>
          <ac:spMkLst>
            <pc:docMk/>
            <pc:sldMk cId="2232240678" sldId="2147471318"/>
            <ac:spMk id="10" creationId="{8358D74C-4804-E26A-A663-A72EC1B44D29}"/>
          </ac:spMkLst>
        </pc:spChg>
        <pc:spChg chg="mod">
          <ac:chgData name="Sabina PETRASHOVA" userId="7d838aae-e6ab-4ec0-b04f-8f08a9482ebc" providerId="ADAL" clId="{C1847504-C51D-45E1-96BE-B0CE464851E6}" dt="2023-09-18T14:12:38.484" v="6935" actId="20577"/>
          <ac:spMkLst>
            <pc:docMk/>
            <pc:sldMk cId="2232240678" sldId="2147471318"/>
            <ac:spMk id="79" creationId="{9007893F-DE3F-4277-8B72-135CF4773651}"/>
          </ac:spMkLst>
        </pc:spChg>
      </pc:sldChg>
      <pc:sldChg chg="del">
        <pc:chgData name="Sabina PETRASHOVA" userId="7d838aae-e6ab-4ec0-b04f-8f08a9482ebc" providerId="ADAL" clId="{C1847504-C51D-45E1-96BE-B0CE464851E6}" dt="2023-09-18T12:37:47.368" v="4375" actId="47"/>
        <pc:sldMkLst>
          <pc:docMk/>
          <pc:sldMk cId="2636854505" sldId="2147471319"/>
        </pc:sldMkLst>
      </pc:sldChg>
      <pc:sldChg chg="del">
        <pc:chgData name="Sabina PETRASHOVA" userId="7d838aae-e6ab-4ec0-b04f-8f08a9482ebc" providerId="ADAL" clId="{C1847504-C51D-45E1-96BE-B0CE464851E6}" dt="2023-09-18T12:38:24.157" v="4376" actId="2696"/>
        <pc:sldMkLst>
          <pc:docMk/>
          <pc:sldMk cId="3233450854" sldId="2147471320"/>
        </pc:sldMkLst>
      </pc:sldChg>
      <pc:sldChg chg="addSp delSp modSp del mod modNotesTx">
        <pc:chgData name="Sabina PETRASHOVA" userId="7d838aae-e6ab-4ec0-b04f-8f08a9482ebc" providerId="ADAL" clId="{C1847504-C51D-45E1-96BE-B0CE464851E6}" dt="2023-09-22T15:00:00.236" v="21648" actId="2696"/>
        <pc:sldMkLst>
          <pc:docMk/>
          <pc:sldMk cId="2817600707" sldId="2147471321"/>
        </pc:sldMkLst>
        <pc:spChg chg="mod">
          <ac:chgData name="Sabina PETRASHOVA" userId="7d838aae-e6ab-4ec0-b04f-8f08a9482ebc" providerId="ADAL" clId="{C1847504-C51D-45E1-96BE-B0CE464851E6}" dt="2023-09-19T19:35:09.943" v="13550" actId="20577"/>
          <ac:spMkLst>
            <pc:docMk/>
            <pc:sldMk cId="2817600707" sldId="2147471321"/>
            <ac:spMk id="2" creationId="{86E96E2E-3416-B7AF-69BC-1F4BC5A5D72A}"/>
          </ac:spMkLst>
        </pc:spChg>
        <pc:spChg chg="add mod">
          <ac:chgData name="Sabina PETRASHOVA" userId="7d838aae-e6ab-4ec0-b04f-8f08a9482ebc" providerId="ADAL" clId="{C1847504-C51D-45E1-96BE-B0CE464851E6}" dt="2023-09-22T14:20:47.288" v="21148" actId="1076"/>
          <ac:spMkLst>
            <pc:docMk/>
            <pc:sldMk cId="2817600707" sldId="2147471321"/>
            <ac:spMk id="5" creationId="{5C0866D8-F538-3C64-5461-6D470DCB9D93}"/>
          </ac:spMkLst>
        </pc:spChg>
        <pc:spChg chg="add mod">
          <ac:chgData name="Sabina PETRASHOVA" userId="7d838aae-e6ab-4ec0-b04f-8f08a9482ebc" providerId="ADAL" clId="{C1847504-C51D-45E1-96BE-B0CE464851E6}" dt="2023-09-22T14:09:34.462" v="21083" actId="1076"/>
          <ac:spMkLst>
            <pc:docMk/>
            <pc:sldMk cId="2817600707" sldId="2147471321"/>
            <ac:spMk id="9" creationId="{51486538-0801-6947-6B9E-A9C7ADEC794A}"/>
          </ac:spMkLst>
        </pc:spChg>
        <pc:spChg chg="del">
          <ac:chgData name="Sabina PETRASHOVA" userId="7d838aae-e6ab-4ec0-b04f-8f08a9482ebc" providerId="ADAL" clId="{C1847504-C51D-45E1-96BE-B0CE464851E6}" dt="2023-09-18T11:58:58.793" v="2975" actId="478"/>
          <ac:spMkLst>
            <pc:docMk/>
            <pc:sldMk cId="2817600707" sldId="2147471321"/>
            <ac:spMk id="10" creationId="{76256144-891E-1863-F8A2-545D41208D47}"/>
          </ac:spMkLst>
        </pc:spChg>
        <pc:spChg chg="mod">
          <ac:chgData name="Sabina PETRASHOVA" userId="7d838aae-e6ab-4ec0-b04f-8f08a9482ebc" providerId="ADAL" clId="{C1847504-C51D-45E1-96BE-B0CE464851E6}" dt="2023-09-22T14:44:31.002" v="21429" actId="1076"/>
          <ac:spMkLst>
            <pc:docMk/>
            <pc:sldMk cId="2817600707" sldId="2147471321"/>
            <ac:spMk id="12" creationId="{987CD1B8-AE7C-4397-A7C0-698E35A54E22}"/>
          </ac:spMkLst>
        </pc:spChg>
        <pc:spChg chg="add mod">
          <ac:chgData name="Sabina PETRASHOVA" userId="7d838aae-e6ab-4ec0-b04f-8f08a9482ebc" providerId="ADAL" clId="{C1847504-C51D-45E1-96BE-B0CE464851E6}" dt="2023-09-22T14:22:27.236" v="21203" actId="14100"/>
          <ac:spMkLst>
            <pc:docMk/>
            <pc:sldMk cId="2817600707" sldId="2147471321"/>
            <ac:spMk id="13" creationId="{212E63CF-259D-8209-1632-5093D35F7013}"/>
          </ac:spMkLst>
        </pc:spChg>
        <pc:spChg chg="add mod">
          <ac:chgData name="Sabina PETRASHOVA" userId="7d838aae-e6ab-4ec0-b04f-8f08a9482ebc" providerId="ADAL" clId="{C1847504-C51D-45E1-96BE-B0CE464851E6}" dt="2023-09-22T14:21:21.429" v="21200" actId="14100"/>
          <ac:spMkLst>
            <pc:docMk/>
            <pc:sldMk cId="2817600707" sldId="2147471321"/>
            <ac:spMk id="14" creationId="{0F66C503-0A9E-29E9-3382-63144DE02CEF}"/>
          </ac:spMkLst>
        </pc:spChg>
        <pc:spChg chg="del mod">
          <ac:chgData name="Sabina PETRASHOVA" userId="7d838aae-e6ab-4ec0-b04f-8f08a9482ebc" providerId="ADAL" clId="{C1847504-C51D-45E1-96BE-B0CE464851E6}" dt="2023-09-22T14:11:15.764" v="21088" actId="478"/>
          <ac:spMkLst>
            <pc:docMk/>
            <pc:sldMk cId="2817600707" sldId="2147471321"/>
            <ac:spMk id="15" creationId="{71C05F3A-4102-5BA4-8015-F7F7A50ADAEF}"/>
          </ac:spMkLst>
        </pc:spChg>
        <pc:spChg chg="mod">
          <ac:chgData name="Sabina PETRASHOVA" userId="7d838aae-e6ab-4ec0-b04f-8f08a9482ebc" providerId="ADAL" clId="{C1847504-C51D-45E1-96BE-B0CE464851E6}" dt="2023-09-22T14:11:05.155" v="21087" actId="1076"/>
          <ac:spMkLst>
            <pc:docMk/>
            <pc:sldMk cId="2817600707" sldId="2147471321"/>
            <ac:spMk id="16" creationId="{369630A6-E48C-39D6-FF7C-37A3CF3E9A1E}"/>
          </ac:spMkLst>
        </pc:spChg>
        <pc:spChg chg="del">
          <ac:chgData name="Sabina PETRASHOVA" userId="7d838aae-e6ab-4ec0-b04f-8f08a9482ebc" providerId="ADAL" clId="{C1847504-C51D-45E1-96BE-B0CE464851E6}" dt="2023-09-22T14:12:12.598" v="21097" actId="478"/>
          <ac:spMkLst>
            <pc:docMk/>
            <pc:sldMk cId="2817600707" sldId="2147471321"/>
            <ac:spMk id="20" creationId="{C2C306DF-BF22-41F9-8D14-983D76EB8938}"/>
          </ac:spMkLst>
        </pc:spChg>
        <pc:spChg chg="mod">
          <ac:chgData name="Sabina PETRASHOVA" userId="7d838aae-e6ab-4ec0-b04f-8f08a9482ebc" providerId="ADAL" clId="{C1847504-C51D-45E1-96BE-B0CE464851E6}" dt="2023-09-22T14:17:01.533" v="21126" actId="1076"/>
          <ac:spMkLst>
            <pc:docMk/>
            <pc:sldMk cId="2817600707" sldId="2147471321"/>
            <ac:spMk id="21" creationId="{B85DEAB1-8A5A-4DD7-91BB-9179C40FD393}"/>
          </ac:spMkLst>
        </pc:spChg>
        <pc:spChg chg="mod">
          <ac:chgData name="Sabina PETRASHOVA" userId="7d838aae-e6ab-4ec0-b04f-8f08a9482ebc" providerId="ADAL" clId="{C1847504-C51D-45E1-96BE-B0CE464851E6}" dt="2023-09-22T14:58:37.593" v="21634" actId="1076"/>
          <ac:spMkLst>
            <pc:docMk/>
            <pc:sldMk cId="2817600707" sldId="2147471321"/>
            <ac:spMk id="58" creationId="{FF8E6BD4-B28A-6AA9-7C92-647728F49CC1}"/>
          </ac:spMkLst>
        </pc:spChg>
        <pc:graphicFrameChg chg="mod modGraphic">
          <ac:chgData name="Sabina PETRASHOVA" userId="7d838aae-e6ab-4ec0-b04f-8f08a9482ebc" providerId="ADAL" clId="{C1847504-C51D-45E1-96BE-B0CE464851E6}" dt="2023-09-19T20:32:26.176" v="15579" actId="20577"/>
          <ac:graphicFrameMkLst>
            <pc:docMk/>
            <pc:sldMk cId="2817600707" sldId="2147471321"/>
            <ac:graphicFrameMk id="8" creationId="{01846BB2-EE5F-34B2-37D2-7BBDA78FC326}"/>
          </ac:graphicFrameMkLst>
        </pc:graphicFrameChg>
        <pc:graphicFrameChg chg="add del mod">
          <ac:chgData name="Sabina PETRASHOVA" userId="7d838aae-e6ab-4ec0-b04f-8f08a9482ebc" providerId="ADAL" clId="{C1847504-C51D-45E1-96BE-B0CE464851E6}" dt="2023-09-22T14:23:57.362" v="21247"/>
          <ac:graphicFrameMkLst>
            <pc:docMk/>
            <pc:sldMk cId="2817600707" sldId="2147471321"/>
            <ac:graphicFrameMk id="22" creationId="{42CA3677-6B0F-C778-F6A7-CB441F579A16}"/>
          </ac:graphicFrameMkLst>
        </pc:graphicFrameChg>
        <pc:graphicFrameChg chg="add del mod modGraphic">
          <ac:chgData name="Sabina PETRASHOVA" userId="7d838aae-e6ab-4ec0-b04f-8f08a9482ebc" providerId="ADAL" clId="{C1847504-C51D-45E1-96BE-B0CE464851E6}" dt="2023-09-22T14:26:43.413" v="21269" actId="478"/>
          <ac:graphicFrameMkLst>
            <pc:docMk/>
            <pc:sldMk cId="2817600707" sldId="2147471321"/>
            <ac:graphicFrameMk id="24" creationId="{15D13DFF-7488-67C4-E6AC-6281EE35BD18}"/>
          </ac:graphicFrameMkLst>
        </pc:graphicFrameChg>
        <pc:graphicFrameChg chg="add del mod">
          <ac:chgData name="Sabina PETRASHOVA" userId="7d838aae-e6ab-4ec0-b04f-8f08a9482ebc" providerId="ADAL" clId="{C1847504-C51D-45E1-96BE-B0CE464851E6}" dt="2023-09-22T14:26:07.894" v="21266"/>
          <ac:graphicFrameMkLst>
            <pc:docMk/>
            <pc:sldMk cId="2817600707" sldId="2147471321"/>
            <ac:graphicFrameMk id="25" creationId="{37FD7078-296B-41D3-73A6-BA94DB3383DF}"/>
          </ac:graphicFrameMkLst>
        </pc:graphicFrameChg>
        <pc:graphicFrameChg chg="add del mod modGraphic">
          <ac:chgData name="Sabina PETRASHOVA" userId="7d838aae-e6ab-4ec0-b04f-8f08a9482ebc" providerId="ADAL" clId="{C1847504-C51D-45E1-96BE-B0CE464851E6}" dt="2023-09-22T14:58:37.593" v="21634" actId="1076"/>
          <ac:graphicFrameMkLst>
            <pc:docMk/>
            <pc:sldMk cId="2817600707" sldId="2147471321"/>
            <ac:graphicFrameMk id="29" creationId="{87515F82-0F9C-E24A-8586-2FDA1507AB8C}"/>
          </ac:graphicFrameMkLst>
        </pc:graphicFrameChg>
        <pc:picChg chg="add mod">
          <ac:chgData name="Sabina PETRASHOVA" userId="7d838aae-e6ab-4ec0-b04f-8f08a9482ebc" providerId="ADAL" clId="{C1847504-C51D-45E1-96BE-B0CE464851E6}" dt="2023-09-19T20:31:05.584" v="15501" actId="1038"/>
          <ac:picMkLst>
            <pc:docMk/>
            <pc:sldMk cId="2817600707" sldId="2147471321"/>
            <ac:picMk id="5" creationId="{1B612999-B46F-91AF-BD27-11296D592D6B}"/>
          </ac:picMkLst>
        </pc:picChg>
        <pc:picChg chg="add mod">
          <ac:chgData name="Sabina PETRASHOVA" userId="7d838aae-e6ab-4ec0-b04f-8f08a9482ebc" providerId="ADAL" clId="{C1847504-C51D-45E1-96BE-B0CE464851E6}" dt="2023-09-19T20:31:05.584" v="15501" actId="1038"/>
          <ac:picMkLst>
            <pc:docMk/>
            <pc:sldMk cId="2817600707" sldId="2147471321"/>
            <ac:picMk id="6" creationId="{07483490-A2E5-3806-8464-2AF067CBD253}"/>
          </ac:picMkLst>
        </pc:picChg>
        <pc:picChg chg="add mod">
          <ac:chgData name="Sabina PETRASHOVA" userId="7d838aae-e6ab-4ec0-b04f-8f08a9482ebc" providerId="ADAL" clId="{C1847504-C51D-45E1-96BE-B0CE464851E6}" dt="2023-09-22T14:20:47.288" v="21148" actId="1076"/>
          <ac:picMkLst>
            <pc:docMk/>
            <pc:sldMk cId="2817600707" sldId="2147471321"/>
            <ac:picMk id="6" creationId="{EF66F16B-877E-2630-A5FC-AD2C91620AD1}"/>
          </ac:picMkLst>
        </pc:picChg>
        <pc:picChg chg="add mod">
          <ac:chgData name="Sabina PETRASHOVA" userId="7d838aae-e6ab-4ec0-b04f-8f08a9482ebc" providerId="ADAL" clId="{C1847504-C51D-45E1-96BE-B0CE464851E6}" dt="2023-09-22T14:08:05.309" v="20981" actId="1076"/>
          <ac:picMkLst>
            <pc:docMk/>
            <pc:sldMk cId="2817600707" sldId="2147471321"/>
            <ac:picMk id="7" creationId="{9A44EB83-ED03-B5A3-6775-797C31B9EA09}"/>
          </ac:picMkLst>
        </pc:picChg>
        <pc:picChg chg="add mod">
          <ac:chgData name="Sabina PETRASHOVA" userId="7d838aae-e6ab-4ec0-b04f-8f08a9482ebc" providerId="ADAL" clId="{C1847504-C51D-45E1-96BE-B0CE464851E6}" dt="2023-09-19T20:31:05.584" v="15501" actId="1038"/>
          <ac:picMkLst>
            <pc:docMk/>
            <pc:sldMk cId="2817600707" sldId="2147471321"/>
            <ac:picMk id="7" creationId="{C620D9FE-924B-67D6-68CD-5DAFFA5F4A0A}"/>
          </ac:picMkLst>
        </pc:picChg>
        <pc:picChg chg="add mod">
          <ac:chgData name="Sabina PETRASHOVA" userId="7d838aae-e6ab-4ec0-b04f-8f08a9482ebc" providerId="ADAL" clId="{C1847504-C51D-45E1-96BE-B0CE464851E6}" dt="2023-09-22T14:22:37.729" v="21204" actId="1076"/>
          <ac:picMkLst>
            <pc:docMk/>
            <pc:sldMk cId="2817600707" sldId="2147471321"/>
            <ac:picMk id="8" creationId="{CBD57CDF-FC43-4F88-F8D5-9E1DBDDF7BD3}"/>
          </ac:picMkLst>
        </pc:picChg>
        <pc:picChg chg="mod">
          <ac:chgData name="Sabina PETRASHOVA" userId="7d838aae-e6ab-4ec0-b04f-8f08a9482ebc" providerId="ADAL" clId="{C1847504-C51D-45E1-96BE-B0CE464851E6}" dt="2023-09-22T14:11:01.231" v="21086" actId="1076"/>
          <ac:picMkLst>
            <pc:docMk/>
            <pc:sldMk cId="2817600707" sldId="2147471321"/>
            <ac:picMk id="17" creationId="{E7D1AF8A-CBC2-DE86-F140-FB03B3E96D00}"/>
          </ac:picMkLst>
        </pc:picChg>
        <pc:picChg chg="add mod">
          <ac:chgData name="Sabina PETRASHOVA" userId="7d838aae-e6ab-4ec0-b04f-8f08a9482ebc" providerId="ADAL" clId="{C1847504-C51D-45E1-96BE-B0CE464851E6}" dt="2023-09-22T14:17:23.810" v="21129" actId="1076"/>
          <ac:picMkLst>
            <pc:docMk/>
            <pc:sldMk cId="2817600707" sldId="2147471321"/>
            <ac:picMk id="18" creationId="{AEDD607A-9E58-1192-0ACA-5A5C89BE4CEA}"/>
          </ac:picMkLst>
        </pc:picChg>
        <pc:picChg chg="add mod">
          <ac:chgData name="Sabina PETRASHOVA" userId="7d838aae-e6ab-4ec0-b04f-8f08a9482ebc" providerId="ADAL" clId="{C1847504-C51D-45E1-96BE-B0CE464851E6}" dt="2023-09-22T14:20:26.996" v="21144" actId="1076"/>
          <ac:picMkLst>
            <pc:docMk/>
            <pc:sldMk cId="2817600707" sldId="2147471321"/>
            <ac:picMk id="19" creationId="{16598EB5-0FC7-0FD7-EB7F-9505FF9B271E}"/>
          </ac:picMkLst>
        </pc:picChg>
        <pc:picChg chg="mod">
          <ac:chgData name="Sabina PETRASHOVA" userId="7d838aae-e6ab-4ec0-b04f-8f08a9482ebc" providerId="ADAL" clId="{C1847504-C51D-45E1-96BE-B0CE464851E6}" dt="2023-09-22T14:16:54.351" v="21125" actId="1076"/>
          <ac:picMkLst>
            <pc:docMk/>
            <pc:sldMk cId="2817600707" sldId="2147471321"/>
            <ac:picMk id="23" creationId="{9D412B87-081E-C21F-45B2-62F3F8FBD21F}"/>
          </ac:picMkLst>
        </pc:picChg>
        <pc:picChg chg="mod">
          <ac:chgData name="Sabina PETRASHOVA" userId="7d838aae-e6ab-4ec0-b04f-8f08a9482ebc" providerId="ADAL" clId="{C1847504-C51D-45E1-96BE-B0CE464851E6}" dt="2023-09-22T14:55:35.676" v="21613" actId="688"/>
          <ac:picMkLst>
            <pc:docMk/>
            <pc:sldMk cId="2817600707" sldId="2147471321"/>
            <ac:picMk id="30" creationId="{9964A539-9F3E-16A3-55B6-77504327E518}"/>
          </ac:picMkLst>
        </pc:picChg>
        <pc:picChg chg="mod">
          <ac:chgData name="Sabina PETRASHOVA" userId="7d838aae-e6ab-4ec0-b04f-8f08a9482ebc" providerId="ADAL" clId="{C1847504-C51D-45E1-96BE-B0CE464851E6}" dt="2023-09-22T14:55:35.676" v="21613" actId="688"/>
          <ac:picMkLst>
            <pc:docMk/>
            <pc:sldMk cId="2817600707" sldId="2147471321"/>
            <ac:picMk id="50" creationId="{0EBB07A8-425F-F795-26FE-C3EB1D6BCDF2}"/>
          </ac:picMkLst>
        </pc:picChg>
        <pc:picChg chg="mod">
          <ac:chgData name="Sabina PETRASHOVA" userId="7d838aae-e6ab-4ec0-b04f-8f08a9482ebc" providerId="ADAL" clId="{C1847504-C51D-45E1-96BE-B0CE464851E6}" dt="2023-09-22T14:58:37.593" v="21634" actId="1076"/>
          <ac:picMkLst>
            <pc:docMk/>
            <pc:sldMk cId="2817600707" sldId="2147471321"/>
            <ac:picMk id="55" creationId="{74C88058-5B9D-DC45-0022-D229288C8A42}"/>
          </ac:picMkLst>
        </pc:picChg>
        <pc:picChg chg="mod">
          <ac:chgData name="Sabina PETRASHOVA" userId="7d838aae-e6ab-4ec0-b04f-8f08a9482ebc" providerId="ADAL" clId="{C1847504-C51D-45E1-96BE-B0CE464851E6}" dt="2023-09-22T14:59:32.100" v="21645" actId="1076"/>
          <ac:picMkLst>
            <pc:docMk/>
            <pc:sldMk cId="2817600707" sldId="2147471321"/>
            <ac:picMk id="56" creationId="{CDCB224F-F5E2-8D14-A06F-118D9833C1B0}"/>
          </ac:picMkLst>
        </pc:picChg>
      </pc:sldChg>
      <pc:sldChg chg="addSp delSp modSp new del mod">
        <pc:chgData name="Sabina PETRASHOVA" userId="7d838aae-e6ab-4ec0-b04f-8f08a9482ebc" providerId="ADAL" clId="{C1847504-C51D-45E1-96BE-B0CE464851E6}" dt="2023-09-22T13:32:37.881" v="20262" actId="2696"/>
        <pc:sldMkLst>
          <pc:docMk/>
          <pc:sldMk cId="1013040610" sldId="2147471322"/>
        </pc:sldMkLst>
        <pc:spChg chg="mod">
          <ac:chgData name="Sabina PETRASHOVA" userId="7d838aae-e6ab-4ec0-b04f-8f08a9482ebc" providerId="ADAL" clId="{C1847504-C51D-45E1-96BE-B0CE464851E6}" dt="2023-09-19T21:04:05.002" v="15662" actId="20577"/>
          <ac:spMkLst>
            <pc:docMk/>
            <pc:sldMk cId="1013040610" sldId="2147471322"/>
            <ac:spMk id="2" creationId="{A3A5715A-F78A-BB39-E01A-766708689330}"/>
          </ac:spMkLst>
        </pc:spChg>
        <pc:spChg chg="add del mod">
          <ac:chgData name="Sabina PETRASHOVA" userId="7d838aae-e6ab-4ec0-b04f-8f08a9482ebc" providerId="ADAL" clId="{C1847504-C51D-45E1-96BE-B0CE464851E6}" dt="2023-09-18T12:40:11.507" v="4450"/>
          <ac:spMkLst>
            <pc:docMk/>
            <pc:sldMk cId="1013040610" sldId="2147471322"/>
            <ac:spMk id="5" creationId="{0B392E2A-9AD0-BC70-283E-DCE3BB0A8705}"/>
          </ac:spMkLst>
        </pc:spChg>
        <pc:spChg chg="add del mod">
          <ac:chgData name="Sabina PETRASHOVA" userId="7d838aae-e6ab-4ec0-b04f-8f08a9482ebc" providerId="ADAL" clId="{C1847504-C51D-45E1-96BE-B0CE464851E6}" dt="2023-09-18T12:41:26.830" v="4729"/>
          <ac:spMkLst>
            <pc:docMk/>
            <pc:sldMk cId="1013040610" sldId="2147471322"/>
            <ac:spMk id="6" creationId="{964CFA0D-206A-A965-58DD-7A70E871FE7F}"/>
          </ac:spMkLst>
        </pc:spChg>
        <pc:spChg chg="add del mod">
          <ac:chgData name="Sabina PETRASHOVA" userId="7d838aae-e6ab-4ec0-b04f-8f08a9482ebc" providerId="ADAL" clId="{C1847504-C51D-45E1-96BE-B0CE464851E6}" dt="2023-09-19T19:23:54.587" v="13339" actId="478"/>
          <ac:spMkLst>
            <pc:docMk/>
            <pc:sldMk cId="1013040610" sldId="2147471322"/>
            <ac:spMk id="6" creationId="{EB1FDD33-A10E-F30B-6963-FC193F458831}"/>
          </ac:spMkLst>
        </pc:spChg>
        <pc:spChg chg="add del mod">
          <ac:chgData name="Sabina PETRASHOVA" userId="7d838aae-e6ab-4ec0-b04f-8f08a9482ebc" providerId="ADAL" clId="{C1847504-C51D-45E1-96BE-B0CE464851E6}" dt="2023-09-19T19:19:56.237" v="13067" actId="478"/>
          <ac:spMkLst>
            <pc:docMk/>
            <pc:sldMk cId="1013040610" sldId="2147471322"/>
            <ac:spMk id="7" creationId="{0E9A88BE-F8AC-A1DA-A5A7-9A24D698E176}"/>
          </ac:spMkLst>
        </pc:spChg>
        <pc:spChg chg="add del mod">
          <ac:chgData name="Sabina PETRASHOVA" userId="7d838aae-e6ab-4ec0-b04f-8f08a9482ebc" providerId="ADAL" clId="{C1847504-C51D-45E1-96BE-B0CE464851E6}" dt="2023-09-18T13:13:34.936" v="5549" actId="478"/>
          <ac:spMkLst>
            <pc:docMk/>
            <pc:sldMk cId="1013040610" sldId="2147471322"/>
            <ac:spMk id="7" creationId="{3E2B410F-D6E8-87DF-6C6D-0DF9B520925B}"/>
          </ac:spMkLst>
        </pc:spChg>
        <pc:spChg chg="add del mod">
          <ac:chgData name="Sabina PETRASHOVA" userId="7d838aae-e6ab-4ec0-b04f-8f08a9482ebc" providerId="ADAL" clId="{C1847504-C51D-45E1-96BE-B0CE464851E6}" dt="2023-09-18T12:44:45.801" v="5043" actId="478"/>
          <ac:spMkLst>
            <pc:docMk/>
            <pc:sldMk cId="1013040610" sldId="2147471322"/>
            <ac:spMk id="8" creationId="{5ACFD738-F958-7AE4-0711-06A3C53B5E41}"/>
          </ac:spMkLst>
        </pc:spChg>
        <pc:spChg chg="add del mod">
          <ac:chgData name="Sabina PETRASHOVA" userId="7d838aae-e6ab-4ec0-b04f-8f08a9482ebc" providerId="ADAL" clId="{C1847504-C51D-45E1-96BE-B0CE464851E6}" dt="2023-09-19T19:19:58.303" v="13068" actId="478"/>
          <ac:spMkLst>
            <pc:docMk/>
            <pc:sldMk cId="1013040610" sldId="2147471322"/>
            <ac:spMk id="8" creationId="{D1695441-D19E-C694-FA53-517F641FBBBB}"/>
          </ac:spMkLst>
        </pc:spChg>
        <pc:spChg chg="add mod">
          <ac:chgData name="Sabina PETRASHOVA" userId="7d838aae-e6ab-4ec0-b04f-8f08a9482ebc" providerId="ADAL" clId="{C1847504-C51D-45E1-96BE-B0CE464851E6}" dt="2023-09-19T16:59:36.526" v="12789" actId="123"/>
          <ac:spMkLst>
            <pc:docMk/>
            <pc:sldMk cId="1013040610" sldId="2147471322"/>
            <ac:spMk id="9" creationId="{5AB29B44-8B17-F035-B9C5-C0BE65FDD656}"/>
          </ac:spMkLst>
        </pc:spChg>
        <pc:spChg chg="add del mod">
          <ac:chgData name="Sabina PETRASHOVA" userId="7d838aae-e6ab-4ec0-b04f-8f08a9482ebc" providerId="ADAL" clId="{C1847504-C51D-45E1-96BE-B0CE464851E6}" dt="2023-09-18T14:49:11.234" v="8394" actId="478"/>
          <ac:spMkLst>
            <pc:docMk/>
            <pc:sldMk cId="1013040610" sldId="2147471322"/>
            <ac:spMk id="10" creationId="{B336CFA9-0490-0BF7-0DBB-91D09F58F661}"/>
          </ac:spMkLst>
        </pc:spChg>
        <pc:spChg chg="add del mod">
          <ac:chgData name="Sabina PETRASHOVA" userId="7d838aae-e6ab-4ec0-b04f-8f08a9482ebc" providerId="ADAL" clId="{C1847504-C51D-45E1-96BE-B0CE464851E6}" dt="2023-09-19T19:19:56.237" v="13067" actId="478"/>
          <ac:spMkLst>
            <pc:docMk/>
            <pc:sldMk cId="1013040610" sldId="2147471322"/>
            <ac:spMk id="11" creationId="{41BCECB0-03CF-89F2-5D23-D78A372C4C21}"/>
          </ac:spMkLst>
        </pc:spChg>
        <pc:spChg chg="add del mod">
          <ac:chgData name="Sabina PETRASHOVA" userId="7d838aae-e6ab-4ec0-b04f-8f08a9482ebc" providerId="ADAL" clId="{C1847504-C51D-45E1-96BE-B0CE464851E6}" dt="2023-09-19T19:19:58.303" v="13068" actId="478"/>
          <ac:spMkLst>
            <pc:docMk/>
            <pc:sldMk cId="1013040610" sldId="2147471322"/>
            <ac:spMk id="13" creationId="{00CC251A-97D9-153B-E1EA-BD1796DF1537}"/>
          </ac:spMkLst>
        </pc:spChg>
        <pc:spChg chg="add del mod ord">
          <ac:chgData name="Sabina PETRASHOVA" userId="7d838aae-e6ab-4ec0-b04f-8f08a9482ebc" providerId="ADAL" clId="{C1847504-C51D-45E1-96BE-B0CE464851E6}" dt="2023-09-19T19:20:15.088" v="13073" actId="478"/>
          <ac:spMkLst>
            <pc:docMk/>
            <pc:sldMk cId="1013040610" sldId="2147471322"/>
            <ac:spMk id="14" creationId="{91FBBC33-C866-5D77-D665-677687D02882}"/>
          </ac:spMkLst>
        </pc:spChg>
        <pc:graphicFrameChg chg="add del mod modGraphic">
          <ac:chgData name="Sabina PETRASHOVA" userId="7d838aae-e6ab-4ec0-b04f-8f08a9482ebc" providerId="ADAL" clId="{C1847504-C51D-45E1-96BE-B0CE464851E6}" dt="2023-09-19T19:20:47.360" v="13078" actId="478"/>
          <ac:graphicFrameMkLst>
            <pc:docMk/>
            <pc:sldMk cId="1013040610" sldId="2147471322"/>
            <ac:graphicFrameMk id="15" creationId="{D94280DA-BBEC-50BE-A93C-27F5DEF5BD31}"/>
          </ac:graphicFrameMkLst>
        </pc:graphicFrameChg>
        <pc:graphicFrameChg chg="add del mod modGraphic">
          <ac:chgData name="Sabina PETRASHOVA" userId="7d838aae-e6ab-4ec0-b04f-8f08a9482ebc" providerId="ADAL" clId="{C1847504-C51D-45E1-96BE-B0CE464851E6}" dt="2023-09-22T12:21:46.860" v="18426" actId="21"/>
          <ac:graphicFrameMkLst>
            <pc:docMk/>
            <pc:sldMk cId="1013040610" sldId="2147471322"/>
            <ac:graphicFrameMk id="16" creationId="{051013BD-EB4F-A4F9-A423-130667B2FAB5}"/>
          </ac:graphicFrameMkLst>
        </pc:graphicFrameChg>
        <pc:picChg chg="add del mod">
          <ac:chgData name="Sabina PETRASHOVA" userId="7d838aae-e6ab-4ec0-b04f-8f08a9482ebc" providerId="ADAL" clId="{C1847504-C51D-45E1-96BE-B0CE464851E6}" dt="2023-09-18T15:42:19.569" v="9887" actId="478"/>
          <ac:picMkLst>
            <pc:docMk/>
            <pc:sldMk cId="1013040610" sldId="2147471322"/>
            <ac:picMk id="12" creationId="{AE31BDFA-3B88-8823-C7CC-3C08D4090A83}"/>
          </ac:picMkLst>
        </pc:picChg>
      </pc:sldChg>
      <pc:sldChg chg="addSp delSp modSp add mod ord modCm modNotesTx">
        <pc:chgData name="Sabina PETRASHOVA" userId="7d838aae-e6ab-4ec0-b04f-8f08a9482ebc" providerId="ADAL" clId="{C1847504-C51D-45E1-96BE-B0CE464851E6}" dt="2023-09-29T06:01:01.969" v="35728"/>
        <pc:sldMkLst>
          <pc:docMk/>
          <pc:sldMk cId="278627115" sldId="2147471323"/>
        </pc:sldMkLst>
        <pc:spChg chg="mod">
          <ac:chgData name="Sabina PETRASHOVA" userId="7d838aae-e6ab-4ec0-b04f-8f08a9482ebc" providerId="ADAL" clId="{C1847504-C51D-45E1-96BE-B0CE464851E6}" dt="2023-09-26T13:31:08.193" v="27901" actId="553"/>
          <ac:spMkLst>
            <pc:docMk/>
            <pc:sldMk cId="278627115" sldId="2147471323"/>
            <ac:spMk id="2" creationId="{86E96E2E-3416-B7AF-69BC-1F4BC5A5D72A}"/>
          </ac:spMkLst>
        </pc:spChg>
        <pc:spChg chg="add del mod">
          <ac:chgData name="Sabina PETRASHOVA" userId="7d838aae-e6ab-4ec0-b04f-8f08a9482ebc" providerId="ADAL" clId="{C1847504-C51D-45E1-96BE-B0CE464851E6}" dt="2023-09-18T13:46:28.400" v="6066"/>
          <ac:spMkLst>
            <pc:docMk/>
            <pc:sldMk cId="278627115" sldId="2147471323"/>
            <ac:spMk id="5" creationId="{6B2F5BA0-A7DF-BB9E-F14C-72127BCD37FF}"/>
          </ac:spMkLst>
        </pc:spChg>
        <pc:spChg chg="add del mod">
          <ac:chgData name="Sabina PETRASHOVA" userId="7d838aae-e6ab-4ec0-b04f-8f08a9482ebc" providerId="ADAL" clId="{C1847504-C51D-45E1-96BE-B0CE464851E6}" dt="2023-09-26T15:04:29.568" v="28861" actId="478"/>
          <ac:spMkLst>
            <pc:docMk/>
            <pc:sldMk cId="278627115" sldId="2147471323"/>
            <ac:spMk id="5" creationId="{9C59E851-A200-52E0-F3F7-0C249C4F6283}"/>
          </ac:spMkLst>
        </pc:spChg>
        <pc:spChg chg="add del mod">
          <ac:chgData name="Sabina PETRASHOVA" userId="7d838aae-e6ab-4ec0-b04f-8f08a9482ebc" providerId="ADAL" clId="{C1847504-C51D-45E1-96BE-B0CE464851E6}" dt="2023-09-25T13:46:25.591" v="22388" actId="21"/>
          <ac:spMkLst>
            <pc:docMk/>
            <pc:sldMk cId="278627115" sldId="2147471323"/>
            <ac:spMk id="7" creationId="{90A527C0-DE5E-F46F-6ABC-3C7FA8ECC724}"/>
          </ac:spMkLst>
        </pc:spChg>
        <pc:spChg chg="add mod">
          <ac:chgData name="Sabina PETRASHOVA" userId="7d838aae-e6ab-4ec0-b04f-8f08a9482ebc" providerId="ADAL" clId="{C1847504-C51D-45E1-96BE-B0CE464851E6}" dt="2023-09-28T14:08:06.586" v="32898" actId="1036"/>
          <ac:spMkLst>
            <pc:docMk/>
            <pc:sldMk cId="278627115" sldId="2147471323"/>
            <ac:spMk id="7" creationId="{A080FF84-2F40-9EF8-7A5C-73985C4D81A5}"/>
          </ac:spMkLst>
        </pc:spChg>
        <pc:spChg chg="add mod">
          <ac:chgData name="Sabina PETRASHOVA" userId="7d838aae-e6ab-4ec0-b04f-8f08a9482ebc" providerId="ADAL" clId="{C1847504-C51D-45E1-96BE-B0CE464851E6}" dt="2023-09-28T14:08:06.586" v="32898" actId="1036"/>
          <ac:spMkLst>
            <pc:docMk/>
            <pc:sldMk cId="278627115" sldId="2147471323"/>
            <ac:spMk id="8" creationId="{A2A9DAD0-E6F1-7E0B-FE63-397FFAA7AC16}"/>
          </ac:spMkLst>
        </pc:spChg>
        <pc:spChg chg="add mod">
          <ac:chgData name="Sabina PETRASHOVA" userId="7d838aae-e6ab-4ec0-b04f-8f08a9482ebc" providerId="ADAL" clId="{C1847504-C51D-45E1-96BE-B0CE464851E6}" dt="2023-09-28T14:07:51.219" v="32876" actId="1076"/>
          <ac:spMkLst>
            <pc:docMk/>
            <pc:sldMk cId="278627115" sldId="2147471323"/>
            <ac:spMk id="9" creationId="{8B82EE82-1B00-94DA-942E-DD1FD4FEB7F5}"/>
          </ac:spMkLst>
        </pc:spChg>
        <pc:spChg chg="add del mod">
          <ac:chgData name="Sabina PETRASHOVA" userId="7d838aae-e6ab-4ec0-b04f-8f08a9482ebc" providerId="ADAL" clId="{C1847504-C51D-45E1-96BE-B0CE464851E6}" dt="2023-09-18T13:55:44.745" v="6255" actId="478"/>
          <ac:spMkLst>
            <pc:docMk/>
            <pc:sldMk cId="278627115" sldId="2147471323"/>
            <ac:spMk id="9" creationId="{C7FAF937-31A5-1392-C3ED-D2E0A6D53CD1}"/>
          </ac:spMkLst>
        </pc:spChg>
        <pc:spChg chg="add mod">
          <ac:chgData name="Sabina PETRASHOVA" userId="7d838aae-e6ab-4ec0-b04f-8f08a9482ebc" providerId="ADAL" clId="{C1847504-C51D-45E1-96BE-B0CE464851E6}" dt="2023-09-26T15:04:29.966" v="28862"/>
          <ac:spMkLst>
            <pc:docMk/>
            <pc:sldMk cId="278627115" sldId="2147471323"/>
            <ac:spMk id="10" creationId="{B021AD25-61B3-8968-E8C6-9E7E2D11A78C}"/>
          </ac:spMkLst>
        </pc:spChg>
        <pc:spChg chg="add del mod">
          <ac:chgData name="Sabina PETRASHOVA" userId="7d838aae-e6ab-4ec0-b04f-8f08a9482ebc" providerId="ADAL" clId="{C1847504-C51D-45E1-96BE-B0CE464851E6}" dt="2023-09-26T13:25:35.883" v="27655" actId="478"/>
          <ac:spMkLst>
            <pc:docMk/>
            <pc:sldMk cId="278627115" sldId="2147471323"/>
            <ac:spMk id="14" creationId="{8E567D1E-76AD-4D2C-ADDE-352C1460E438}"/>
          </ac:spMkLst>
        </pc:spChg>
        <pc:spChg chg="add mod">
          <ac:chgData name="Sabina PETRASHOVA" userId="7d838aae-e6ab-4ec0-b04f-8f08a9482ebc" providerId="ADAL" clId="{C1847504-C51D-45E1-96BE-B0CE464851E6}" dt="2023-09-26T13:49:33.209" v="28319" actId="1076"/>
          <ac:spMkLst>
            <pc:docMk/>
            <pc:sldMk cId="278627115" sldId="2147471323"/>
            <ac:spMk id="16" creationId="{2F7DD276-37B4-3317-BE2E-D05AE2C3CA22}"/>
          </ac:spMkLst>
        </pc:spChg>
        <pc:spChg chg="add del mod">
          <ac:chgData name="Sabina PETRASHOVA" userId="7d838aae-e6ab-4ec0-b04f-8f08a9482ebc" providerId="ADAL" clId="{C1847504-C51D-45E1-96BE-B0CE464851E6}" dt="2023-09-26T13:23:18.254" v="27413" actId="478"/>
          <ac:spMkLst>
            <pc:docMk/>
            <pc:sldMk cId="278627115" sldId="2147471323"/>
            <ac:spMk id="17" creationId="{B91356C3-45AC-2851-FAF1-CFF719CF1668}"/>
          </ac:spMkLst>
        </pc:spChg>
        <pc:spChg chg="add del mod">
          <ac:chgData name="Sabina PETRASHOVA" userId="7d838aae-e6ab-4ec0-b04f-8f08a9482ebc" providerId="ADAL" clId="{C1847504-C51D-45E1-96BE-B0CE464851E6}" dt="2023-09-22T15:20:48.594" v="21812" actId="478"/>
          <ac:spMkLst>
            <pc:docMk/>
            <pc:sldMk cId="278627115" sldId="2147471323"/>
            <ac:spMk id="18" creationId="{D3AE7AC4-769B-2BDA-8E8C-84C98E97290A}"/>
          </ac:spMkLst>
        </pc:spChg>
        <pc:graphicFrameChg chg="del">
          <ac:chgData name="Sabina PETRASHOVA" userId="7d838aae-e6ab-4ec0-b04f-8f08a9482ebc" providerId="ADAL" clId="{C1847504-C51D-45E1-96BE-B0CE464851E6}" dt="2023-09-18T13:28:43.808" v="5716" actId="478"/>
          <ac:graphicFrameMkLst>
            <pc:docMk/>
            <pc:sldMk cId="278627115" sldId="2147471323"/>
            <ac:graphicFrameMk id="8" creationId="{01846BB2-EE5F-34B2-37D2-7BBDA78FC326}"/>
          </ac:graphicFrameMkLst>
        </pc:graphicFrameChg>
        <pc:graphicFrameChg chg="add del mod modGraphic">
          <ac:chgData name="Sabina PETRASHOVA" userId="7d838aae-e6ab-4ec0-b04f-8f08a9482ebc" providerId="ADAL" clId="{C1847504-C51D-45E1-96BE-B0CE464851E6}" dt="2023-09-26T13:49:27.707" v="28317" actId="478"/>
          <ac:graphicFrameMkLst>
            <pc:docMk/>
            <pc:sldMk cId="278627115" sldId="2147471323"/>
            <ac:graphicFrameMk id="10" creationId="{A0BF2AB7-EA7A-6E14-291B-033572E2A3BD}"/>
          </ac:graphicFrameMkLst>
        </pc:graphicFrameChg>
        <pc:graphicFrameChg chg="add mod modGraphic">
          <ac:chgData name="Sabina PETRASHOVA" userId="7d838aae-e6ab-4ec0-b04f-8f08a9482ebc" providerId="ADAL" clId="{C1847504-C51D-45E1-96BE-B0CE464851E6}" dt="2023-09-28T14:08:01.477" v="32881" actId="1036"/>
          <ac:graphicFrameMkLst>
            <pc:docMk/>
            <pc:sldMk cId="278627115" sldId="2147471323"/>
            <ac:graphicFrameMk id="11" creationId="{30717E25-03CB-437E-249D-6F99111B9FA4}"/>
          </ac:graphicFrameMkLst>
        </pc:graphicFrameChg>
        <pc:graphicFrameChg chg="add del mod modGraphic">
          <ac:chgData name="Sabina PETRASHOVA" userId="7d838aae-e6ab-4ec0-b04f-8f08a9482ebc" providerId="ADAL" clId="{C1847504-C51D-45E1-96BE-B0CE464851E6}" dt="2023-09-26T14:35:32.291" v="28518" actId="478"/>
          <ac:graphicFrameMkLst>
            <pc:docMk/>
            <pc:sldMk cId="278627115" sldId="2147471323"/>
            <ac:graphicFrameMk id="12" creationId="{A67320EA-4341-C5DE-A391-DAD78DEC83B1}"/>
          </ac:graphicFrameMkLst>
        </pc:graphicFrameChg>
        <pc:graphicFrameChg chg="add del mod">
          <ac:chgData name="Sabina PETRASHOVA" userId="7d838aae-e6ab-4ec0-b04f-8f08a9482ebc" providerId="ADAL" clId="{C1847504-C51D-45E1-96BE-B0CE464851E6}" dt="2023-09-26T14:37:06.240" v="28541" actId="478"/>
          <ac:graphicFrameMkLst>
            <pc:docMk/>
            <pc:sldMk cId="278627115" sldId="2147471323"/>
            <ac:graphicFrameMk id="15" creationId="{F1F9ABE6-5977-2D04-E3B9-C9AACFEAFF19}"/>
          </ac:graphicFrameMkLst>
        </pc:graphicFrameChg>
        <pc:graphicFrameChg chg="add mod modGraphic">
          <ac:chgData name="Sabina PETRASHOVA" userId="7d838aae-e6ab-4ec0-b04f-8f08a9482ebc" providerId="ADAL" clId="{C1847504-C51D-45E1-96BE-B0CE464851E6}" dt="2023-09-28T14:08:01.477" v="32881" actId="1036"/>
          <ac:graphicFrameMkLst>
            <pc:docMk/>
            <pc:sldMk cId="278627115" sldId="2147471323"/>
            <ac:graphicFrameMk id="18" creationId="{554873E0-1956-B293-B516-1D252C996C8C}"/>
          </ac:graphicFrameMkLst>
        </pc:graphicFrameChg>
        <pc:graphicFrameChg chg="add mod modGraphic">
          <ac:chgData name="Sabina PETRASHOVA" userId="7d838aae-e6ab-4ec0-b04f-8f08a9482ebc" providerId="ADAL" clId="{C1847504-C51D-45E1-96BE-B0CE464851E6}" dt="2023-09-28T14:08:01.477" v="32881" actId="1036"/>
          <ac:graphicFrameMkLst>
            <pc:docMk/>
            <pc:sldMk cId="278627115" sldId="2147471323"/>
            <ac:graphicFrameMk id="19" creationId="{28818E17-57D2-AD36-7486-F4C9041136C8}"/>
          </ac:graphicFrameMkLst>
        </pc:graphicFrameChg>
        <pc:graphicFrameChg chg="add del mod">
          <ac:chgData name="Sabina PETRASHOVA" userId="7d838aae-e6ab-4ec0-b04f-8f08a9482ebc" providerId="ADAL" clId="{C1847504-C51D-45E1-96BE-B0CE464851E6}" dt="2023-09-26T14:46:53.217" v="28760" actId="478"/>
          <ac:graphicFrameMkLst>
            <pc:docMk/>
            <pc:sldMk cId="278627115" sldId="2147471323"/>
            <ac:graphicFrameMk id="20" creationId="{B7EFCA77-2814-FD67-EABE-9E30FDFD2076}"/>
          </ac:graphicFrameMkLst>
        </pc:graphicFrameChg>
        <pc:graphicFrameChg chg="add del mod modGraphic">
          <ac:chgData name="Sabina PETRASHOVA" userId="7d838aae-e6ab-4ec0-b04f-8f08a9482ebc" providerId="ADAL" clId="{C1847504-C51D-45E1-96BE-B0CE464851E6}" dt="2023-09-26T14:48:44.541" v="28769" actId="478"/>
          <ac:graphicFrameMkLst>
            <pc:docMk/>
            <pc:sldMk cId="278627115" sldId="2147471323"/>
            <ac:graphicFrameMk id="21" creationId="{FCB971CD-2869-0B5D-DDF4-F6871991DEB2}"/>
          </ac:graphicFrameMkLst>
        </pc:graphicFrameChg>
        <pc:picChg chg="add del mod">
          <ac:chgData name="Sabina PETRASHOVA" userId="7d838aae-e6ab-4ec0-b04f-8f08a9482ebc" providerId="ADAL" clId="{C1847504-C51D-45E1-96BE-B0CE464851E6}" dt="2023-09-26T15:04:29.568" v="28861" actId="478"/>
          <ac:picMkLst>
            <pc:docMk/>
            <pc:sldMk cId="278627115" sldId="2147471323"/>
            <ac:picMk id="6" creationId="{3CFE2274-90EC-9963-F381-80B143E797D5}"/>
          </ac:picMkLst>
        </pc:picChg>
        <pc:picChg chg="add del mod">
          <ac:chgData name="Sabina PETRASHOVA" userId="7d838aae-e6ab-4ec0-b04f-8f08a9482ebc" providerId="ADAL" clId="{C1847504-C51D-45E1-96BE-B0CE464851E6}" dt="2023-09-18T13:51:16.392" v="6226" actId="478"/>
          <ac:picMkLst>
            <pc:docMk/>
            <pc:sldMk cId="278627115" sldId="2147471323"/>
            <ac:picMk id="7" creationId="{3AF10C3C-BACD-B2F5-8CC5-0819ECB324F2}"/>
          </ac:picMkLst>
        </pc:picChg>
        <pc:picChg chg="add del mod">
          <ac:chgData name="Sabina PETRASHOVA" userId="7d838aae-e6ab-4ec0-b04f-8f08a9482ebc" providerId="ADAL" clId="{C1847504-C51D-45E1-96BE-B0CE464851E6}" dt="2023-09-25T13:46:25.591" v="22388" actId="21"/>
          <ac:picMkLst>
            <pc:docMk/>
            <pc:sldMk cId="278627115" sldId="2147471323"/>
            <ac:picMk id="8" creationId="{A69292A0-B123-D464-1855-5E75D22CA166}"/>
          </ac:picMkLst>
        </pc:picChg>
        <pc:picChg chg="add del mod">
          <ac:chgData name="Sabina PETRASHOVA" userId="7d838aae-e6ab-4ec0-b04f-8f08a9482ebc" providerId="ADAL" clId="{C1847504-C51D-45E1-96BE-B0CE464851E6}" dt="2023-09-18T13:51:33.884" v="6229" actId="478"/>
          <ac:picMkLst>
            <pc:docMk/>
            <pc:sldMk cId="278627115" sldId="2147471323"/>
            <ac:picMk id="11" creationId="{9E043880-8820-5D74-CBFB-92AC65166DD0}"/>
          </ac:picMkLst>
        </pc:picChg>
        <pc:picChg chg="add mod">
          <ac:chgData name="Sabina PETRASHOVA" userId="7d838aae-e6ab-4ec0-b04f-8f08a9482ebc" providerId="ADAL" clId="{C1847504-C51D-45E1-96BE-B0CE464851E6}" dt="2023-09-26T15:04:29.966" v="28862"/>
          <ac:picMkLst>
            <pc:docMk/>
            <pc:sldMk cId="278627115" sldId="2147471323"/>
            <ac:picMk id="12" creationId="{17C183C1-C79A-2A25-00D8-37FBB7AAC9B6}"/>
          </ac:picMkLst>
        </pc:picChg>
        <pc:picChg chg="add del mod">
          <ac:chgData name="Sabina PETRASHOVA" userId="7d838aae-e6ab-4ec0-b04f-8f08a9482ebc" providerId="ADAL" clId="{C1847504-C51D-45E1-96BE-B0CE464851E6}" dt="2023-09-26T13:49:46.892" v="28323" actId="478"/>
          <ac:picMkLst>
            <pc:docMk/>
            <pc:sldMk cId="278627115" sldId="2147471323"/>
            <ac:picMk id="13" creationId="{10816AD4-9C09-BA23-980D-1418B7B80DC3}"/>
          </ac:picMkLst>
        </pc:picChg>
        <pc:picChg chg="add del">
          <ac:chgData name="Sabina PETRASHOVA" userId="7d838aae-e6ab-4ec0-b04f-8f08a9482ebc" providerId="ADAL" clId="{C1847504-C51D-45E1-96BE-B0CE464851E6}" dt="2023-09-18T14:02:05.271" v="6513" actId="478"/>
          <ac:picMkLst>
            <pc:docMk/>
            <pc:sldMk cId="278627115" sldId="2147471323"/>
            <ac:picMk id="16" creationId="{D25FAE66-48E6-302A-5CF5-6F7B5668F753}"/>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14:19:11.535" v="33063"/>
              <pc2:cmMkLst xmlns:pc2="http://schemas.microsoft.com/office/powerpoint/2019/9/main/command">
                <pc:docMk/>
                <pc:sldMk cId="278627115" sldId="2147471323"/>
                <pc2:cmMk id="{4743EB01-E9CB-4D06-95A8-1C15074C7C3D}"/>
              </pc2:cmMkLst>
            </pc226:cmChg>
            <pc226:cmChg xmlns:pc226="http://schemas.microsoft.com/office/powerpoint/2022/06/main/command" chg="mod modRxn">
              <pc226:chgData name="Sabina PETRASHOVA" userId="7d838aae-e6ab-4ec0-b04f-8f08a9482ebc" providerId="ADAL" clId="{C1847504-C51D-45E1-96BE-B0CE464851E6}" dt="2023-09-29T06:01:01.969" v="35728"/>
              <pc2:cmMkLst xmlns:pc2="http://schemas.microsoft.com/office/powerpoint/2019/9/main/command">
                <pc:docMk/>
                <pc:sldMk cId="278627115" sldId="2147471323"/>
                <pc2:cmMk id="{A03D3E5A-4814-40D1-BA3E-981A4E2B47D8}"/>
              </pc2:cmMkLst>
            </pc226:cmChg>
          </p:ext>
        </pc:extLst>
      </pc:sldChg>
      <pc:sldChg chg="addSp delSp modSp add mod modCm">
        <pc:chgData name="Sabina PETRASHOVA" userId="7d838aae-e6ab-4ec0-b04f-8f08a9482ebc" providerId="ADAL" clId="{C1847504-C51D-45E1-96BE-B0CE464851E6}" dt="2023-09-29T06:00:52.689" v="35727"/>
        <pc:sldMkLst>
          <pc:docMk/>
          <pc:sldMk cId="2984941390" sldId="2147471324"/>
        </pc:sldMkLst>
        <pc:spChg chg="mod">
          <ac:chgData name="Sabina PETRASHOVA" userId="7d838aae-e6ab-4ec0-b04f-8f08a9482ebc" providerId="ADAL" clId="{C1847504-C51D-45E1-96BE-B0CE464851E6}" dt="2023-09-26T10:09:30.543" v="25219" actId="313"/>
          <ac:spMkLst>
            <pc:docMk/>
            <pc:sldMk cId="2984941390" sldId="2147471324"/>
            <ac:spMk id="2" creationId="{A3A5715A-F78A-BB39-E01A-766708689330}"/>
          </ac:spMkLst>
        </pc:spChg>
        <pc:spChg chg="add del mod">
          <ac:chgData name="Sabina PETRASHOVA" userId="7d838aae-e6ab-4ec0-b04f-8f08a9482ebc" providerId="ADAL" clId="{C1847504-C51D-45E1-96BE-B0CE464851E6}" dt="2023-09-19T19:46:54.871" v="14062" actId="478"/>
          <ac:spMkLst>
            <pc:docMk/>
            <pc:sldMk cId="2984941390" sldId="2147471324"/>
            <ac:spMk id="5" creationId="{453CEE7E-C4CD-2C10-7006-8891A398F28C}"/>
          </ac:spMkLst>
        </pc:spChg>
        <pc:spChg chg="add mod">
          <ac:chgData name="Sabina PETRASHOVA" userId="7d838aae-e6ab-4ec0-b04f-8f08a9482ebc" providerId="ADAL" clId="{C1847504-C51D-45E1-96BE-B0CE464851E6}" dt="2023-09-26T10:21:51.077" v="25610" actId="108"/>
          <ac:spMkLst>
            <pc:docMk/>
            <pc:sldMk cId="2984941390" sldId="2147471324"/>
            <ac:spMk id="6" creationId="{5739D314-2C51-9ECE-0D2E-97FBE85B96D9}"/>
          </ac:spMkLst>
        </pc:spChg>
        <pc:spChg chg="add del mod">
          <ac:chgData name="Sabina PETRASHOVA" userId="7d838aae-e6ab-4ec0-b04f-8f08a9482ebc" providerId="ADAL" clId="{C1847504-C51D-45E1-96BE-B0CE464851E6}" dt="2023-09-19T20:16:42.573" v="15372"/>
          <ac:spMkLst>
            <pc:docMk/>
            <pc:sldMk cId="2984941390" sldId="2147471324"/>
            <ac:spMk id="7" creationId="{84256397-CD35-785C-175F-D529ABA65433}"/>
          </ac:spMkLst>
        </pc:spChg>
        <pc:spChg chg="del mod">
          <ac:chgData name="Sabina PETRASHOVA" userId="7d838aae-e6ab-4ec0-b04f-8f08a9482ebc" providerId="ADAL" clId="{C1847504-C51D-45E1-96BE-B0CE464851E6}" dt="2023-09-26T10:07:16.468" v="25125" actId="478"/>
          <ac:spMkLst>
            <pc:docMk/>
            <pc:sldMk cId="2984941390" sldId="2147471324"/>
            <ac:spMk id="7" creationId="{9611A116-30A4-7502-B959-F495BAEFA680}"/>
          </ac:spMkLst>
        </pc:spChg>
        <pc:spChg chg="del mod">
          <ac:chgData name="Sabina PETRASHOVA" userId="7d838aae-e6ab-4ec0-b04f-8f08a9482ebc" providerId="ADAL" clId="{C1847504-C51D-45E1-96BE-B0CE464851E6}" dt="2023-09-19T19:47:09.434" v="14064" actId="478"/>
          <ac:spMkLst>
            <pc:docMk/>
            <pc:sldMk cId="2984941390" sldId="2147471324"/>
            <ac:spMk id="9" creationId="{5AB29B44-8B17-F035-B9C5-C0BE65FDD656}"/>
          </ac:spMkLst>
        </pc:spChg>
        <pc:spChg chg="del mod">
          <ac:chgData name="Sabina PETRASHOVA" userId="7d838aae-e6ab-4ec0-b04f-8f08a9482ebc" providerId="ADAL" clId="{C1847504-C51D-45E1-96BE-B0CE464851E6}" dt="2023-09-26T10:13:46.727" v="25379" actId="478"/>
          <ac:spMkLst>
            <pc:docMk/>
            <pc:sldMk cId="2984941390" sldId="2147471324"/>
            <ac:spMk id="9" creationId="{D702AD00-7ED4-BE24-FDB6-B69712AB4A3E}"/>
          </ac:spMkLst>
        </pc:spChg>
        <pc:spChg chg="add del mod">
          <ac:chgData name="Sabina PETRASHOVA" userId="7d838aae-e6ab-4ec0-b04f-8f08a9482ebc" providerId="ADAL" clId="{C1847504-C51D-45E1-96BE-B0CE464851E6}" dt="2023-09-26T13:08:50.925" v="27047" actId="478"/>
          <ac:spMkLst>
            <pc:docMk/>
            <pc:sldMk cId="2984941390" sldId="2147471324"/>
            <ac:spMk id="10" creationId="{B3E20DFB-4DD4-93B2-1779-1702790B4E11}"/>
          </ac:spMkLst>
        </pc:spChg>
        <pc:spChg chg="add mod">
          <ac:chgData name="Sabina PETRASHOVA" userId="7d838aae-e6ab-4ec0-b04f-8f08a9482ebc" providerId="ADAL" clId="{C1847504-C51D-45E1-96BE-B0CE464851E6}" dt="2023-09-25T13:47:15.172" v="22394" actId="1076"/>
          <ac:spMkLst>
            <pc:docMk/>
            <pc:sldMk cId="2984941390" sldId="2147471324"/>
            <ac:spMk id="11" creationId="{9ABEEFE5-2358-2E4A-6AA5-8285BD638A0B}"/>
          </ac:spMkLst>
        </pc:spChg>
        <pc:graphicFrameChg chg="del mod modGraphic">
          <ac:chgData name="Sabina PETRASHOVA" userId="7d838aae-e6ab-4ec0-b04f-8f08a9482ebc" providerId="ADAL" clId="{C1847504-C51D-45E1-96BE-B0CE464851E6}" dt="2023-09-26T10:13:43.773" v="25377" actId="478"/>
          <ac:graphicFrameMkLst>
            <pc:docMk/>
            <pc:sldMk cId="2984941390" sldId="2147471324"/>
            <ac:graphicFrameMk id="5" creationId="{7DC9FA49-3765-D15E-F04D-CAEDC426A7D9}"/>
          </ac:graphicFrameMkLst>
        </pc:graphicFrameChg>
        <pc:graphicFrameChg chg="add mod">
          <ac:chgData name="Sabina PETRASHOVA" userId="7d838aae-e6ab-4ec0-b04f-8f08a9482ebc" providerId="ADAL" clId="{C1847504-C51D-45E1-96BE-B0CE464851E6}" dt="2023-09-26T11:59:28.320" v="26127"/>
          <ac:graphicFrameMkLst>
            <pc:docMk/>
            <pc:sldMk cId="2984941390" sldId="2147471324"/>
            <ac:graphicFrameMk id="5" creationId="{F092B047-C615-82EF-866C-BB6246E17A76}"/>
          </ac:graphicFrameMkLst>
        </pc:graphicFrameChg>
        <pc:graphicFrameChg chg="add del mod modGraphic">
          <ac:chgData name="Sabina PETRASHOVA" userId="7d838aae-e6ab-4ec0-b04f-8f08a9482ebc" providerId="ADAL" clId="{C1847504-C51D-45E1-96BE-B0CE464851E6}" dt="2023-09-26T10:13:53.904" v="25381" actId="478"/>
          <ac:graphicFrameMkLst>
            <pc:docMk/>
            <pc:sldMk cId="2984941390" sldId="2147471324"/>
            <ac:graphicFrameMk id="8" creationId="{81B483E1-72B7-41F4-3F8F-DBCAFF0F2FFF}"/>
          </ac:graphicFrameMkLst>
        </pc:graphicFrameChg>
        <pc:graphicFrameChg chg="add del mod modGraphic">
          <ac:chgData name="Sabina PETRASHOVA" userId="7d838aae-e6ab-4ec0-b04f-8f08a9482ebc" providerId="ADAL" clId="{C1847504-C51D-45E1-96BE-B0CE464851E6}" dt="2023-09-26T10:01:10.598" v="24926" actId="478"/>
          <ac:graphicFrameMkLst>
            <pc:docMk/>
            <pc:sldMk cId="2984941390" sldId="2147471324"/>
            <ac:graphicFrameMk id="14" creationId="{4E72E9EE-BF07-F872-3BB5-C3434324DBF1}"/>
          </ac:graphicFrameMkLst>
        </pc:graphicFrameChg>
        <pc:graphicFrameChg chg="add mod modGraphic">
          <ac:chgData name="Sabina PETRASHOVA" userId="7d838aae-e6ab-4ec0-b04f-8f08a9482ebc" providerId="ADAL" clId="{C1847504-C51D-45E1-96BE-B0CE464851E6}" dt="2023-09-28T14:03:44.285" v="32662"/>
          <ac:graphicFrameMkLst>
            <pc:docMk/>
            <pc:sldMk cId="2984941390" sldId="2147471324"/>
            <ac:graphicFrameMk id="15" creationId="{DEFAA5A9-1531-0EC9-6CC3-912D28B6D33D}"/>
          </ac:graphicFrameMkLst>
        </pc:graphicFrameChg>
        <pc:picChg chg="add mod">
          <ac:chgData name="Sabina PETRASHOVA" userId="7d838aae-e6ab-4ec0-b04f-8f08a9482ebc" providerId="ADAL" clId="{C1847504-C51D-45E1-96BE-B0CE464851E6}" dt="2023-09-28T14:04:44.886" v="32671" actId="1076"/>
          <ac:picMkLst>
            <pc:docMk/>
            <pc:sldMk cId="2984941390" sldId="2147471324"/>
            <ac:picMk id="7" creationId="{A399E83C-A73E-40CB-74B2-E1D6002CF2E7}"/>
          </ac:picMkLst>
        </pc:picChg>
        <pc:picChg chg="add mod">
          <ac:chgData name="Sabina PETRASHOVA" userId="7d838aae-e6ab-4ec0-b04f-8f08a9482ebc" providerId="ADAL" clId="{C1847504-C51D-45E1-96BE-B0CE464851E6}" dt="2023-09-25T13:47:15.172" v="22394" actId="1076"/>
          <ac:picMkLst>
            <pc:docMk/>
            <pc:sldMk cId="2984941390" sldId="2147471324"/>
            <ac:picMk id="12" creationId="{62CE0CBC-524E-BC13-23CF-A95BFE0D3764}"/>
          </ac:picMkLst>
        </pc:picChg>
        <pc:picChg chg="add del mod">
          <ac:chgData name="Sabina PETRASHOVA" userId="7d838aae-e6ab-4ec0-b04f-8f08a9482ebc" providerId="ADAL" clId="{C1847504-C51D-45E1-96BE-B0CE464851E6}" dt="2023-09-26T09:59:14.399" v="24914" actId="478"/>
          <ac:picMkLst>
            <pc:docMk/>
            <pc:sldMk cId="2984941390" sldId="2147471324"/>
            <ac:picMk id="13" creationId="{93DD0A16-9B10-0E35-AADB-86B2CE6CF855}"/>
          </ac:picMkLst>
        </pc:picChg>
        <pc:picChg chg="add mod">
          <ac:chgData name="Sabina PETRASHOVA" userId="7d838aae-e6ab-4ec0-b04f-8f08a9482ebc" providerId="ADAL" clId="{C1847504-C51D-45E1-96BE-B0CE464851E6}" dt="2023-09-28T14:04:55.267" v="32674" actId="1076"/>
          <ac:picMkLst>
            <pc:docMk/>
            <pc:sldMk cId="2984941390" sldId="2147471324"/>
            <ac:picMk id="16" creationId="{DB450D37-60D5-264E-8C50-A8A71D0B7965}"/>
          </ac:picMkLst>
        </pc:picChg>
        <pc:picChg chg="add mod">
          <ac:chgData name="Sabina PETRASHOVA" userId="7d838aae-e6ab-4ec0-b04f-8f08a9482ebc" providerId="ADAL" clId="{C1847504-C51D-45E1-96BE-B0CE464851E6}" dt="2023-09-28T14:04:53.145" v="32673" actId="1076"/>
          <ac:picMkLst>
            <pc:docMk/>
            <pc:sldMk cId="2984941390" sldId="2147471324"/>
            <ac:picMk id="17" creationId="{F6783654-345D-8572-72ED-E9F0035D034E}"/>
          </ac:picMkLst>
        </pc:picChg>
        <pc:picChg chg="add mod">
          <ac:chgData name="Sabina PETRASHOVA" userId="7d838aae-e6ab-4ec0-b04f-8f08a9482ebc" providerId="ADAL" clId="{C1847504-C51D-45E1-96BE-B0CE464851E6}" dt="2023-09-28T14:04:47.120" v="32672" actId="1076"/>
          <ac:picMkLst>
            <pc:docMk/>
            <pc:sldMk cId="2984941390" sldId="2147471324"/>
            <ac:picMk id="18" creationId="{5A4A3CEF-FA1A-FE6F-15BE-128BE3F8F14A}"/>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9T06:00:52.689" v="35727"/>
              <pc2:cmMkLst xmlns:pc2="http://schemas.microsoft.com/office/powerpoint/2019/9/main/command">
                <pc:docMk/>
                <pc:sldMk cId="2984941390" sldId="2147471324"/>
                <pc2:cmMk id="{1C30C189-2542-4E1A-920D-1B4D4ED447CC}"/>
              </pc2:cmMkLst>
            </pc226:cmChg>
          </p:ext>
        </pc:extLst>
      </pc:sldChg>
      <pc:sldChg chg="modSp add del mod">
        <pc:chgData name="Sabina PETRASHOVA" userId="7d838aae-e6ab-4ec0-b04f-8f08a9482ebc" providerId="ADAL" clId="{C1847504-C51D-45E1-96BE-B0CE464851E6}" dt="2023-09-19T19:41:28.883" v="14003" actId="2696"/>
        <pc:sldMkLst>
          <pc:docMk/>
          <pc:sldMk cId="3553255415" sldId="2147471325"/>
        </pc:sldMkLst>
        <pc:spChg chg="mod">
          <ac:chgData name="Sabina PETRASHOVA" userId="7d838aae-e6ab-4ec0-b04f-8f08a9482ebc" providerId="ADAL" clId="{C1847504-C51D-45E1-96BE-B0CE464851E6}" dt="2023-09-19T13:40:04.116" v="10396" actId="20577"/>
          <ac:spMkLst>
            <pc:docMk/>
            <pc:sldMk cId="3553255415" sldId="2147471325"/>
            <ac:spMk id="2" creationId="{A3A5715A-F78A-BB39-E01A-766708689330}"/>
          </ac:spMkLst>
        </pc:spChg>
      </pc:sldChg>
      <pc:sldChg chg="addSp modSp del mod ord">
        <pc:chgData name="Sabina PETRASHOVA" userId="7d838aae-e6ab-4ec0-b04f-8f08a9482ebc" providerId="ADAL" clId="{C1847504-C51D-45E1-96BE-B0CE464851E6}" dt="2023-09-22T15:41:36.721" v="21893" actId="2696"/>
        <pc:sldMkLst>
          <pc:docMk/>
          <pc:sldMk cId="3578627088" sldId="2147471325"/>
        </pc:sldMkLst>
        <pc:spChg chg="mod">
          <ac:chgData name="Sabina PETRASHOVA" userId="7d838aae-e6ab-4ec0-b04f-8f08a9482ebc" providerId="ADAL" clId="{C1847504-C51D-45E1-96BE-B0CE464851E6}" dt="2023-09-20T08:57:50.842" v="15716" actId="20577"/>
          <ac:spMkLst>
            <pc:docMk/>
            <pc:sldMk cId="3578627088" sldId="2147471325"/>
            <ac:spMk id="2" creationId="{A7267C16-6535-7340-73FB-30E29AE782F5}"/>
          </ac:spMkLst>
        </pc:spChg>
        <pc:spChg chg="add mod">
          <ac:chgData name="Sabina PETRASHOVA" userId="7d838aae-e6ab-4ec0-b04f-8f08a9482ebc" providerId="ADAL" clId="{C1847504-C51D-45E1-96BE-B0CE464851E6}" dt="2023-09-20T08:58:24.854" v="15843" actId="20577"/>
          <ac:spMkLst>
            <pc:docMk/>
            <pc:sldMk cId="3578627088" sldId="2147471325"/>
            <ac:spMk id="5" creationId="{B8B231DE-9A9C-FC19-C7CC-32CF1D834397}"/>
          </ac:spMkLst>
        </pc:spChg>
      </pc:sldChg>
      <pc:sldChg chg="addSp delSp modSp new del mod ord">
        <pc:chgData name="Sabina PETRASHOVA" userId="7d838aae-e6ab-4ec0-b04f-8f08a9482ebc" providerId="ADAL" clId="{C1847504-C51D-45E1-96BE-B0CE464851E6}" dt="2023-09-26T10:29:32.914" v="26051" actId="2696"/>
        <pc:sldMkLst>
          <pc:docMk/>
          <pc:sldMk cId="4137490407" sldId="2147471326"/>
        </pc:sldMkLst>
        <pc:spChg chg="mod">
          <ac:chgData name="Sabina PETRASHOVA" userId="7d838aae-e6ab-4ec0-b04f-8f08a9482ebc" providerId="ADAL" clId="{C1847504-C51D-45E1-96BE-B0CE464851E6}" dt="2023-09-22T15:45:01.891" v="21925" actId="552"/>
          <ac:spMkLst>
            <pc:docMk/>
            <pc:sldMk cId="4137490407" sldId="2147471326"/>
            <ac:spMk id="2" creationId="{00B58783-62F8-4A56-91D7-EB7D5D8CCD32}"/>
          </ac:spMkLst>
        </pc:spChg>
        <pc:spChg chg="add del mod">
          <ac:chgData name="Sabina PETRASHOVA" userId="7d838aae-e6ab-4ec0-b04f-8f08a9482ebc" providerId="ADAL" clId="{C1847504-C51D-45E1-96BE-B0CE464851E6}" dt="2023-09-20T09:47:06.923" v="15926" actId="478"/>
          <ac:spMkLst>
            <pc:docMk/>
            <pc:sldMk cId="4137490407" sldId="2147471326"/>
            <ac:spMk id="5" creationId="{582C2E8D-FBDD-A48F-BD2C-42EA64052518}"/>
          </ac:spMkLst>
        </pc:spChg>
        <pc:spChg chg="add del mod">
          <ac:chgData name="Sabina PETRASHOVA" userId="7d838aae-e6ab-4ec0-b04f-8f08a9482ebc" providerId="ADAL" clId="{C1847504-C51D-45E1-96BE-B0CE464851E6}" dt="2023-09-25T13:46:13.320" v="22386" actId="478"/>
          <ac:spMkLst>
            <pc:docMk/>
            <pc:sldMk cId="4137490407" sldId="2147471326"/>
            <ac:spMk id="5" creationId="{F7C6C305-C134-6AEA-B158-58526D2CE2DB}"/>
          </ac:spMkLst>
        </pc:spChg>
        <pc:spChg chg="add del mod">
          <ac:chgData name="Sabina PETRASHOVA" userId="7d838aae-e6ab-4ec0-b04f-8f08a9482ebc" providerId="ADAL" clId="{C1847504-C51D-45E1-96BE-B0CE464851E6}" dt="2023-09-20T09:49:07.533" v="16026" actId="478"/>
          <ac:spMkLst>
            <pc:docMk/>
            <pc:sldMk cId="4137490407" sldId="2147471326"/>
            <ac:spMk id="6" creationId="{8C88DA0A-CD96-6F28-8804-6AFAFFDCDB4B}"/>
          </ac:spMkLst>
        </pc:spChg>
        <pc:spChg chg="add del mod">
          <ac:chgData name="Sabina PETRASHOVA" userId="7d838aae-e6ab-4ec0-b04f-8f08a9482ebc" providerId="ADAL" clId="{C1847504-C51D-45E1-96BE-B0CE464851E6}" dt="2023-09-20T09:50:00.481" v="16030" actId="478"/>
          <ac:spMkLst>
            <pc:docMk/>
            <pc:sldMk cId="4137490407" sldId="2147471326"/>
            <ac:spMk id="7" creationId="{B5C89935-17EC-E71A-A4CC-C5825CF385F0}"/>
          </ac:spMkLst>
        </pc:spChg>
        <pc:spChg chg="add mod">
          <ac:chgData name="Sabina PETRASHOVA" userId="7d838aae-e6ab-4ec0-b04f-8f08a9482ebc" providerId="ADAL" clId="{C1847504-C51D-45E1-96BE-B0CE464851E6}" dt="2023-09-22T13:26:44.300" v="20251" actId="1037"/>
          <ac:spMkLst>
            <pc:docMk/>
            <pc:sldMk cId="4137490407" sldId="2147471326"/>
            <ac:spMk id="8" creationId="{F2072E0C-4B77-A227-6ED5-602EDBCF80C5}"/>
          </ac:spMkLst>
        </pc:spChg>
        <pc:spChg chg="add mod ord">
          <ac:chgData name="Sabina PETRASHOVA" userId="7d838aae-e6ab-4ec0-b04f-8f08a9482ebc" providerId="ADAL" clId="{C1847504-C51D-45E1-96BE-B0CE464851E6}" dt="2023-09-22T13:30:28.443" v="20255" actId="1076"/>
          <ac:spMkLst>
            <pc:docMk/>
            <pc:sldMk cId="4137490407" sldId="2147471326"/>
            <ac:spMk id="19" creationId="{22A190C3-B9DE-D456-8568-F2C643BD39C8}"/>
          </ac:spMkLst>
        </pc:spChg>
        <pc:spChg chg="add mod">
          <ac:chgData name="Sabina PETRASHOVA" userId="7d838aae-e6ab-4ec0-b04f-8f08a9482ebc" providerId="ADAL" clId="{C1847504-C51D-45E1-96BE-B0CE464851E6}" dt="2023-09-22T13:30:45.757" v="20259" actId="1076"/>
          <ac:spMkLst>
            <pc:docMk/>
            <pc:sldMk cId="4137490407" sldId="2147471326"/>
            <ac:spMk id="20" creationId="{976E7A07-5824-37F2-CD08-C992299A1641}"/>
          </ac:spMkLst>
        </pc:spChg>
        <pc:spChg chg="add mod">
          <ac:chgData name="Sabina PETRASHOVA" userId="7d838aae-e6ab-4ec0-b04f-8f08a9482ebc" providerId="ADAL" clId="{C1847504-C51D-45E1-96BE-B0CE464851E6}" dt="2023-09-22T13:30:40.740" v="20258" actId="1076"/>
          <ac:spMkLst>
            <pc:docMk/>
            <pc:sldMk cId="4137490407" sldId="2147471326"/>
            <ac:spMk id="21" creationId="{CDB27609-5439-99FA-8AF0-50A7BF80A92C}"/>
          </ac:spMkLst>
        </pc:spChg>
        <pc:spChg chg="add mod">
          <ac:chgData name="Sabina PETRASHOVA" userId="7d838aae-e6ab-4ec0-b04f-8f08a9482ebc" providerId="ADAL" clId="{C1847504-C51D-45E1-96BE-B0CE464851E6}" dt="2023-09-22T13:26:44.300" v="20251" actId="1037"/>
          <ac:spMkLst>
            <pc:docMk/>
            <pc:sldMk cId="4137490407" sldId="2147471326"/>
            <ac:spMk id="30" creationId="{5162E577-A9DD-BCA2-D225-AAE5F25B295E}"/>
          </ac:spMkLst>
        </pc:spChg>
        <pc:spChg chg="add mod">
          <ac:chgData name="Sabina PETRASHOVA" userId="7d838aae-e6ab-4ec0-b04f-8f08a9482ebc" providerId="ADAL" clId="{C1847504-C51D-45E1-96BE-B0CE464851E6}" dt="2023-09-22T13:26:44.300" v="20251" actId="1037"/>
          <ac:spMkLst>
            <pc:docMk/>
            <pc:sldMk cId="4137490407" sldId="2147471326"/>
            <ac:spMk id="31" creationId="{3A563EEE-7630-1873-A28F-EE754A32DB9B}"/>
          </ac:spMkLst>
        </pc:spChg>
        <pc:spChg chg="add mod">
          <ac:chgData name="Sabina PETRASHOVA" userId="7d838aae-e6ab-4ec0-b04f-8f08a9482ebc" providerId="ADAL" clId="{C1847504-C51D-45E1-96BE-B0CE464851E6}" dt="2023-09-22T15:47:56.123" v="21937" actId="1076"/>
          <ac:spMkLst>
            <pc:docMk/>
            <pc:sldMk cId="4137490407" sldId="2147471326"/>
            <ac:spMk id="32" creationId="{A55641F9-9A47-FB68-07A8-8F124392EDEB}"/>
          </ac:spMkLst>
        </pc:spChg>
        <pc:picChg chg="add del mod">
          <ac:chgData name="Sabina PETRASHOVA" userId="7d838aae-e6ab-4ec0-b04f-8f08a9482ebc" providerId="ADAL" clId="{C1847504-C51D-45E1-96BE-B0CE464851E6}" dt="2023-09-25T13:46:13.320" v="22386" actId="478"/>
          <ac:picMkLst>
            <pc:docMk/>
            <pc:sldMk cId="4137490407" sldId="2147471326"/>
            <ac:picMk id="6" creationId="{A9219C67-BC11-5A34-529A-A6EC27E52667}"/>
          </ac:picMkLst>
        </pc:picChg>
        <pc:picChg chg="add del mod">
          <ac:chgData name="Sabina PETRASHOVA" userId="7d838aae-e6ab-4ec0-b04f-8f08a9482ebc" providerId="ADAL" clId="{C1847504-C51D-45E1-96BE-B0CE464851E6}" dt="2023-09-26T10:27:00.499" v="25942" actId="21"/>
          <ac:picMkLst>
            <pc:docMk/>
            <pc:sldMk cId="4137490407" sldId="2147471326"/>
            <ac:picMk id="9" creationId="{5B8E0A41-EAF2-BB2E-A4BF-414C300AB68D}"/>
          </ac:picMkLst>
        </pc:picChg>
        <pc:picChg chg="add del mod">
          <ac:chgData name="Sabina PETRASHOVA" userId="7d838aae-e6ab-4ec0-b04f-8f08a9482ebc" providerId="ADAL" clId="{C1847504-C51D-45E1-96BE-B0CE464851E6}" dt="2023-09-26T10:27:00.499" v="25942" actId="21"/>
          <ac:picMkLst>
            <pc:docMk/>
            <pc:sldMk cId="4137490407" sldId="2147471326"/>
            <ac:picMk id="11" creationId="{0A5BF9D1-DF48-3BE5-8264-50969AB110BE}"/>
          </ac:picMkLst>
        </pc:picChg>
        <pc:picChg chg="add del mod">
          <ac:chgData name="Sabina PETRASHOVA" userId="7d838aae-e6ab-4ec0-b04f-8f08a9482ebc" providerId="ADAL" clId="{C1847504-C51D-45E1-96BE-B0CE464851E6}" dt="2023-09-26T10:27:00.499" v="25942" actId="21"/>
          <ac:picMkLst>
            <pc:docMk/>
            <pc:sldMk cId="4137490407" sldId="2147471326"/>
            <ac:picMk id="14" creationId="{042E6995-B294-F00B-7F0A-0B55F041E980}"/>
          </ac:picMkLst>
        </pc:picChg>
        <pc:cxnChg chg="add del mod">
          <ac:chgData name="Sabina PETRASHOVA" userId="7d838aae-e6ab-4ec0-b04f-8f08a9482ebc" providerId="ADAL" clId="{C1847504-C51D-45E1-96BE-B0CE464851E6}" dt="2023-09-20T10:00:26.488" v="16038" actId="478"/>
          <ac:cxnSpMkLst>
            <pc:docMk/>
            <pc:sldMk cId="4137490407" sldId="2147471326"/>
            <ac:cxnSpMk id="10" creationId="{BAE8B67F-FED2-2183-10FD-3595092D2E9E}"/>
          </ac:cxnSpMkLst>
        </pc:cxnChg>
        <pc:cxnChg chg="add mod">
          <ac:chgData name="Sabina PETRASHOVA" userId="7d838aae-e6ab-4ec0-b04f-8f08a9482ebc" providerId="ADAL" clId="{C1847504-C51D-45E1-96BE-B0CE464851E6}" dt="2023-09-22T13:44:36.018" v="20534" actId="17032"/>
          <ac:cxnSpMkLst>
            <pc:docMk/>
            <pc:sldMk cId="4137490407" sldId="2147471326"/>
            <ac:cxnSpMk id="13" creationId="{187808B2-647C-19C8-237B-BD19B728D4A9}"/>
          </ac:cxnSpMkLst>
        </pc:cxnChg>
        <pc:cxnChg chg="add mod">
          <ac:chgData name="Sabina PETRASHOVA" userId="7d838aae-e6ab-4ec0-b04f-8f08a9482ebc" providerId="ADAL" clId="{C1847504-C51D-45E1-96BE-B0CE464851E6}" dt="2023-09-22T13:44:36.018" v="20534" actId="17032"/>
          <ac:cxnSpMkLst>
            <pc:docMk/>
            <pc:sldMk cId="4137490407" sldId="2147471326"/>
            <ac:cxnSpMk id="16" creationId="{6C80EFF7-3183-C5CC-4AAB-B80C0C651C74}"/>
          </ac:cxnSpMkLst>
        </pc:cxnChg>
        <pc:cxnChg chg="add mod">
          <ac:chgData name="Sabina PETRASHOVA" userId="7d838aae-e6ab-4ec0-b04f-8f08a9482ebc" providerId="ADAL" clId="{C1847504-C51D-45E1-96BE-B0CE464851E6}" dt="2023-09-22T13:26:44.300" v="20251" actId="1037"/>
          <ac:cxnSpMkLst>
            <pc:docMk/>
            <pc:sldMk cId="4137490407" sldId="2147471326"/>
            <ac:cxnSpMk id="23" creationId="{2479D5D6-E7A9-2715-E9BC-9B75362F788A}"/>
          </ac:cxnSpMkLst>
        </pc:cxnChg>
        <pc:cxnChg chg="add mod">
          <ac:chgData name="Sabina PETRASHOVA" userId="7d838aae-e6ab-4ec0-b04f-8f08a9482ebc" providerId="ADAL" clId="{C1847504-C51D-45E1-96BE-B0CE464851E6}" dt="2023-09-22T13:26:44.300" v="20251" actId="1037"/>
          <ac:cxnSpMkLst>
            <pc:docMk/>
            <pc:sldMk cId="4137490407" sldId="2147471326"/>
            <ac:cxnSpMk id="25" creationId="{6A3757CB-607C-CBD5-5F2B-CB9F213A0DEF}"/>
          </ac:cxnSpMkLst>
        </pc:cxnChg>
        <pc:cxnChg chg="add mod">
          <ac:chgData name="Sabina PETRASHOVA" userId="7d838aae-e6ab-4ec0-b04f-8f08a9482ebc" providerId="ADAL" clId="{C1847504-C51D-45E1-96BE-B0CE464851E6}" dt="2023-09-22T13:26:44.300" v="20251" actId="1037"/>
          <ac:cxnSpMkLst>
            <pc:docMk/>
            <pc:sldMk cId="4137490407" sldId="2147471326"/>
            <ac:cxnSpMk id="27" creationId="{FBA22FD7-14F6-7286-67D9-D5BAEBBCB702}"/>
          </ac:cxnSpMkLst>
        </pc:cxnChg>
      </pc:sldChg>
      <pc:sldChg chg="addSp delSp modSp mod modCm">
        <pc:chgData name="Sabina PETRASHOVA" userId="7d838aae-e6ab-4ec0-b04f-8f08a9482ebc" providerId="ADAL" clId="{C1847504-C51D-45E1-96BE-B0CE464851E6}" dt="2023-09-29T07:46:25.916" v="39230" actId="20577"/>
        <pc:sldMkLst>
          <pc:docMk/>
          <pc:sldMk cId="1956007334" sldId="2147471327"/>
        </pc:sldMkLst>
        <pc:spChg chg="add mod">
          <ac:chgData name="Sabina PETRASHOVA" userId="7d838aae-e6ab-4ec0-b04f-8f08a9482ebc" providerId="ADAL" clId="{C1847504-C51D-45E1-96BE-B0CE464851E6}" dt="2023-09-21T11:35:05.765" v="16786"/>
          <ac:spMkLst>
            <pc:docMk/>
            <pc:sldMk cId="1956007334" sldId="2147471327"/>
            <ac:spMk id="3" creationId="{19EC11AB-D358-0F3F-8F9D-911571D91F9F}"/>
          </ac:spMkLst>
        </pc:spChg>
        <pc:spChg chg="add mod">
          <ac:chgData name="Sabina PETRASHOVA" userId="7d838aae-e6ab-4ec0-b04f-8f08a9482ebc" providerId="ADAL" clId="{C1847504-C51D-45E1-96BE-B0CE464851E6}" dt="2023-09-26T12:02:39.313" v="26147" actId="1076"/>
          <ac:spMkLst>
            <pc:docMk/>
            <pc:sldMk cId="1956007334" sldId="2147471327"/>
            <ac:spMk id="5" creationId="{0904C127-81E1-F914-242C-C221E7F76BB6}"/>
          </ac:spMkLst>
        </pc:spChg>
        <pc:spChg chg="add mod">
          <ac:chgData name="Sabina PETRASHOVA" userId="7d838aae-e6ab-4ec0-b04f-8f08a9482ebc" providerId="ADAL" clId="{C1847504-C51D-45E1-96BE-B0CE464851E6}" dt="2023-09-26T12:03:01.690" v="26150" actId="1076"/>
          <ac:spMkLst>
            <pc:docMk/>
            <pc:sldMk cId="1956007334" sldId="2147471327"/>
            <ac:spMk id="6" creationId="{D65CDA4F-CAEA-C2BB-AC0E-868D868BE0CD}"/>
          </ac:spMkLst>
        </pc:spChg>
        <pc:spChg chg="add mod">
          <ac:chgData name="Sabina PETRASHOVA" userId="7d838aae-e6ab-4ec0-b04f-8f08a9482ebc" providerId="ADAL" clId="{C1847504-C51D-45E1-96BE-B0CE464851E6}" dt="2023-09-26T12:03:55.378" v="26186" actId="20577"/>
          <ac:spMkLst>
            <pc:docMk/>
            <pc:sldMk cId="1956007334" sldId="2147471327"/>
            <ac:spMk id="7" creationId="{3A7D1AAC-0AC9-15F4-9AB5-84DBF569ACBD}"/>
          </ac:spMkLst>
        </pc:spChg>
        <pc:spChg chg="add del mod">
          <ac:chgData name="Sabina PETRASHOVA" userId="7d838aae-e6ab-4ec0-b04f-8f08a9482ebc" providerId="ADAL" clId="{C1847504-C51D-45E1-96BE-B0CE464851E6}" dt="2023-09-22T12:45:25.827" v="18787" actId="478"/>
          <ac:spMkLst>
            <pc:docMk/>
            <pc:sldMk cId="1956007334" sldId="2147471327"/>
            <ac:spMk id="7" creationId="{962CEE02-0308-62C8-3E9E-0D5A70B72FDD}"/>
          </ac:spMkLst>
        </pc:spChg>
        <pc:spChg chg="add del mod">
          <ac:chgData name="Sabina PETRASHOVA" userId="7d838aae-e6ab-4ec0-b04f-8f08a9482ebc" providerId="ADAL" clId="{C1847504-C51D-45E1-96BE-B0CE464851E6}" dt="2023-09-22T12:45:25.827" v="18787" actId="478"/>
          <ac:spMkLst>
            <pc:docMk/>
            <pc:sldMk cId="1956007334" sldId="2147471327"/>
            <ac:spMk id="8" creationId="{017665E3-121D-0969-B571-79ED048D504C}"/>
          </ac:spMkLst>
        </pc:spChg>
        <pc:spChg chg="del mod">
          <ac:chgData name="Sabina PETRASHOVA" userId="7d838aae-e6ab-4ec0-b04f-8f08a9482ebc" providerId="ADAL" clId="{C1847504-C51D-45E1-96BE-B0CE464851E6}" dt="2023-09-22T12:45:18.424" v="18785" actId="478"/>
          <ac:spMkLst>
            <pc:docMk/>
            <pc:sldMk cId="1956007334" sldId="2147471327"/>
            <ac:spMk id="63" creationId="{6FCA3EC8-5A48-9DF2-10E4-975E9FD57E5F}"/>
          </ac:spMkLst>
        </pc:spChg>
        <pc:spChg chg="mod">
          <ac:chgData name="Sabina PETRASHOVA" userId="7d838aae-e6ab-4ec0-b04f-8f08a9482ebc" providerId="ADAL" clId="{C1847504-C51D-45E1-96BE-B0CE464851E6}" dt="2023-09-26T09:06:18.415" v="22598" actId="20577"/>
          <ac:spMkLst>
            <pc:docMk/>
            <pc:sldMk cId="1956007334" sldId="2147471327"/>
            <ac:spMk id="79" creationId="{9007893F-DE3F-4277-8B72-135CF4773651}"/>
          </ac:spMkLst>
        </pc:spChg>
        <pc:graphicFrameChg chg="add del mod modGraphic">
          <ac:chgData name="Sabina PETRASHOVA" userId="7d838aae-e6ab-4ec0-b04f-8f08a9482ebc" providerId="ADAL" clId="{C1847504-C51D-45E1-96BE-B0CE464851E6}" dt="2023-09-22T12:45:49.771" v="18791" actId="478"/>
          <ac:graphicFrameMkLst>
            <pc:docMk/>
            <pc:sldMk cId="1956007334" sldId="2147471327"/>
            <ac:graphicFrameMk id="9" creationId="{8F83EF73-E982-9884-1D24-47865EC1D60D}"/>
          </ac:graphicFrameMkLst>
        </pc:graphicFrameChg>
        <pc:graphicFrameChg chg="add mod modGraphic">
          <ac:chgData name="Sabina PETRASHOVA" userId="7d838aae-e6ab-4ec0-b04f-8f08a9482ebc" providerId="ADAL" clId="{C1847504-C51D-45E1-96BE-B0CE464851E6}" dt="2023-09-29T07:46:25.916" v="39230" actId="20577"/>
          <ac:graphicFrameMkLst>
            <pc:docMk/>
            <pc:sldMk cId="1956007334" sldId="2147471327"/>
            <ac:graphicFrameMk id="10" creationId="{A19C2D27-8F86-AE36-8B33-02A9AF08DB58}"/>
          </ac:graphicFrameMkLst>
        </pc:graphicFrameChg>
        <pc:picChg chg="add mod">
          <ac:chgData name="Sabina PETRASHOVA" userId="7d838aae-e6ab-4ec0-b04f-8f08a9482ebc" providerId="ADAL" clId="{C1847504-C51D-45E1-96BE-B0CE464851E6}" dt="2023-09-21T11:35:05.765" v="16786"/>
          <ac:picMkLst>
            <pc:docMk/>
            <pc:sldMk cId="1956007334" sldId="2147471327"/>
            <ac:picMk id="4" creationId="{8F21F8AD-8F8B-8E3C-F81F-46667D0A0052}"/>
          </ac:picMkLst>
        </pc:picChg>
        <pc:picChg chg="add mod">
          <ac:chgData name="Sabina PETRASHOVA" userId="7d838aae-e6ab-4ec0-b04f-8f08a9482ebc" providerId="ADAL" clId="{C1847504-C51D-45E1-96BE-B0CE464851E6}" dt="2023-09-26T12:03:42.026" v="26155" actId="1076"/>
          <ac:picMkLst>
            <pc:docMk/>
            <pc:sldMk cId="1956007334" sldId="2147471327"/>
            <ac:picMk id="11" creationId="{11E195F8-EEB2-0D59-0264-2E100CE335A8}"/>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13:27:26.571" v="32409"/>
              <pc2:cmMkLst xmlns:pc2="http://schemas.microsoft.com/office/powerpoint/2019/9/main/command">
                <pc:docMk/>
                <pc:sldMk cId="1956007334" sldId="2147471327"/>
                <pc2:cmMk id="{74F87059-48CF-4CFA-8EBE-A83342F01128}"/>
              </pc2:cmMkLst>
            </pc226:cmChg>
            <pc226:cmChg xmlns:pc226="http://schemas.microsoft.com/office/powerpoint/2022/06/main/command" chg="mod modRxn">
              <pc226:chgData name="Sabina PETRASHOVA" userId="7d838aae-e6ab-4ec0-b04f-8f08a9482ebc" providerId="ADAL" clId="{C1847504-C51D-45E1-96BE-B0CE464851E6}" dt="2023-09-28T13:27:25.193" v="32408"/>
              <pc2:cmMkLst xmlns:pc2="http://schemas.microsoft.com/office/powerpoint/2019/9/main/command">
                <pc:docMk/>
                <pc:sldMk cId="1956007334" sldId="2147471327"/>
                <pc2:cmMk id="{03053DE5-5759-4B3B-91F7-2CA22316361B}"/>
              </pc2:cmMkLst>
            </pc226:cmChg>
          </p:ext>
        </pc:extLst>
      </pc:sldChg>
      <pc:sldChg chg="addSp delSp modSp mod">
        <pc:chgData name="Sabina PETRASHOVA" userId="7d838aae-e6ab-4ec0-b04f-8f08a9482ebc" providerId="ADAL" clId="{C1847504-C51D-45E1-96BE-B0CE464851E6}" dt="2023-09-25T13:44:01.703" v="22372" actId="1076"/>
        <pc:sldMkLst>
          <pc:docMk/>
          <pc:sldMk cId="3424562154" sldId="2147471329"/>
        </pc:sldMkLst>
        <pc:spChg chg="add mod">
          <ac:chgData name="Sabina PETRASHOVA" userId="7d838aae-e6ab-4ec0-b04f-8f08a9482ebc" providerId="ADAL" clId="{C1847504-C51D-45E1-96BE-B0CE464851E6}" dt="2023-09-22T13:36:53.503" v="20355" actId="20577"/>
          <ac:spMkLst>
            <pc:docMk/>
            <pc:sldMk cId="3424562154" sldId="2147471329"/>
            <ac:spMk id="2" creationId="{D1EE6376-4F6B-22F4-4FAE-12E8722AAE09}"/>
          </ac:spMkLst>
        </pc:spChg>
        <pc:spChg chg="add del mod">
          <ac:chgData name="Sabina PETRASHOVA" userId="7d838aae-e6ab-4ec0-b04f-8f08a9482ebc" providerId="ADAL" clId="{C1847504-C51D-45E1-96BE-B0CE464851E6}" dt="2023-09-21T11:17:27.707" v="16637" actId="478"/>
          <ac:spMkLst>
            <pc:docMk/>
            <pc:sldMk cId="3424562154" sldId="2147471329"/>
            <ac:spMk id="3" creationId="{AA5821D8-8AFA-4B5E-03D4-80349AF119A1}"/>
          </ac:spMkLst>
        </pc:spChg>
        <pc:spChg chg="add del mod">
          <ac:chgData name="Sabina PETRASHOVA" userId="7d838aae-e6ab-4ec0-b04f-8f08a9482ebc" providerId="ADAL" clId="{C1847504-C51D-45E1-96BE-B0CE464851E6}" dt="2023-09-22T14:03:04.061" v="20964" actId="478"/>
          <ac:spMkLst>
            <pc:docMk/>
            <pc:sldMk cId="3424562154" sldId="2147471329"/>
            <ac:spMk id="3" creationId="{B40124F4-C0DE-6279-4C05-D78D82CBC4B9}"/>
          </ac:spMkLst>
        </pc:spChg>
        <pc:spChg chg="add del mod">
          <ac:chgData name="Sabina PETRASHOVA" userId="7d838aae-e6ab-4ec0-b04f-8f08a9482ebc" providerId="ADAL" clId="{C1847504-C51D-45E1-96BE-B0CE464851E6}" dt="2023-09-22T14:03:49.879" v="20973" actId="21"/>
          <ac:spMkLst>
            <pc:docMk/>
            <pc:sldMk cId="3424562154" sldId="2147471329"/>
            <ac:spMk id="4" creationId="{42DF83A6-E774-19AC-EEDB-FE33FEFF14DF}"/>
          </ac:spMkLst>
        </pc:spChg>
        <pc:spChg chg="del">
          <ac:chgData name="Sabina PETRASHOVA" userId="7d838aae-e6ab-4ec0-b04f-8f08a9482ebc" providerId="ADAL" clId="{C1847504-C51D-45E1-96BE-B0CE464851E6}" dt="2023-09-21T11:17:32.619" v="16640" actId="478"/>
          <ac:spMkLst>
            <pc:docMk/>
            <pc:sldMk cId="3424562154" sldId="2147471329"/>
            <ac:spMk id="4" creationId="{DD4467A1-7BF5-9A3C-5188-CE9AE07FD467}"/>
          </ac:spMkLst>
        </pc:spChg>
        <pc:spChg chg="del">
          <ac:chgData name="Sabina PETRASHOVA" userId="7d838aae-e6ab-4ec0-b04f-8f08a9482ebc" providerId="ADAL" clId="{C1847504-C51D-45E1-96BE-B0CE464851E6}" dt="2023-09-21T11:17:32.619" v="16640" actId="478"/>
          <ac:spMkLst>
            <pc:docMk/>
            <pc:sldMk cId="3424562154" sldId="2147471329"/>
            <ac:spMk id="5" creationId="{6DE06E3C-FBA6-DAFB-4DED-6F84F673A792}"/>
          </ac:spMkLst>
        </pc:spChg>
        <pc:spChg chg="del mod">
          <ac:chgData name="Sabina PETRASHOVA" userId="7d838aae-e6ab-4ec0-b04f-8f08a9482ebc" providerId="ADAL" clId="{C1847504-C51D-45E1-96BE-B0CE464851E6}" dt="2023-09-21T11:17:32.619" v="16640" actId="478"/>
          <ac:spMkLst>
            <pc:docMk/>
            <pc:sldMk cId="3424562154" sldId="2147471329"/>
            <ac:spMk id="6" creationId="{EBD74BA4-B82C-9D3B-14F4-560B228A384F}"/>
          </ac:spMkLst>
        </pc:spChg>
        <pc:spChg chg="del mod">
          <ac:chgData name="Sabina PETRASHOVA" userId="7d838aae-e6ab-4ec0-b04f-8f08a9482ebc" providerId="ADAL" clId="{C1847504-C51D-45E1-96BE-B0CE464851E6}" dt="2023-09-21T11:17:32.619" v="16640" actId="478"/>
          <ac:spMkLst>
            <pc:docMk/>
            <pc:sldMk cId="3424562154" sldId="2147471329"/>
            <ac:spMk id="7" creationId="{ADAC59AA-1D0D-5866-6309-6DF9C82148AB}"/>
          </ac:spMkLst>
        </pc:spChg>
        <pc:spChg chg="del">
          <ac:chgData name="Sabina PETRASHOVA" userId="7d838aae-e6ab-4ec0-b04f-8f08a9482ebc" providerId="ADAL" clId="{C1847504-C51D-45E1-96BE-B0CE464851E6}" dt="2023-09-21T11:17:44.809" v="16643" actId="478"/>
          <ac:spMkLst>
            <pc:docMk/>
            <pc:sldMk cId="3424562154" sldId="2147471329"/>
            <ac:spMk id="9" creationId="{7CBF9AEB-6D32-AEEB-B5DD-1B461B38FD36}"/>
          </ac:spMkLst>
        </pc:spChg>
        <pc:spChg chg="del">
          <ac:chgData name="Sabina PETRASHOVA" userId="7d838aae-e6ab-4ec0-b04f-8f08a9482ebc" providerId="ADAL" clId="{C1847504-C51D-45E1-96BE-B0CE464851E6}" dt="2023-09-21T11:17:44.809" v="16643" actId="478"/>
          <ac:spMkLst>
            <pc:docMk/>
            <pc:sldMk cId="3424562154" sldId="2147471329"/>
            <ac:spMk id="15" creationId="{88562BE5-E03B-5086-89A3-CE54E5E5E134}"/>
          </ac:spMkLst>
        </pc:spChg>
        <pc:spChg chg="del mod">
          <ac:chgData name="Sabina PETRASHOVA" userId="7d838aae-e6ab-4ec0-b04f-8f08a9482ebc" providerId="ADAL" clId="{C1847504-C51D-45E1-96BE-B0CE464851E6}" dt="2023-09-21T11:17:44.809" v="16643" actId="478"/>
          <ac:spMkLst>
            <pc:docMk/>
            <pc:sldMk cId="3424562154" sldId="2147471329"/>
            <ac:spMk id="16" creationId="{213B374B-F20A-81A9-FB50-0E79DC09A71D}"/>
          </ac:spMkLst>
        </pc:spChg>
        <pc:spChg chg="del">
          <ac:chgData name="Sabina PETRASHOVA" userId="7d838aae-e6ab-4ec0-b04f-8f08a9482ebc" providerId="ADAL" clId="{C1847504-C51D-45E1-96BE-B0CE464851E6}" dt="2023-09-21T11:17:44.809" v="16643" actId="478"/>
          <ac:spMkLst>
            <pc:docMk/>
            <pc:sldMk cId="3424562154" sldId="2147471329"/>
            <ac:spMk id="23" creationId="{49133EAB-829B-871A-80A2-375002A101A3}"/>
          </ac:spMkLst>
        </pc:spChg>
        <pc:spChg chg="del">
          <ac:chgData name="Sabina PETRASHOVA" userId="7d838aae-e6ab-4ec0-b04f-8f08a9482ebc" providerId="ADAL" clId="{C1847504-C51D-45E1-96BE-B0CE464851E6}" dt="2023-09-21T11:17:48.026" v="16644" actId="478"/>
          <ac:spMkLst>
            <pc:docMk/>
            <pc:sldMk cId="3424562154" sldId="2147471329"/>
            <ac:spMk id="28" creationId="{A1D43860-5F54-CC8A-9B59-F22B5576D5C7}"/>
          </ac:spMkLst>
        </pc:spChg>
        <pc:spChg chg="del">
          <ac:chgData name="Sabina PETRASHOVA" userId="7d838aae-e6ab-4ec0-b04f-8f08a9482ebc" providerId="ADAL" clId="{C1847504-C51D-45E1-96BE-B0CE464851E6}" dt="2023-09-21T11:17:48.026" v="16644" actId="478"/>
          <ac:spMkLst>
            <pc:docMk/>
            <pc:sldMk cId="3424562154" sldId="2147471329"/>
            <ac:spMk id="29" creationId="{DD21525D-FF4D-76A5-66A6-17D12F5D8377}"/>
          </ac:spMkLst>
        </pc:spChg>
        <pc:spChg chg="del">
          <ac:chgData name="Sabina PETRASHOVA" userId="7d838aae-e6ab-4ec0-b04f-8f08a9482ebc" providerId="ADAL" clId="{C1847504-C51D-45E1-96BE-B0CE464851E6}" dt="2023-09-21T11:17:48.026" v="16644" actId="478"/>
          <ac:spMkLst>
            <pc:docMk/>
            <pc:sldMk cId="3424562154" sldId="2147471329"/>
            <ac:spMk id="30" creationId="{729EEEA9-A9B6-62E7-28C1-AF2E8CE46A4B}"/>
          </ac:spMkLst>
        </pc:spChg>
        <pc:spChg chg="mod">
          <ac:chgData name="Sabina PETRASHOVA" userId="7d838aae-e6ab-4ec0-b04f-8f08a9482ebc" providerId="ADAL" clId="{C1847504-C51D-45E1-96BE-B0CE464851E6}" dt="2023-09-22T15:43:13.649" v="21913" actId="552"/>
          <ac:spMkLst>
            <pc:docMk/>
            <pc:sldMk cId="3424562154" sldId="2147471329"/>
            <ac:spMk id="37" creationId="{C716353E-43BB-682A-73E0-5F444E59F4B4}"/>
          </ac:spMkLst>
        </pc:spChg>
        <pc:spChg chg="mod">
          <ac:chgData name="Sabina PETRASHOVA" userId="7d838aae-e6ab-4ec0-b04f-8f08a9482ebc" providerId="ADAL" clId="{C1847504-C51D-45E1-96BE-B0CE464851E6}" dt="2023-09-21T11:19:38.458" v="16654" actId="1076"/>
          <ac:spMkLst>
            <pc:docMk/>
            <pc:sldMk cId="3424562154" sldId="2147471329"/>
            <ac:spMk id="39" creationId="{9BD7B936-29A7-E2F4-7B2B-0F74CED0A1FF}"/>
          </ac:spMkLst>
        </pc:spChg>
        <pc:spChg chg="mod">
          <ac:chgData name="Sabina PETRASHOVA" userId="7d838aae-e6ab-4ec0-b04f-8f08a9482ebc" providerId="ADAL" clId="{C1847504-C51D-45E1-96BE-B0CE464851E6}" dt="2023-09-22T15:45:36.906" v="21930" actId="1076"/>
          <ac:spMkLst>
            <pc:docMk/>
            <pc:sldMk cId="3424562154" sldId="2147471329"/>
            <ac:spMk id="41" creationId="{B34F7715-4E58-245D-3A28-21CCB673C293}"/>
          </ac:spMkLst>
        </pc:spChg>
        <pc:spChg chg="mod">
          <ac:chgData name="Sabina PETRASHOVA" userId="7d838aae-e6ab-4ec0-b04f-8f08a9482ebc" providerId="ADAL" clId="{C1847504-C51D-45E1-96BE-B0CE464851E6}" dt="2023-09-22T13:38:25.007" v="20361" actId="207"/>
          <ac:spMkLst>
            <pc:docMk/>
            <pc:sldMk cId="3424562154" sldId="2147471329"/>
            <ac:spMk id="42" creationId="{C1966E60-9923-8926-9349-5D935F131371}"/>
          </ac:spMkLst>
        </pc:spChg>
        <pc:spChg chg="mod">
          <ac:chgData name="Sabina PETRASHOVA" userId="7d838aae-e6ab-4ec0-b04f-8f08a9482ebc" providerId="ADAL" clId="{C1847504-C51D-45E1-96BE-B0CE464851E6}" dt="2023-09-21T11:19:38.458" v="16654" actId="1076"/>
          <ac:spMkLst>
            <pc:docMk/>
            <pc:sldMk cId="3424562154" sldId="2147471329"/>
            <ac:spMk id="43" creationId="{5C48A492-DDB2-15F7-4BF7-D2E8FFB3F004}"/>
          </ac:spMkLst>
        </pc:spChg>
        <pc:spChg chg="mod">
          <ac:chgData name="Sabina PETRASHOVA" userId="7d838aae-e6ab-4ec0-b04f-8f08a9482ebc" providerId="ADAL" clId="{C1847504-C51D-45E1-96BE-B0CE464851E6}" dt="2023-09-22T14:03:41.333" v="20972" actId="14100"/>
          <ac:spMkLst>
            <pc:docMk/>
            <pc:sldMk cId="3424562154" sldId="2147471329"/>
            <ac:spMk id="45" creationId="{1EEDFF83-950D-E48F-3A50-EC8335D8C3DB}"/>
          </ac:spMkLst>
        </pc:spChg>
        <pc:spChg chg="mod">
          <ac:chgData name="Sabina PETRASHOVA" userId="7d838aae-e6ab-4ec0-b04f-8f08a9482ebc" providerId="ADAL" clId="{C1847504-C51D-45E1-96BE-B0CE464851E6}" dt="2023-09-22T13:38:09.843" v="20360" actId="207"/>
          <ac:spMkLst>
            <pc:docMk/>
            <pc:sldMk cId="3424562154" sldId="2147471329"/>
            <ac:spMk id="46" creationId="{8C15BC74-F783-417F-BD0F-352DA5128998}"/>
          </ac:spMkLst>
        </pc:spChg>
        <pc:spChg chg="mod">
          <ac:chgData name="Sabina PETRASHOVA" userId="7d838aae-e6ab-4ec0-b04f-8f08a9482ebc" providerId="ADAL" clId="{C1847504-C51D-45E1-96BE-B0CE464851E6}" dt="2023-09-22T11:27:39.406" v="17050" actId="1076"/>
          <ac:spMkLst>
            <pc:docMk/>
            <pc:sldMk cId="3424562154" sldId="2147471329"/>
            <ac:spMk id="47" creationId="{98FB7D55-D995-885C-75FB-95A935A18093}"/>
          </ac:spMkLst>
        </pc:spChg>
        <pc:spChg chg="mod">
          <ac:chgData name="Sabina PETRASHOVA" userId="7d838aae-e6ab-4ec0-b04f-8f08a9482ebc" providerId="ADAL" clId="{C1847504-C51D-45E1-96BE-B0CE464851E6}" dt="2023-09-22T15:45:33.156" v="21928" actId="552"/>
          <ac:spMkLst>
            <pc:docMk/>
            <pc:sldMk cId="3424562154" sldId="2147471329"/>
            <ac:spMk id="79" creationId="{9007893F-DE3F-4277-8B72-135CF4773651}"/>
          </ac:spMkLst>
        </pc:spChg>
        <pc:grpChg chg="del">
          <ac:chgData name="Sabina PETRASHOVA" userId="7d838aae-e6ab-4ec0-b04f-8f08a9482ebc" providerId="ADAL" clId="{C1847504-C51D-45E1-96BE-B0CE464851E6}" dt="2023-09-21T11:17:44.809" v="16643" actId="478"/>
          <ac:grpSpMkLst>
            <pc:docMk/>
            <pc:sldMk cId="3424562154" sldId="2147471329"/>
            <ac:grpSpMk id="12" creationId="{03417F21-AE8B-D73A-2379-6723E1845F63}"/>
          </ac:grpSpMkLst>
        </pc:grpChg>
        <pc:grpChg chg="del">
          <ac:chgData name="Sabina PETRASHOVA" userId="7d838aae-e6ab-4ec0-b04f-8f08a9482ebc" providerId="ADAL" clId="{C1847504-C51D-45E1-96BE-B0CE464851E6}" dt="2023-09-21T11:17:44.809" v="16643" actId="478"/>
          <ac:grpSpMkLst>
            <pc:docMk/>
            <pc:sldMk cId="3424562154" sldId="2147471329"/>
            <ac:grpSpMk id="17" creationId="{AEC0CA89-3D4D-8DC5-C1C7-25265E1A033F}"/>
          </ac:grpSpMkLst>
        </pc:grpChg>
        <pc:grpChg chg="del">
          <ac:chgData name="Sabina PETRASHOVA" userId="7d838aae-e6ab-4ec0-b04f-8f08a9482ebc" providerId="ADAL" clId="{C1847504-C51D-45E1-96BE-B0CE464851E6}" dt="2023-09-21T11:17:44.809" v="16643" actId="478"/>
          <ac:grpSpMkLst>
            <pc:docMk/>
            <pc:sldMk cId="3424562154" sldId="2147471329"/>
            <ac:grpSpMk id="25" creationId="{C5906032-0730-E738-9079-5C9C614002CC}"/>
          </ac:grpSpMkLst>
        </pc:grpChg>
        <pc:picChg chg="add del mod">
          <ac:chgData name="Sabina PETRASHOVA" userId="7d838aae-e6ab-4ec0-b04f-8f08a9482ebc" providerId="ADAL" clId="{C1847504-C51D-45E1-96BE-B0CE464851E6}" dt="2023-09-22T14:03:49.879" v="20973" actId="21"/>
          <ac:picMkLst>
            <pc:docMk/>
            <pc:sldMk cId="3424562154" sldId="2147471329"/>
            <ac:picMk id="5" creationId="{CE76B65A-7D2E-808D-28E8-5F7B98EC7D6C}"/>
          </ac:picMkLst>
        </pc:picChg>
        <pc:picChg chg="del">
          <ac:chgData name="Sabina PETRASHOVA" userId="7d838aae-e6ab-4ec0-b04f-8f08a9482ebc" providerId="ADAL" clId="{C1847504-C51D-45E1-96BE-B0CE464851E6}" dt="2023-09-21T11:17:35.656" v="16641" actId="478"/>
          <ac:picMkLst>
            <pc:docMk/>
            <pc:sldMk cId="3424562154" sldId="2147471329"/>
            <ac:picMk id="31" creationId="{56672727-E616-4EA5-2942-D845831BC724}"/>
          </ac:picMkLst>
        </pc:picChg>
        <pc:picChg chg="del">
          <ac:chgData name="Sabina PETRASHOVA" userId="7d838aae-e6ab-4ec0-b04f-8f08a9482ebc" providerId="ADAL" clId="{C1847504-C51D-45E1-96BE-B0CE464851E6}" dt="2023-09-21T11:17:35.656" v="16641" actId="478"/>
          <ac:picMkLst>
            <pc:docMk/>
            <pc:sldMk cId="3424562154" sldId="2147471329"/>
            <ac:picMk id="32" creationId="{0A234E6F-DF85-2CDB-8026-8C743717BC32}"/>
          </ac:picMkLst>
        </pc:picChg>
        <pc:picChg chg="del">
          <ac:chgData name="Sabina PETRASHOVA" userId="7d838aae-e6ab-4ec0-b04f-8f08a9482ebc" providerId="ADAL" clId="{C1847504-C51D-45E1-96BE-B0CE464851E6}" dt="2023-09-21T11:17:35.656" v="16641" actId="478"/>
          <ac:picMkLst>
            <pc:docMk/>
            <pc:sldMk cId="3424562154" sldId="2147471329"/>
            <ac:picMk id="33" creationId="{38B124C5-9541-4EFE-E022-2EB9FDE2B25D}"/>
          </ac:picMkLst>
        </pc:picChg>
        <pc:picChg chg="del mod">
          <ac:chgData name="Sabina PETRASHOVA" userId="7d838aae-e6ab-4ec0-b04f-8f08a9482ebc" providerId="ADAL" clId="{C1847504-C51D-45E1-96BE-B0CE464851E6}" dt="2023-09-21T11:17:44.809" v="16643" actId="478"/>
          <ac:picMkLst>
            <pc:docMk/>
            <pc:sldMk cId="3424562154" sldId="2147471329"/>
            <ac:picMk id="34" creationId="{F23D614B-E690-36BE-5391-5FEFBDD3E56D}"/>
          </ac:picMkLst>
        </pc:picChg>
        <pc:picChg chg="del">
          <ac:chgData name="Sabina PETRASHOVA" userId="7d838aae-e6ab-4ec0-b04f-8f08a9482ebc" providerId="ADAL" clId="{C1847504-C51D-45E1-96BE-B0CE464851E6}" dt="2023-09-21T11:18:06.044" v="16645" actId="478"/>
          <ac:picMkLst>
            <pc:docMk/>
            <pc:sldMk cId="3424562154" sldId="2147471329"/>
            <ac:picMk id="35" creationId="{3AAEC1F6-B58E-3C34-108D-D02593626373}"/>
          </ac:picMkLst>
        </pc:picChg>
        <pc:picChg chg="del mod">
          <ac:chgData name="Sabina PETRASHOVA" userId="7d838aae-e6ab-4ec0-b04f-8f08a9482ebc" providerId="ADAL" clId="{C1847504-C51D-45E1-96BE-B0CE464851E6}" dt="2023-09-21T11:17:44.809" v="16643" actId="478"/>
          <ac:picMkLst>
            <pc:docMk/>
            <pc:sldMk cId="3424562154" sldId="2147471329"/>
            <ac:picMk id="36" creationId="{1FD7C915-E117-E803-CC78-879409119465}"/>
          </ac:picMkLst>
        </pc:picChg>
        <pc:picChg chg="mod">
          <ac:chgData name="Sabina PETRASHOVA" userId="7d838aae-e6ab-4ec0-b04f-8f08a9482ebc" providerId="ADAL" clId="{C1847504-C51D-45E1-96BE-B0CE464851E6}" dt="2023-09-21T11:19:38.458" v="16654" actId="1076"/>
          <ac:picMkLst>
            <pc:docMk/>
            <pc:sldMk cId="3424562154" sldId="2147471329"/>
            <ac:picMk id="40" creationId="{12CC8892-4D86-82C7-E442-DC2D7BACD8A6}"/>
          </ac:picMkLst>
        </pc:picChg>
        <pc:picChg chg="mod">
          <ac:chgData name="Sabina PETRASHOVA" userId="7d838aae-e6ab-4ec0-b04f-8f08a9482ebc" providerId="ADAL" clId="{C1847504-C51D-45E1-96BE-B0CE464851E6}" dt="2023-09-25T13:44:01.703" v="22372" actId="1076"/>
          <ac:picMkLst>
            <pc:docMk/>
            <pc:sldMk cId="3424562154" sldId="2147471329"/>
            <ac:picMk id="44" creationId="{7E4C4D0B-313F-255E-500D-4628B49A6967}"/>
          </ac:picMkLst>
        </pc:picChg>
        <pc:picChg chg="mod">
          <ac:chgData name="Sabina PETRASHOVA" userId="7d838aae-e6ab-4ec0-b04f-8f08a9482ebc" providerId="ADAL" clId="{C1847504-C51D-45E1-96BE-B0CE464851E6}" dt="2023-09-25T13:43:31.793" v="22369" actId="1076"/>
          <ac:picMkLst>
            <pc:docMk/>
            <pc:sldMk cId="3424562154" sldId="2147471329"/>
            <ac:picMk id="49" creationId="{ED73C1F1-6D29-07FE-E7A5-F1EC2117A0C7}"/>
          </ac:picMkLst>
        </pc:picChg>
      </pc:sldChg>
      <pc:sldChg chg="addSp delSp modSp mod">
        <pc:chgData name="Sabina PETRASHOVA" userId="7d838aae-e6ab-4ec0-b04f-8f08a9482ebc" providerId="ADAL" clId="{C1847504-C51D-45E1-96BE-B0CE464851E6}" dt="2023-09-29T14:19:35.949" v="39233" actId="20577"/>
        <pc:sldMkLst>
          <pc:docMk/>
          <pc:sldMk cId="1428402382" sldId="2147471330"/>
        </pc:sldMkLst>
        <pc:spChg chg="mod">
          <ac:chgData name="Sabina PETRASHOVA" userId="7d838aae-e6ab-4ec0-b04f-8f08a9482ebc" providerId="ADAL" clId="{C1847504-C51D-45E1-96BE-B0CE464851E6}" dt="2023-09-25T09:30:32.003" v="21946" actId="1076"/>
          <ac:spMkLst>
            <pc:docMk/>
            <pc:sldMk cId="1428402382" sldId="2147471330"/>
            <ac:spMk id="3" creationId="{746259B4-A366-9450-F382-8DF08FDD80FB}"/>
          </ac:spMkLst>
        </pc:spChg>
        <pc:spChg chg="del">
          <ac:chgData name="Sabina PETRASHOVA" userId="7d838aae-e6ab-4ec0-b04f-8f08a9482ebc" providerId="ADAL" clId="{C1847504-C51D-45E1-96BE-B0CE464851E6}" dt="2023-09-27T13:36:10.886" v="29671" actId="478"/>
          <ac:spMkLst>
            <pc:docMk/>
            <pc:sldMk cId="1428402382" sldId="2147471330"/>
            <ac:spMk id="4" creationId="{1416F2CA-3DDF-7D90-43B2-81D4A06EB397}"/>
          </ac:spMkLst>
        </pc:spChg>
        <pc:spChg chg="del">
          <ac:chgData name="Sabina PETRASHOVA" userId="7d838aae-e6ab-4ec0-b04f-8f08a9482ebc" providerId="ADAL" clId="{C1847504-C51D-45E1-96BE-B0CE464851E6}" dt="2023-09-26T15:03:45.331" v="28853" actId="478"/>
          <ac:spMkLst>
            <pc:docMk/>
            <pc:sldMk cId="1428402382" sldId="2147471330"/>
            <ac:spMk id="4" creationId="{4AE1A105-2898-BA5A-3B25-87E86FB37126}"/>
          </ac:spMkLst>
        </pc:spChg>
        <pc:spChg chg="del mod">
          <ac:chgData name="Sabina PETRASHOVA" userId="7d838aae-e6ab-4ec0-b04f-8f08a9482ebc" providerId="ADAL" clId="{C1847504-C51D-45E1-96BE-B0CE464851E6}" dt="2023-09-22T13:59:22.066" v="20823" actId="478"/>
          <ac:spMkLst>
            <pc:docMk/>
            <pc:sldMk cId="1428402382" sldId="2147471330"/>
            <ac:spMk id="6" creationId="{9BA66A5E-F7F2-374B-B0FB-27EFFD1098DF}"/>
          </ac:spMkLst>
        </pc:spChg>
        <pc:spChg chg="add mod">
          <ac:chgData name="Sabina PETRASHOVA" userId="7d838aae-e6ab-4ec0-b04f-8f08a9482ebc" providerId="ADAL" clId="{C1847504-C51D-45E1-96BE-B0CE464851E6}" dt="2023-09-25T09:50:15.503" v="22178" actId="1076"/>
          <ac:spMkLst>
            <pc:docMk/>
            <pc:sldMk cId="1428402382" sldId="2147471330"/>
            <ac:spMk id="6" creationId="{A8F120D0-5FD2-6480-1D3E-C657BDFF0B4D}"/>
          </ac:spMkLst>
        </pc:spChg>
        <pc:spChg chg="del">
          <ac:chgData name="Sabina PETRASHOVA" userId="7d838aae-e6ab-4ec0-b04f-8f08a9482ebc" providerId="ADAL" clId="{C1847504-C51D-45E1-96BE-B0CE464851E6}" dt="2023-09-21T11:26:11.073" v="16671" actId="478"/>
          <ac:spMkLst>
            <pc:docMk/>
            <pc:sldMk cId="1428402382" sldId="2147471330"/>
            <ac:spMk id="7" creationId="{D581214D-3E93-56EE-730F-A4505BA6DE87}"/>
          </ac:spMkLst>
        </pc:spChg>
        <pc:spChg chg="add mod">
          <ac:chgData name="Sabina PETRASHOVA" userId="7d838aae-e6ab-4ec0-b04f-8f08a9482ebc" providerId="ADAL" clId="{C1847504-C51D-45E1-96BE-B0CE464851E6}" dt="2023-09-25T09:34:09.262" v="22006" actId="1076"/>
          <ac:spMkLst>
            <pc:docMk/>
            <pc:sldMk cId="1428402382" sldId="2147471330"/>
            <ac:spMk id="7" creationId="{E85D8045-EC2E-EF9F-D129-99652C2F9285}"/>
          </ac:spMkLst>
        </pc:spChg>
        <pc:spChg chg="mod">
          <ac:chgData name="Sabina PETRASHOVA" userId="7d838aae-e6ab-4ec0-b04f-8f08a9482ebc" providerId="ADAL" clId="{C1847504-C51D-45E1-96BE-B0CE464851E6}" dt="2023-09-26T09:36:54.124" v="24043" actId="1076"/>
          <ac:spMkLst>
            <pc:docMk/>
            <pc:sldMk cId="1428402382" sldId="2147471330"/>
            <ac:spMk id="8" creationId="{8810305F-13AE-19C4-0BCA-3A98B35EB76F}"/>
          </ac:spMkLst>
        </pc:spChg>
        <pc:spChg chg="add mod ord">
          <ac:chgData name="Sabina PETRASHOVA" userId="7d838aae-e6ab-4ec0-b04f-8f08a9482ebc" providerId="ADAL" clId="{C1847504-C51D-45E1-96BE-B0CE464851E6}" dt="2023-09-25T09:34:25.090" v="22009" actId="1076"/>
          <ac:spMkLst>
            <pc:docMk/>
            <pc:sldMk cId="1428402382" sldId="2147471330"/>
            <ac:spMk id="9" creationId="{E72B2137-F417-0F5F-05A3-0CFE093DE742}"/>
          </ac:spMkLst>
        </pc:spChg>
        <pc:spChg chg="del mod">
          <ac:chgData name="Sabina PETRASHOVA" userId="7d838aae-e6ab-4ec0-b04f-8f08a9482ebc" providerId="ADAL" clId="{C1847504-C51D-45E1-96BE-B0CE464851E6}" dt="2023-09-21T11:22:11.094" v="16657" actId="478"/>
          <ac:spMkLst>
            <pc:docMk/>
            <pc:sldMk cId="1428402382" sldId="2147471330"/>
            <ac:spMk id="9" creationId="{F252C188-CC2E-034F-6D21-84B20AB65451}"/>
          </ac:spMkLst>
        </pc:spChg>
        <pc:spChg chg="add del mod">
          <ac:chgData name="Sabina PETRASHOVA" userId="7d838aae-e6ab-4ec0-b04f-8f08a9482ebc" providerId="ADAL" clId="{C1847504-C51D-45E1-96BE-B0CE464851E6}" dt="2023-09-22T13:58:19.889" v="20734"/>
          <ac:spMkLst>
            <pc:docMk/>
            <pc:sldMk cId="1428402382" sldId="2147471330"/>
            <ac:spMk id="10" creationId="{41F3796D-B764-7C64-93CE-69543FA11614}"/>
          </ac:spMkLst>
        </pc:spChg>
        <pc:spChg chg="del">
          <ac:chgData name="Sabina PETRASHOVA" userId="7d838aae-e6ab-4ec0-b04f-8f08a9482ebc" providerId="ADAL" clId="{C1847504-C51D-45E1-96BE-B0CE464851E6}" dt="2023-09-21T11:22:12.781" v="16658" actId="478"/>
          <ac:spMkLst>
            <pc:docMk/>
            <pc:sldMk cId="1428402382" sldId="2147471330"/>
            <ac:spMk id="11" creationId="{1B79F760-5212-FF5C-610F-A53C57E89456}"/>
          </ac:spMkLst>
        </pc:spChg>
        <pc:spChg chg="add mod">
          <ac:chgData name="Sabina PETRASHOVA" userId="7d838aae-e6ab-4ec0-b04f-8f08a9482ebc" providerId="ADAL" clId="{C1847504-C51D-45E1-96BE-B0CE464851E6}" dt="2023-09-25T09:32:14.415" v="21982" actId="20577"/>
          <ac:spMkLst>
            <pc:docMk/>
            <pc:sldMk cId="1428402382" sldId="2147471330"/>
            <ac:spMk id="11" creationId="{F467935C-4955-0FB2-76D8-6D9E7A3A29EB}"/>
          </ac:spMkLst>
        </pc:spChg>
        <pc:spChg chg="add mod">
          <ac:chgData name="Sabina PETRASHOVA" userId="7d838aae-e6ab-4ec0-b04f-8f08a9482ebc" providerId="ADAL" clId="{C1847504-C51D-45E1-96BE-B0CE464851E6}" dt="2023-09-26T15:03:47.329" v="28855"/>
          <ac:spMkLst>
            <pc:docMk/>
            <pc:sldMk cId="1428402382" sldId="2147471330"/>
            <ac:spMk id="12" creationId="{7CC14D52-D7A9-5A74-1F1D-47DF736429F7}"/>
          </ac:spMkLst>
        </pc:spChg>
        <pc:spChg chg="del">
          <ac:chgData name="Sabina PETRASHOVA" userId="7d838aae-e6ab-4ec0-b04f-8f08a9482ebc" providerId="ADAL" clId="{C1847504-C51D-45E1-96BE-B0CE464851E6}" dt="2023-09-27T13:36:12.303" v="29672" actId="478"/>
          <ac:spMkLst>
            <pc:docMk/>
            <pc:sldMk cId="1428402382" sldId="2147471330"/>
            <ac:spMk id="14" creationId="{E592AE45-506F-7E04-2673-55FFAACCCFAA}"/>
          </ac:spMkLst>
        </pc:spChg>
        <pc:spChg chg="del mod">
          <ac:chgData name="Sabina PETRASHOVA" userId="7d838aae-e6ab-4ec0-b04f-8f08a9482ebc" providerId="ADAL" clId="{C1847504-C51D-45E1-96BE-B0CE464851E6}" dt="2023-09-27T13:36:01.597" v="29670" actId="478"/>
          <ac:spMkLst>
            <pc:docMk/>
            <pc:sldMk cId="1428402382" sldId="2147471330"/>
            <ac:spMk id="15" creationId="{9310DA14-7E29-05A9-6BAB-014FF53EAF16}"/>
          </ac:spMkLst>
        </pc:spChg>
        <pc:spChg chg="mod">
          <ac:chgData name="Sabina PETRASHOVA" userId="7d838aae-e6ab-4ec0-b04f-8f08a9482ebc" providerId="ADAL" clId="{C1847504-C51D-45E1-96BE-B0CE464851E6}" dt="2023-09-26T09:41:57.448" v="24481" actId="1076"/>
          <ac:spMkLst>
            <pc:docMk/>
            <pc:sldMk cId="1428402382" sldId="2147471330"/>
            <ac:spMk id="16" creationId="{3C6D67E2-0A0E-4507-D29C-37D2F739CB30}"/>
          </ac:spMkLst>
        </pc:spChg>
        <pc:spChg chg="del mod">
          <ac:chgData name="Sabina PETRASHOVA" userId="7d838aae-e6ab-4ec0-b04f-8f08a9482ebc" providerId="ADAL" clId="{C1847504-C51D-45E1-96BE-B0CE464851E6}" dt="2023-09-22T11:38:02.500" v="17290"/>
          <ac:spMkLst>
            <pc:docMk/>
            <pc:sldMk cId="1428402382" sldId="2147471330"/>
            <ac:spMk id="16" creationId="{A8578F6A-C7A0-CD14-B7EC-3669CE33598D}"/>
          </ac:spMkLst>
        </pc:spChg>
        <pc:spChg chg="mod">
          <ac:chgData name="Sabina PETRASHOVA" userId="7d838aae-e6ab-4ec0-b04f-8f08a9482ebc" providerId="ADAL" clId="{C1847504-C51D-45E1-96BE-B0CE464851E6}" dt="2023-09-25T09:34:25.090" v="22009" actId="1076"/>
          <ac:spMkLst>
            <pc:docMk/>
            <pc:sldMk cId="1428402382" sldId="2147471330"/>
            <ac:spMk id="17" creationId="{EE41CE71-55C9-8D72-A115-088DA0DBD874}"/>
          </ac:spMkLst>
        </pc:spChg>
        <pc:spChg chg="add mod ord">
          <ac:chgData name="Sabina PETRASHOVA" userId="7d838aae-e6ab-4ec0-b04f-8f08a9482ebc" providerId="ADAL" clId="{C1847504-C51D-45E1-96BE-B0CE464851E6}" dt="2023-09-29T14:19:35.949" v="39233" actId="20577"/>
          <ac:spMkLst>
            <pc:docMk/>
            <pc:sldMk cId="1428402382" sldId="2147471330"/>
            <ac:spMk id="18" creationId="{8384C484-F6F2-A867-D933-8E33D4C4BC87}"/>
          </ac:spMkLst>
        </pc:spChg>
        <pc:spChg chg="mod">
          <ac:chgData name="Sabina PETRASHOVA" userId="7d838aae-e6ab-4ec0-b04f-8f08a9482ebc" providerId="ADAL" clId="{C1847504-C51D-45E1-96BE-B0CE464851E6}" dt="2023-09-25T09:31:49.474" v="21959" actId="1076"/>
          <ac:spMkLst>
            <pc:docMk/>
            <pc:sldMk cId="1428402382" sldId="2147471330"/>
            <ac:spMk id="21" creationId="{A5D1E60D-E1A0-8C47-E6FA-5E9534FF1446}"/>
          </ac:spMkLst>
        </pc:spChg>
        <pc:spChg chg="mod">
          <ac:chgData name="Sabina PETRASHOVA" userId="7d838aae-e6ab-4ec0-b04f-8f08a9482ebc" providerId="ADAL" clId="{C1847504-C51D-45E1-96BE-B0CE464851E6}" dt="2023-09-25T09:30:43.701" v="21947" actId="1076"/>
          <ac:spMkLst>
            <pc:docMk/>
            <pc:sldMk cId="1428402382" sldId="2147471330"/>
            <ac:spMk id="22" creationId="{2A7CCB27-1FBF-5A83-ACE8-CEFB25E2D9D9}"/>
          </ac:spMkLst>
        </pc:spChg>
        <pc:spChg chg="mod">
          <ac:chgData name="Sabina PETRASHOVA" userId="7d838aae-e6ab-4ec0-b04f-8f08a9482ebc" providerId="ADAL" clId="{C1847504-C51D-45E1-96BE-B0CE464851E6}" dt="2023-09-25T09:31:38.105" v="21958" actId="14100"/>
          <ac:spMkLst>
            <pc:docMk/>
            <pc:sldMk cId="1428402382" sldId="2147471330"/>
            <ac:spMk id="23" creationId="{9910EE84-5F08-1C3A-8DFF-33FACCEE4D10}"/>
          </ac:spMkLst>
        </pc:spChg>
        <pc:spChg chg="del mod">
          <ac:chgData name="Sabina PETRASHOVA" userId="7d838aae-e6ab-4ec0-b04f-8f08a9482ebc" providerId="ADAL" clId="{C1847504-C51D-45E1-96BE-B0CE464851E6}" dt="2023-09-21T11:25:57.013" v="16669" actId="478"/>
          <ac:spMkLst>
            <pc:docMk/>
            <pc:sldMk cId="1428402382" sldId="2147471330"/>
            <ac:spMk id="24" creationId="{3A0EAACB-32B3-04D5-0EF6-4E136F76E695}"/>
          </ac:spMkLst>
        </pc:spChg>
        <pc:spChg chg="mod">
          <ac:chgData name="Sabina PETRASHOVA" userId="7d838aae-e6ab-4ec0-b04f-8f08a9482ebc" providerId="ADAL" clId="{C1847504-C51D-45E1-96BE-B0CE464851E6}" dt="2023-09-25T09:30:32.003" v="21946" actId="1076"/>
          <ac:spMkLst>
            <pc:docMk/>
            <pc:sldMk cId="1428402382" sldId="2147471330"/>
            <ac:spMk id="24" creationId="{4B2FEE7A-ACCF-5771-AB61-A33E0707D890}"/>
          </ac:spMkLst>
        </pc:spChg>
        <pc:spChg chg="del mod">
          <ac:chgData name="Sabina PETRASHOVA" userId="7d838aae-e6ab-4ec0-b04f-8f08a9482ebc" providerId="ADAL" clId="{C1847504-C51D-45E1-96BE-B0CE464851E6}" dt="2023-09-27T13:36:13.404" v="29674" actId="478"/>
          <ac:spMkLst>
            <pc:docMk/>
            <pc:sldMk cId="1428402382" sldId="2147471330"/>
            <ac:spMk id="25" creationId="{4806E9E8-2675-D2B4-21A3-C56433D11C2E}"/>
          </ac:spMkLst>
        </pc:spChg>
        <pc:spChg chg="mod">
          <ac:chgData name="Sabina PETRASHOVA" userId="7d838aae-e6ab-4ec0-b04f-8f08a9482ebc" providerId="ADAL" clId="{C1847504-C51D-45E1-96BE-B0CE464851E6}" dt="2023-09-25T09:34:25.090" v="22009" actId="1076"/>
          <ac:spMkLst>
            <pc:docMk/>
            <pc:sldMk cId="1428402382" sldId="2147471330"/>
            <ac:spMk id="28" creationId="{D509D931-8D05-5404-B8C2-60F2937A3CB8}"/>
          </ac:spMkLst>
        </pc:spChg>
        <pc:spChg chg="mod">
          <ac:chgData name="Sabina PETRASHOVA" userId="7d838aae-e6ab-4ec0-b04f-8f08a9482ebc" providerId="ADAL" clId="{C1847504-C51D-45E1-96BE-B0CE464851E6}" dt="2023-09-25T09:50:33.062" v="22189" actId="20577"/>
          <ac:spMkLst>
            <pc:docMk/>
            <pc:sldMk cId="1428402382" sldId="2147471330"/>
            <ac:spMk id="39" creationId="{D892C1BF-385A-D2C5-FF7D-758B4797F93B}"/>
          </ac:spMkLst>
        </pc:spChg>
        <pc:spChg chg="mod">
          <ac:chgData name="Sabina PETRASHOVA" userId="7d838aae-e6ab-4ec0-b04f-8f08a9482ebc" providerId="ADAL" clId="{C1847504-C51D-45E1-96BE-B0CE464851E6}" dt="2023-09-22T15:43:37.728" v="21915" actId="552"/>
          <ac:spMkLst>
            <pc:docMk/>
            <pc:sldMk cId="1428402382" sldId="2147471330"/>
            <ac:spMk id="79" creationId="{9007893F-DE3F-4277-8B72-135CF4773651}"/>
          </ac:spMkLst>
        </pc:spChg>
        <pc:graphicFrameChg chg="del mod modGraphic">
          <ac:chgData name="Sabina PETRASHOVA" userId="7d838aae-e6ab-4ec0-b04f-8f08a9482ebc" providerId="ADAL" clId="{C1847504-C51D-45E1-96BE-B0CE464851E6}" dt="2023-09-25T09:34:12.655" v="22007" actId="478"/>
          <ac:graphicFrameMkLst>
            <pc:docMk/>
            <pc:sldMk cId="1428402382" sldId="2147471330"/>
            <ac:graphicFrameMk id="12" creationId="{8A96CA9D-83BA-7859-2332-EFCC654ED0E6}"/>
          </ac:graphicFrameMkLst>
        </pc:graphicFrameChg>
        <pc:picChg chg="del">
          <ac:chgData name="Sabina PETRASHOVA" userId="7d838aae-e6ab-4ec0-b04f-8f08a9482ebc" providerId="ADAL" clId="{C1847504-C51D-45E1-96BE-B0CE464851E6}" dt="2023-09-26T15:03:46.384" v="28854" actId="478"/>
          <ac:picMkLst>
            <pc:docMk/>
            <pc:sldMk cId="1428402382" sldId="2147471330"/>
            <ac:picMk id="5" creationId="{685B0B03-5794-2B51-8A20-874FA134BDD4}"/>
          </ac:picMkLst>
        </pc:picChg>
        <pc:picChg chg="del">
          <ac:chgData name="Sabina PETRASHOVA" userId="7d838aae-e6ab-4ec0-b04f-8f08a9482ebc" providerId="ADAL" clId="{C1847504-C51D-45E1-96BE-B0CE464851E6}" dt="2023-09-21T11:27:10.540" v="16724" actId="478"/>
          <ac:picMkLst>
            <pc:docMk/>
            <pc:sldMk cId="1428402382" sldId="2147471330"/>
            <ac:picMk id="8" creationId="{DDBB71B2-8F3F-7CB1-EF2C-06C15B64C659}"/>
          </ac:picMkLst>
        </pc:picChg>
        <pc:picChg chg="mod">
          <ac:chgData name="Sabina PETRASHOVA" userId="7d838aae-e6ab-4ec0-b04f-8f08a9482ebc" providerId="ADAL" clId="{C1847504-C51D-45E1-96BE-B0CE464851E6}" dt="2023-09-25T09:30:32.003" v="21946" actId="1076"/>
          <ac:picMkLst>
            <pc:docMk/>
            <pc:sldMk cId="1428402382" sldId="2147471330"/>
            <ac:picMk id="10" creationId="{3D0BFD20-5201-038E-EE0F-EB324176859F}"/>
          </ac:picMkLst>
        </pc:picChg>
        <pc:picChg chg="add mod">
          <ac:chgData name="Sabina PETRASHOVA" userId="7d838aae-e6ab-4ec0-b04f-8f08a9482ebc" providerId="ADAL" clId="{C1847504-C51D-45E1-96BE-B0CE464851E6}" dt="2023-09-26T15:03:47.329" v="28855"/>
          <ac:picMkLst>
            <pc:docMk/>
            <pc:sldMk cId="1428402382" sldId="2147471330"/>
            <ac:picMk id="13" creationId="{14A79437-6EEF-A707-987A-48053E2AB4C8}"/>
          </ac:picMkLst>
        </pc:picChg>
        <pc:picChg chg="del mod">
          <ac:chgData name="Sabina PETRASHOVA" userId="7d838aae-e6ab-4ec0-b04f-8f08a9482ebc" providerId="ADAL" clId="{C1847504-C51D-45E1-96BE-B0CE464851E6}" dt="2023-09-25T09:29:56.719" v="21942" actId="478"/>
          <ac:picMkLst>
            <pc:docMk/>
            <pc:sldMk cId="1428402382" sldId="2147471330"/>
            <ac:picMk id="13" creationId="{74FEF84A-371D-ECF7-A061-A61E3BA89823}"/>
          </ac:picMkLst>
        </pc:picChg>
        <pc:picChg chg="del mod">
          <ac:chgData name="Sabina PETRASHOVA" userId="7d838aae-e6ab-4ec0-b04f-8f08a9482ebc" providerId="ADAL" clId="{C1847504-C51D-45E1-96BE-B0CE464851E6}" dt="2023-09-25T09:29:58.170" v="21943" actId="478"/>
          <ac:picMkLst>
            <pc:docMk/>
            <pc:sldMk cId="1428402382" sldId="2147471330"/>
            <ac:picMk id="14" creationId="{5EB87515-6510-241B-1B0D-9E40D31D66CF}"/>
          </ac:picMkLst>
        </pc:picChg>
        <pc:picChg chg="del mod">
          <ac:chgData name="Sabina PETRASHOVA" userId="7d838aae-e6ab-4ec0-b04f-8f08a9482ebc" providerId="ADAL" clId="{C1847504-C51D-45E1-96BE-B0CE464851E6}" dt="2023-09-25T09:29:59.901" v="21944" actId="478"/>
          <ac:picMkLst>
            <pc:docMk/>
            <pc:sldMk cId="1428402382" sldId="2147471330"/>
            <ac:picMk id="15" creationId="{B6087CDC-837F-20A4-C903-41E565F2B036}"/>
          </ac:picMkLst>
        </pc:picChg>
        <pc:picChg chg="del">
          <ac:chgData name="Sabina PETRASHOVA" userId="7d838aae-e6ab-4ec0-b04f-8f08a9482ebc" providerId="ADAL" clId="{C1847504-C51D-45E1-96BE-B0CE464851E6}" dt="2023-09-21T11:25:14.770" v="16663" actId="478"/>
          <ac:picMkLst>
            <pc:docMk/>
            <pc:sldMk cId="1428402382" sldId="2147471330"/>
            <ac:picMk id="17" creationId="{ABC4CB1D-5FB8-08D8-B18F-968AEC93AF23}"/>
          </ac:picMkLst>
        </pc:picChg>
        <pc:picChg chg="del">
          <ac:chgData name="Sabina PETRASHOVA" userId="7d838aae-e6ab-4ec0-b04f-8f08a9482ebc" providerId="ADAL" clId="{C1847504-C51D-45E1-96BE-B0CE464851E6}" dt="2023-09-21T11:25:14.770" v="16663" actId="478"/>
          <ac:picMkLst>
            <pc:docMk/>
            <pc:sldMk cId="1428402382" sldId="2147471330"/>
            <ac:picMk id="18" creationId="{FCD1669C-E306-8A4B-C588-DC92CEAEAC8E}"/>
          </ac:picMkLst>
        </pc:picChg>
        <pc:picChg chg="del">
          <ac:chgData name="Sabina PETRASHOVA" userId="7d838aae-e6ab-4ec0-b04f-8f08a9482ebc" providerId="ADAL" clId="{C1847504-C51D-45E1-96BE-B0CE464851E6}" dt="2023-09-21T11:25:14.770" v="16663" actId="478"/>
          <ac:picMkLst>
            <pc:docMk/>
            <pc:sldMk cId="1428402382" sldId="2147471330"/>
            <ac:picMk id="19" creationId="{93A9053D-866F-788E-332F-1DFE70AE9F9A}"/>
          </ac:picMkLst>
        </pc:picChg>
        <pc:picChg chg="mod">
          <ac:chgData name="Sabina PETRASHOVA" userId="7d838aae-e6ab-4ec0-b04f-8f08a9482ebc" providerId="ADAL" clId="{C1847504-C51D-45E1-96BE-B0CE464851E6}" dt="2023-09-25T09:30:32.003" v="21946" actId="1076"/>
          <ac:picMkLst>
            <pc:docMk/>
            <pc:sldMk cId="1428402382" sldId="2147471330"/>
            <ac:picMk id="26" creationId="{59E5B6AB-EDEF-5C59-4EAB-4EF04BC9E0EC}"/>
          </ac:picMkLst>
        </pc:picChg>
        <pc:picChg chg="mod">
          <ac:chgData name="Sabina PETRASHOVA" userId="7d838aae-e6ab-4ec0-b04f-8f08a9482ebc" providerId="ADAL" clId="{C1847504-C51D-45E1-96BE-B0CE464851E6}" dt="2023-09-25T09:34:25.090" v="22009" actId="1076"/>
          <ac:picMkLst>
            <pc:docMk/>
            <pc:sldMk cId="1428402382" sldId="2147471330"/>
            <ac:picMk id="30" creationId="{173295C6-ED40-3BF2-4CBC-1D9AC6A3167E}"/>
          </ac:picMkLst>
        </pc:picChg>
        <pc:cxnChg chg="del mod">
          <ac:chgData name="Sabina PETRASHOVA" userId="7d838aae-e6ab-4ec0-b04f-8f08a9482ebc" providerId="ADAL" clId="{C1847504-C51D-45E1-96BE-B0CE464851E6}" dt="2023-09-22T13:57:07.548" v="20715" actId="478"/>
          <ac:cxnSpMkLst>
            <pc:docMk/>
            <pc:sldMk cId="1428402382" sldId="2147471330"/>
            <ac:cxnSpMk id="23" creationId="{D94EF5CA-2B71-D79E-CFCB-7A1CFD644F73}"/>
          </ac:cxnSpMkLst>
        </pc:cxnChg>
      </pc:sldChg>
      <pc:sldChg chg="addSp delSp modSp mod modCm">
        <pc:chgData name="Sabina PETRASHOVA" userId="7d838aae-e6ab-4ec0-b04f-8f08a9482ebc" providerId="ADAL" clId="{C1847504-C51D-45E1-96BE-B0CE464851E6}" dt="2023-09-29T07:35:21.588" v="39056"/>
        <pc:sldMkLst>
          <pc:docMk/>
          <pc:sldMk cId="2885432409" sldId="2147471331"/>
        </pc:sldMkLst>
        <pc:spChg chg="del mod">
          <ac:chgData name="Sabina PETRASHOVA" userId="7d838aae-e6ab-4ec0-b04f-8f08a9482ebc" providerId="ADAL" clId="{C1847504-C51D-45E1-96BE-B0CE464851E6}" dt="2023-09-22T11:34:37.076" v="17099"/>
          <ac:spMkLst>
            <pc:docMk/>
            <pc:sldMk cId="2885432409" sldId="2147471331"/>
            <ac:spMk id="3" creationId="{6E359B35-CCF6-FF2F-FBD4-86EB70DC6D8A}"/>
          </ac:spMkLst>
        </pc:spChg>
        <pc:spChg chg="del mod">
          <ac:chgData name="Sabina PETRASHOVA" userId="7d838aae-e6ab-4ec0-b04f-8f08a9482ebc" providerId="ADAL" clId="{C1847504-C51D-45E1-96BE-B0CE464851E6}" dt="2023-09-26T15:04:03.807" v="28859" actId="478"/>
          <ac:spMkLst>
            <pc:docMk/>
            <pc:sldMk cId="2885432409" sldId="2147471331"/>
            <ac:spMk id="4" creationId="{4AE1A105-2898-BA5A-3B25-87E86FB37126}"/>
          </ac:spMkLst>
        </pc:spChg>
        <pc:spChg chg="add mod">
          <ac:chgData name="Sabina PETRASHOVA" userId="7d838aae-e6ab-4ec0-b04f-8f08a9482ebc" providerId="ADAL" clId="{C1847504-C51D-45E1-96BE-B0CE464851E6}" dt="2023-09-26T15:04:04.164" v="28860"/>
          <ac:spMkLst>
            <pc:docMk/>
            <pc:sldMk cId="2885432409" sldId="2147471331"/>
            <ac:spMk id="6" creationId="{437694E9-CD27-FADE-6B98-B7491B6EE870}"/>
          </ac:spMkLst>
        </pc:spChg>
        <pc:spChg chg="add mod ord">
          <ac:chgData name="Sabina PETRASHOVA" userId="7d838aae-e6ab-4ec0-b04f-8f08a9482ebc" providerId="ADAL" clId="{C1847504-C51D-45E1-96BE-B0CE464851E6}" dt="2023-09-22T15:43:01.693" v="21911" actId="552"/>
          <ac:spMkLst>
            <pc:docMk/>
            <pc:sldMk cId="2885432409" sldId="2147471331"/>
            <ac:spMk id="6" creationId="{FB33E92F-33CD-74B5-EAB7-6094D903EFBA}"/>
          </ac:spMkLst>
        </pc:spChg>
        <pc:spChg chg="add del mod">
          <ac:chgData name="Sabina PETRASHOVA" userId="7d838aae-e6ab-4ec0-b04f-8f08a9482ebc" providerId="ADAL" clId="{C1847504-C51D-45E1-96BE-B0CE464851E6}" dt="2023-09-22T11:50:46.336" v="18000"/>
          <ac:spMkLst>
            <pc:docMk/>
            <pc:sldMk cId="2885432409" sldId="2147471331"/>
            <ac:spMk id="7" creationId="{9D2C0A72-9F01-1C7C-314F-2EFF542EDF60}"/>
          </ac:spMkLst>
        </pc:spChg>
        <pc:spChg chg="mod">
          <ac:chgData name="Sabina PETRASHOVA" userId="7d838aae-e6ab-4ec0-b04f-8f08a9482ebc" providerId="ADAL" clId="{C1847504-C51D-45E1-96BE-B0CE464851E6}" dt="2023-09-25T12:14:44.069" v="22348" actId="1076"/>
          <ac:spMkLst>
            <pc:docMk/>
            <pc:sldMk cId="2885432409" sldId="2147471331"/>
            <ac:spMk id="8" creationId="{414B9D02-C13B-8B4C-50B6-E606C5BD0674}"/>
          </ac:spMkLst>
        </pc:spChg>
        <pc:spChg chg="add mod">
          <ac:chgData name="Sabina PETRASHOVA" userId="7d838aae-e6ab-4ec0-b04f-8f08a9482ebc" providerId="ADAL" clId="{C1847504-C51D-45E1-96BE-B0CE464851E6}" dt="2023-09-22T12:01:03.271" v="18287" actId="207"/>
          <ac:spMkLst>
            <pc:docMk/>
            <pc:sldMk cId="2885432409" sldId="2147471331"/>
            <ac:spMk id="10" creationId="{DFACBDD7-3F13-BD3E-CFE5-00F34F57A0B8}"/>
          </ac:spMkLst>
        </pc:spChg>
        <pc:spChg chg="mod">
          <ac:chgData name="Sabina PETRASHOVA" userId="7d838aae-e6ab-4ec0-b04f-8f08a9482ebc" providerId="ADAL" clId="{C1847504-C51D-45E1-96BE-B0CE464851E6}" dt="2023-09-25T12:14:44.069" v="22348" actId="1076"/>
          <ac:spMkLst>
            <pc:docMk/>
            <pc:sldMk cId="2885432409" sldId="2147471331"/>
            <ac:spMk id="11" creationId="{1426352A-3AF1-2854-0A69-2A70696A219D}"/>
          </ac:spMkLst>
        </pc:spChg>
        <pc:spChg chg="add mod">
          <ac:chgData name="Sabina PETRASHOVA" userId="7d838aae-e6ab-4ec0-b04f-8f08a9482ebc" providerId="ADAL" clId="{C1847504-C51D-45E1-96BE-B0CE464851E6}" dt="2023-09-25T12:10:07.151" v="22300" actId="1076"/>
          <ac:spMkLst>
            <pc:docMk/>
            <pc:sldMk cId="2885432409" sldId="2147471331"/>
            <ac:spMk id="13" creationId="{9D328004-2E49-6795-2627-4E332D23C176}"/>
          </ac:spMkLst>
        </pc:spChg>
        <pc:spChg chg="add mod">
          <ac:chgData name="Sabina PETRASHOVA" userId="7d838aae-e6ab-4ec0-b04f-8f08a9482ebc" providerId="ADAL" clId="{C1847504-C51D-45E1-96BE-B0CE464851E6}" dt="2023-09-25T12:10:07.151" v="22300" actId="1076"/>
          <ac:spMkLst>
            <pc:docMk/>
            <pc:sldMk cId="2885432409" sldId="2147471331"/>
            <ac:spMk id="15" creationId="{0464BC92-86CB-C062-06D0-B169026D21C9}"/>
          </ac:spMkLst>
        </pc:spChg>
        <pc:spChg chg="add del mod">
          <ac:chgData name="Sabina PETRASHOVA" userId="7d838aae-e6ab-4ec0-b04f-8f08a9482ebc" providerId="ADAL" clId="{C1847504-C51D-45E1-96BE-B0CE464851E6}" dt="2023-09-29T06:06:37.291" v="35832" actId="478"/>
          <ac:spMkLst>
            <pc:docMk/>
            <pc:sldMk cId="2885432409" sldId="2147471331"/>
            <ac:spMk id="16" creationId="{82D01A37-898C-E058-1AE6-1ADD5CF8E091}"/>
          </ac:spMkLst>
        </pc:spChg>
        <pc:spChg chg="add del mod">
          <ac:chgData name="Sabina PETRASHOVA" userId="7d838aae-e6ab-4ec0-b04f-8f08a9482ebc" providerId="ADAL" clId="{C1847504-C51D-45E1-96BE-B0CE464851E6}" dt="2023-09-29T06:06:37.291" v="35832" actId="478"/>
          <ac:spMkLst>
            <pc:docMk/>
            <pc:sldMk cId="2885432409" sldId="2147471331"/>
            <ac:spMk id="17" creationId="{A139A539-FDE4-58BE-44A0-0AAA839F95E2}"/>
          </ac:spMkLst>
        </pc:spChg>
        <pc:spChg chg="mod">
          <ac:chgData name="Sabina PETRASHOVA" userId="7d838aae-e6ab-4ec0-b04f-8f08a9482ebc" providerId="ADAL" clId="{C1847504-C51D-45E1-96BE-B0CE464851E6}" dt="2023-09-22T15:43:49.392" v="21916" actId="552"/>
          <ac:spMkLst>
            <pc:docMk/>
            <pc:sldMk cId="2885432409" sldId="2147471331"/>
            <ac:spMk id="79" creationId="{9007893F-DE3F-4277-8B72-135CF4773651}"/>
          </ac:spMkLst>
        </pc:spChg>
        <pc:picChg chg="del">
          <ac:chgData name="Sabina PETRASHOVA" userId="7d838aae-e6ab-4ec0-b04f-8f08a9482ebc" providerId="ADAL" clId="{C1847504-C51D-45E1-96BE-B0CE464851E6}" dt="2023-09-26T15:04:03.807" v="28859" actId="478"/>
          <ac:picMkLst>
            <pc:docMk/>
            <pc:sldMk cId="2885432409" sldId="2147471331"/>
            <ac:picMk id="5" creationId="{685B0B03-5794-2B51-8A20-874FA134BDD4}"/>
          </ac:picMkLst>
        </pc:picChg>
        <pc:picChg chg="add mod">
          <ac:chgData name="Sabina PETRASHOVA" userId="7d838aae-e6ab-4ec0-b04f-8f08a9482ebc" providerId="ADAL" clId="{C1847504-C51D-45E1-96BE-B0CE464851E6}" dt="2023-09-22T15:43:54.217" v="21917" actId="1076"/>
          <ac:picMkLst>
            <pc:docMk/>
            <pc:sldMk cId="2885432409" sldId="2147471331"/>
            <ac:picMk id="9" creationId="{88163E41-A9D4-41F9-235B-BC78C37D8723}"/>
          </ac:picMkLst>
        </pc:picChg>
        <pc:picChg chg="add mod">
          <ac:chgData name="Sabina PETRASHOVA" userId="7d838aae-e6ab-4ec0-b04f-8f08a9482ebc" providerId="ADAL" clId="{C1847504-C51D-45E1-96BE-B0CE464851E6}" dt="2023-09-22T13:42:46.255" v="20530" actId="1076"/>
          <ac:picMkLst>
            <pc:docMk/>
            <pc:sldMk cId="2885432409" sldId="2147471331"/>
            <ac:picMk id="12" creationId="{18C02B33-BC64-D2F3-FE78-593141CD3E25}"/>
          </ac:picMkLst>
        </pc:picChg>
        <pc:picChg chg="add mod">
          <ac:chgData name="Sabina PETRASHOVA" userId="7d838aae-e6ab-4ec0-b04f-8f08a9482ebc" providerId="ADAL" clId="{C1847504-C51D-45E1-96BE-B0CE464851E6}" dt="2023-09-26T15:04:04.164" v="28860"/>
          <ac:picMkLst>
            <pc:docMk/>
            <pc:sldMk cId="2885432409" sldId="2147471331"/>
            <ac:picMk id="12" creationId="{EB3B5A94-F03A-9654-EC93-E3AC96B02A3D}"/>
          </ac:picMkLst>
        </pc:picChg>
        <pc:picChg chg="add mod">
          <ac:chgData name="Sabina PETRASHOVA" userId="7d838aae-e6ab-4ec0-b04f-8f08a9482ebc" providerId="ADAL" clId="{C1847504-C51D-45E1-96BE-B0CE464851E6}" dt="2023-09-22T13:42:54.379" v="20531" actId="1076"/>
          <ac:picMkLst>
            <pc:docMk/>
            <pc:sldMk cId="2885432409" sldId="2147471331"/>
            <ac:picMk id="14" creationId="{1251DD97-1859-B5DD-3187-990A2436F0CB}"/>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9T07:35:21.588" v="39056"/>
              <pc2:cmMkLst xmlns:pc2="http://schemas.microsoft.com/office/powerpoint/2019/9/main/command">
                <pc:docMk/>
                <pc:sldMk cId="2885432409" sldId="2147471331"/>
                <pc2:cmMk id="{3E76411E-F14D-4FEF-AA87-5717A95A4A89}"/>
              </pc2:cmMkLst>
            </pc226:cmChg>
            <pc226:cmChg xmlns:pc226="http://schemas.microsoft.com/office/powerpoint/2022/06/main/command" chg="mod modRxn">
              <pc226:chgData name="Sabina PETRASHOVA" userId="7d838aae-e6ab-4ec0-b04f-8f08a9482ebc" providerId="ADAL" clId="{C1847504-C51D-45E1-96BE-B0CE464851E6}" dt="2023-09-29T06:06:40.803" v="35834"/>
              <pc2:cmMkLst xmlns:pc2="http://schemas.microsoft.com/office/powerpoint/2019/9/main/command">
                <pc:docMk/>
                <pc:sldMk cId="2885432409" sldId="2147471331"/>
                <pc2:cmMk id="{9DE94C8B-F7D2-443F-BD19-4A8701EE4E3E}"/>
              </pc2:cmMkLst>
            </pc226:cmChg>
          </p:ext>
        </pc:extLst>
      </pc:sldChg>
      <pc:sldChg chg="modSp mod">
        <pc:chgData name="Sabina PETRASHOVA" userId="7d838aae-e6ab-4ec0-b04f-8f08a9482ebc" providerId="ADAL" clId="{C1847504-C51D-45E1-96BE-B0CE464851E6}" dt="2023-09-22T15:44:13.329" v="21920" actId="552"/>
        <pc:sldMkLst>
          <pc:docMk/>
          <pc:sldMk cId="3341754950" sldId="2147471332"/>
        </pc:sldMkLst>
        <pc:spChg chg="mod">
          <ac:chgData name="Sabina PETRASHOVA" userId="7d838aae-e6ab-4ec0-b04f-8f08a9482ebc" providerId="ADAL" clId="{C1847504-C51D-45E1-96BE-B0CE464851E6}" dt="2023-09-22T15:44:13.329" v="21920" actId="552"/>
          <ac:spMkLst>
            <pc:docMk/>
            <pc:sldMk cId="3341754950" sldId="2147471332"/>
            <ac:spMk id="79" creationId="{9007893F-DE3F-4277-8B72-135CF4773651}"/>
          </ac:spMkLst>
        </pc:spChg>
      </pc:sldChg>
      <pc:sldChg chg="addSp delSp modSp mod modCm">
        <pc:chgData name="Sabina PETRASHOVA" userId="7d838aae-e6ab-4ec0-b04f-8f08a9482ebc" providerId="ADAL" clId="{C1847504-C51D-45E1-96BE-B0CE464851E6}" dt="2023-09-29T07:45:48.463" v="39227" actId="20577"/>
        <pc:sldMkLst>
          <pc:docMk/>
          <pc:sldMk cId="2333412630" sldId="2147471333"/>
        </pc:sldMkLst>
        <pc:spChg chg="mod">
          <ac:chgData name="Sabina PETRASHOVA" userId="7d838aae-e6ab-4ec0-b04f-8f08a9482ebc" providerId="ADAL" clId="{C1847504-C51D-45E1-96BE-B0CE464851E6}" dt="2023-09-26T12:17:23.522" v="26381" actId="552"/>
          <ac:spMkLst>
            <pc:docMk/>
            <pc:sldMk cId="2333412630" sldId="2147471333"/>
            <ac:spMk id="5" creationId="{80434149-9830-A9C4-40A0-9104C5E2FF54}"/>
          </ac:spMkLst>
        </pc:spChg>
        <pc:spChg chg="add del mod">
          <ac:chgData name="Sabina PETRASHOVA" userId="7d838aae-e6ab-4ec0-b04f-8f08a9482ebc" providerId="ADAL" clId="{C1847504-C51D-45E1-96BE-B0CE464851E6}" dt="2023-09-22T12:23:05.893" v="18434" actId="478"/>
          <ac:spMkLst>
            <pc:docMk/>
            <pc:sldMk cId="2333412630" sldId="2147471333"/>
            <ac:spMk id="6" creationId="{47A65EDE-C685-4B3B-5E76-C9DA71A2F30A}"/>
          </ac:spMkLst>
        </pc:spChg>
        <pc:spChg chg="add mod">
          <ac:chgData name="Sabina PETRASHOVA" userId="7d838aae-e6ab-4ec0-b04f-8f08a9482ebc" providerId="ADAL" clId="{C1847504-C51D-45E1-96BE-B0CE464851E6}" dt="2023-09-26T12:17:23.522" v="26381" actId="552"/>
          <ac:spMkLst>
            <pc:docMk/>
            <pc:sldMk cId="2333412630" sldId="2147471333"/>
            <ac:spMk id="12" creationId="{D23DA763-35E8-6F47-1E27-310C2AE2045C}"/>
          </ac:spMkLst>
        </pc:spChg>
        <pc:spChg chg="add mod">
          <ac:chgData name="Sabina PETRASHOVA" userId="7d838aae-e6ab-4ec0-b04f-8f08a9482ebc" providerId="ADAL" clId="{C1847504-C51D-45E1-96BE-B0CE464851E6}" dt="2023-09-22T12:42:24.608" v="18772" actId="1036"/>
          <ac:spMkLst>
            <pc:docMk/>
            <pc:sldMk cId="2333412630" sldId="2147471333"/>
            <ac:spMk id="13" creationId="{AE120E5F-729D-988D-ED02-2022EF28F6F0}"/>
          </ac:spMkLst>
        </pc:spChg>
        <pc:spChg chg="add del mod">
          <ac:chgData name="Sabina PETRASHOVA" userId="7d838aae-e6ab-4ec0-b04f-8f08a9482ebc" providerId="ADAL" clId="{C1847504-C51D-45E1-96BE-B0CE464851E6}" dt="2023-09-22T12:38:04.255" v="18719" actId="478"/>
          <ac:spMkLst>
            <pc:docMk/>
            <pc:sldMk cId="2333412630" sldId="2147471333"/>
            <ac:spMk id="14" creationId="{00FB0B40-AB14-DF56-B8D2-6B5E23257F8E}"/>
          </ac:spMkLst>
        </pc:spChg>
        <pc:spChg chg="mod">
          <ac:chgData name="Sabina PETRASHOVA" userId="7d838aae-e6ab-4ec0-b04f-8f08a9482ebc" providerId="ADAL" clId="{C1847504-C51D-45E1-96BE-B0CE464851E6}" dt="2023-09-26T09:05:59.876" v="22578" actId="313"/>
          <ac:spMkLst>
            <pc:docMk/>
            <pc:sldMk cId="2333412630" sldId="2147471333"/>
            <ac:spMk id="79" creationId="{9007893F-DE3F-4277-8B72-135CF4773651}"/>
          </ac:spMkLst>
        </pc:spChg>
        <pc:graphicFrameChg chg="add del mod modGraphic">
          <ac:chgData name="Sabina PETRASHOVA" userId="7d838aae-e6ab-4ec0-b04f-8f08a9482ebc" providerId="ADAL" clId="{C1847504-C51D-45E1-96BE-B0CE464851E6}" dt="2023-09-22T12:28:13.992" v="18486" actId="478"/>
          <ac:graphicFrameMkLst>
            <pc:docMk/>
            <pc:sldMk cId="2333412630" sldId="2147471333"/>
            <ac:graphicFrameMk id="5" creationId="{0C7581FA-EF57-D5F4-C40C-B22703B9623D}"/>
          </ac:graphicFrameMkLst>
        </pc:graphicFrameChg>
        <pc:graphicFrameChg chg="add del mod">
          <ac:chgData name="Sabina PETRASHOVA" userId="7d838aae-e6ab-4ec0-b04f-8f08a9482ebc" providerId="ADAL" clId="{C1847504-C51D-45E1-96BE-B0CE464851E6}" dt="2023-09-22T12:23:14.701" v="18439" actId="478"/>
          <ac:graphicFrameMkLst>
            <pc:docMk/>
            <pc:sldMk cId="2333412630" sldId="2147471333"/>
            <ac:graphicFrameMk id="7" creationId="{C47D6ED6-BF45-ACDA-6121-4C1772EB20CA}"/>
          </ac:graphicFrameMkLst>
        </pc:graphicFrameChg>
        <pc:graphicFrameChg chg="add del mod modGraphic">
          <ac:chgData name="Sabina PETRASHOVA" userId="7d838aae-e6ab-4ec0-b04f-8f08a9482ebc" providerId="ADAL" clId="{C1847504-C51D-45E1-96BE-B0CE464851E6}" dt="2023-09-22T12:23:27.635" v="18443" actId="478"/>
          <ac:graphicFrameMkLst>
            <pc:docMk/>
            <pc:sldMk cId="2333412630" sldId="2147471333"/>
            <ac:graphicFrameMk id="8" creationId="{A57089B8-D432-0E43-34CF-2D7B308FD3D0}"/>
          </ac:graphicFrameMkLst>
        </pc:graphicFrameChg>
        <pc:graphicFrameChg chg="add del mod">
          <ac:chgData name="Sabina PETRASHOVA" userId="7d838aae-e6ab-4ec0-b04f-8f08a9482ebc" providerId="ADAL" clId="{C1847504-C51D-45E1-96BE-B0CE464851E6}" dt="2023-09-22T12:24:35.065" v="18446" actId="478"/>
          <ac:graphicFrameMkLst>
            <pc:docMk/>
            <pc:sldMk cId="2333412630" sldId="2147471333"/>
            <ac:graphicFrameMk id="9" creationId="{C3B37173-751E-7CB1-B7A4-FDB44641FDA4}"/>
          </ac:graphicFrameMkLst>
        </pc:graphicFrameChg>
        <pc:graphicFrameChg chg="add del mod modGraphic">
          <ac:chgData name="Sabina PETRASHOVA" userId="7d838aae-e6ab-4ec0-b04f-8f08a9482ebc" providerId="ADAL" clId="{C1847504-C51D-45E1-96BE-B0CE464851E6}" dt="2023-09-22T12:27:10.682" v="18476" actId="478"/>
          <ac:graphicFrameMkLst>
            <pc:docMk/>
            <pc:sldMk cId="2333412630" sldId="2147471333"/>
            <ac:graphicFrameMk id="10" creationId="{5DF03A28-8327-D317-4CFA-D2054DEE4E61}"/>
          </ac:graphicFrameMkLst>
        </pc:graphicFrameChg>
        <pc:graphicFrameChg chg="add mod modGraphic">
          <ac:chgData name="Sabina PETRASHOVA" userId="7d838aae-e6ab-4ec0-b04f-8f08a9482ebc" providerId="ADAL" clId="{C1847504-C51D-45E1-96BE-B0CE464851E6}" dt="2023-09-29T07:45:48.463" v="39227" actId="20577"/>
          <ac:graphicFrameMkLst>
            <pc:docMk/>
            <pc:sldMk cId="2333412630" sldId="2147471333"/>
            <ac:graphicFrameMk id="11" creationId="{90B374F1-851D-E4F2-8C29-4FAA8E13922F}"/>
          </ac:graphicFrameMkLst>
        </pc:graphicFrameChg>
        <pc:graphicFrameChg chg="add del mod modGraphic">
          <ac:chgData name="Sabina PETRASHOVA" userId="7d838aae-e6ab-4ec0-b04f-8f08a9482ebc" providerId="ADAL" clId="{C1847504-C51D-45E1-96BE-B0CE464851E6}" dt="2023-09-22T12:39:05.476" v="18730" actId="478"/>
          <ac:graphicFrameMkLst>
            <pc:docMk/>
            <pc:sldMk cId="2333412630" sldId="2147471333"/>
            <ac:graphicFrameMk id="15" creationId="{1D755C16-0547-D49F-9E70-BE5A6B1055DC}"/>
          </ac:graphicFrameMkLst>
        </pc:graphicFrameChg>
        <pc:graphicFrameChg chg="add del mod">
          <ac:chgData name="Sabina PETRASHOVA" userId="7d838aae-e6ab-4ec0-b04f-8f08a9482ebc" providerId="ADAL" clId="{C1847504-C51D-45E1-96BE-B0CE464851E6}" dt="2023-09-22T12:39:32.213" v="18733"/>
          <ac:graphicFrameMkLst>
            <pc:docMk/>
            <pc:sldMk cId="2333412630" sldId="2147471333"/>
            <ac:graphicFrameMk id="16" creationId="{60ECEC94-F090-8A61-06C8-5999C4DF5739}"/>
          </ac:graphicFrameMkLst>
        </pc:graphicFrameChg>
        <pc:picChg chg="add mod">
          <ac:chgData name="Sabina PETRASHOVA" userId="7d838aae-e6ab-4ec0-b04f-8f08a9482ebc" providerId="ADAL" clId="{C1847504-C51D-45E1-96BE-B0CE464851E6}" dt="2023-09-22T12:42:58.195" v="18775" actId="1076"/>
          <ac:picMkLst>
            <pc:docMk/>
            <pc:sldMk cId="2333412630" sldId="2147471333"/>
            <ac:picMk id="17" creationId="{931DCA56-DF6B-48CB-3F49-10598D97FE46}"/>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9T07:45:48.463" v="39227" actId="20577"/>
              <pc2:cmMkLst xmlns:pc2="http://schemas.microsoft.com/office/powerpoint/2019/9/main/command">
                <pc:docMk/>
                <pc:sldMk cId="2333412630" sldId="2147471333"/>
                <pc2:cmMk id="{1450E210-2E15-4A14-9346-417FF66E5B19}"/>
              </pc2:cmMkLst>
            </pc226:cmChg>
            <pc226:cmChg xmlns:pc226="http://schemas.microsoft.com/office/powerpoint/2022/06/main/command" chg="mod">
              <pc226:chgData name="Sabina PETRASHOVA" userId="7d838aae-e6ab-4ec0-b04f-8f08a9482ebc" providerId="ADAL" clId="{C1847504-C51D-45E1-96BE-B0CE464851E6}" dt="2023-09-29T07:45:48.463" v="39227" actId="20577"/>
              <pc2:cmMkLst xmlns:pc2="http://schemas.microsoft.com/office/powerpoint/2019/9/main/command">
                <pc:docMk/>
                <pc:sldMk cId="2333412630" sldId="2147471333"/>
                <pc2:cmMk id="{F4A98C1E-EEB0-49EE-A06E-1185F210DB61}"/>
              </pc2:cmMkLst>
            </pc226:cmChg>
            <pc226:cmChg xmlns:pc226="http://schemas.microsoft.com/office/powerpoint/2022/06/main/command" chg="mod modRxn">
              <pc226:chgData name="Sabina PETRASHOVA" userId="7d838aae-e6ab-4ec0-b04f-8f08a9482ebc" providerId="ADAL" clId="{C1847504-C51D-45E1-96BE-B0CE464851E6}" dt="2023-09-29T07:45:48.463" v="39227" actId="20577"/>
              <pc2:cmMkLst xmlns:pc2="http://schemas.microsoft.com/office/powerpoint/2019/9/main/command">
                <pc:docMk/>
                <pc:sldMk cId="2333412630" sldId="2147471333"/>
                <pc2:cmMk id="{5CA3CC45-7F12-4341-9BBF-094E233B4C8C}"/>
              </pc2:cmMkLst>
            </pc226:cmChg>
            <pc226:cmChg xmlns:pc226="http://schemas.microsoft.com/office/powerpoint/2022/06/main/command" chg="mod modRxn">
              <pc226:chgData name="Sabina PETRASHOVA" userId="7d838aae-e6ab-4ec0-b04f-8f08a9482ebc" providerId="ADAL" clId="{C1847504-C51D-45E1-96BE-B0CE464851E6}" dt="2023-09-28T13:27:13.446" v="32407"/>
              <pc2:cmMkLst xmlns:pc2="http://schemas.microsoft.com/office/powerpoint/2019/9/main/command">
                <pc:docMk/>
                <pc:sldMk cId="2333412630" sldId="2147471333"/>
                <pc2:cmMk id="{F78518A9-2726-4CC6-A882-BA03B26BB296}"/>
              </pc2:cmMkLst>
            </pc226:cmChg>
          </p:ext>
        </pc:extLst>
      </pc:sldChg>
      <pc:sldChg chg="addSp delSp modSp mod modCm modNotesTx">
        <pc:chgData name="Sabina PETRASHOVA" userId="7d838aae-e6ab-4ec0-b04f-8f08a9482ebc" providerId="ADAL" clId="{C1847504-C51D-45E1-96BE-B0CE464851E6}" dt="2023-09-29T07:42:08.553" v="39221" actId="1035"/>
        <pc:sldMkLst>
          <pc:docMk/>
          <pc:sldMk cId="2200555554" sldId="2147471334"/>
        </pc:sldMkLst>
        <pc:spChg chg="mod">
          <ac:chgData name="Sabina PETRASHOVA" userId="7d838aae-e6ab-4ec0-b04f-8f08a9482ebc" providerId="ADAL" clId="{C1847504-C51D-45E1-96BE-B0CE464851E6}" dt="2023-09-28T14:12:50.700" v="33037" actId="113"/>
          <ac:spMkLst>
            <pc:docMk/>
            <pc:sldMk cId="2200555554" sldId="2147471334"/>
            <ac:spMk id="3" creationId="{091B2D08-437C-5BD4-819C-1986E541FAAA}"/>
          </ac:spMkLst>
        </pc:spChg>
        <pc:spChg chg="add mod">
          <ac:chgData name="Sabina PETRASHOVA" userId="7d838aae-e6ab-4ec0-b04f-8f08a9482ebc" providerId="ADAL" clId="{C1847504-C51D-45E1-96BE-B0CE464851E6}" dt="2023-09-29T07:42:08.553" v="39221" actId="1035"/>
          <ac:spMkLst>
            <pc:docMk/>
            <pc:sldMk cId="2200555554" sldId="2147471334"/>
            <ac:spMk id="4" creationId="{155F0B23-0C29-DD47-F94D-81CB200AB238}"/>
          </ac:spMkLst>
        </pc:spChg>
        <pc:spChg chg="add mod">
          <ac:chgData name="Sabina PETRASHOVA" userId="7d838aae-e6ab-4ec0-b04f-8f08a9482ebc" providerId="ADAL" clId="{C1847504-C51D-45E1-96BE-B0CE464851E6}" dt="2023-09-29T07:42:08.553" v="39221" actId="1035"/>
          <ac:spMkLst>
            <pc:docMk/>
            <pc:sldMk cId="2200555554" sldId="2147471334"/>
            <ac:spMk id="5" creationId="{6A585E76-7F94-18AB-0031-5853ED66F3BA}"/>
          </ac:spMkLst>
        </pc:spChg>
        <pc:spChg chg="del mod">
          <ac:chgData name="Sabina PETRASHOVA" userId="7d838aae-e6ab-4ec0-b04f-8f08a9482ebc" providerId="ADAL" clId="{C1847504-C51D-45E1-96BE-B0CE464851E6}" dt="2023-09-22T13:09:08.814" v="19561" actId="478"/>
          <ac:spMkLst>
            <pc:docMk/>
            <pc:sldMk cId="2200555554" sldId="2147471334"/>
            <ac:spMk id="5" creationId="{8ECD6AD5-4B6A-ECA6-8D72-91CC3E468409}"/>
          </ac:spMkLst>
        </pc:spChg>
        <pc:spChg chg="add mod">
          <ac:chgData name="Sabina PETRASHOVA" userId="7d838aae-e6ab-4ec0-b04f-8f08a9482ebc" providerId="ADAL" clId="{C1847504-C51D-45E1-96BE-B0CE464851E6}" dt="2023-09-21T11:35:09.037" v="16787"/>
          <ac:spMkLst>
            <pc:docMk/>
            <pc:sldMk cId="2200555554" sldId="2147471334"/>
            <ac:spMk id="6" creationId="{BD25AB70-AB40-3EBB-5889-13BA48C70DB7}"/>
          </ac:spMkLst>
        </pc:spChg>
        <pc:spChg chg="add mod">
          <ac:chgData name="Sabina PETRASHOVA" userId="7d838aae-e6ab-4ec0-b04f-8f08a9482ebc" providerId="ADAL" clId="{C1847504-C51D-45E1-96BE-B0CE464851E6}" dt="2023-09-29T07:42:08.553" v="39221" actId="1035"/>
          <ac:spMkLst>
            <pc:docMk/>
            <pc:sldMk cId="2200555554" sldId="2147471334"/>
            <ac:spMk id="8" creationId="{06E08887-A651-BD19-DE14-E979D0067B5C}"/>
          </ac:spMkLst>
        </pc:spChg>
        <pc:spChg chg="add del mod">
          <ac:chgData name="Sabina PETRASHOVA" userId="7d838aae-e6ab-4ec0-b04f-8f08a9482ebc" providerId="ADAL" clId="{C1847504-C51D-45E1-96BE-B0CE464851E6}" dt="2023-09-22T13:10:27.975" v="19690" actId="478"/>
          <ac:spMkLst>
            <pc:docMk/>
            <pc:sldMk cId="2200555554" sldId="2147471334"/>
            <ac:spMk id="9" creationId="{3E18B12E-99F4-A2A1-2562-A72FB61E4A95}"/>
          </ac:spMkLst>
        </pc:spChg>
        <pc:spChg chg="add mod">
          <ac:chgData name="Sabina PETRASHOVA" userId="7d838aae-e6ab-4ec0-b04f-8f08a9482ebc" providerId="ADAL" clId="{C1847504-C51D-45E1-96BE-B0CE464851E6}" dt="2023-09-28T09:20:35.101" v="30442" actId="1076"/>
          <ac:spMkLst>
            <pc:docMk/>
            <pc:sldMk cId="2200555554" sldId="2147471334"/>
            <ac:spMk id="9" creationId="{6D0E05BE-F9E0-AABC-2C26-F3DAA84C4CCA}"/>
          </ac:spMkLst>
        </pc:spChg>
        <pc:spChg chg="add mod">
          <ac:chgData name="Sabina PETRASHOVA" userId="7d838aae-e6ab-4ec0-b04f-8f08a9482ebc" providerId="ADAL" clId="{C1847504-C51D-45E1-96BE-B0CE464851E6}" dt="2023-09-29T07:42:08.553" v="39221" actId="1035"/>
          <ac:spMkLst>
            <pc:docMk/>
            <pc:sldMk cId="2200555554" sldId="2147471334"/>
            <ac:spMk id="16" creationId="{4C5B0DA4-FF09-99F7-F018-05B1CEEE44B4}"/>
          </ac:spMkLst>
        </pc:spChg>
        <pc:spChg chg="add mod">
          <ac:chgData name="Sabina PETRASHOVA" userId="7d838aae-e6ab-4ec0-b04f-8f08a9482ebc" providerId="ADAL" clId="{C1847504-C51D-45E1-96BE-B0CE464851E6}" dt="2023-09-29T07:42:08.553" v="39221" actId="1035"/>
          <ac:spMkLst>
            <pc:docMk/>
            <pc:sldMk cId="2200555554" sldId="2147471334"/>
            <ac:spMk id="22" creationId="{F861A5D3-09E8-9E69-189A-C6C2DF6EAFE7}"/>
          </ac:spMkLst>
        </pc:spChg>
        <pc:spChg chg="add mod">
          <ac:chgData name="Sabina PETRASHOVA" userId="7d838aae-e6ab-4ec0-b04f-8f08a9482ebc" providerId="ADAL" clId="{C1847504-C51D-45E1-96BE-B0CE464851E6}" dt="2023-09-29T07:42:08.553" v="39221" actId="1035"/>
          <ac:spMkLst>
            <pc:docMk/>
            <pc:sldMk cId="2200555554" sldId="2147471334"/>
            <ac:spMk id="23" creationId="{350429EE-36B8-31AB-AE3A-DFC06CDA9A84}"/>
          </ac:spMkLst>
        </pc:spChg>
        <pc:spChg chg="mod">
          <ac:chgData name="Sabina PETRASHOVA" userId="7d838aae-e6ab-4ec0-b04f-8f08a9482ebc" providerId="ADAL" clId="{C1847504-C51D-45E1-96BE-B0CE464851E6}" dt="2023-09-22T13:46:48.880" v="20543" actId="20577"/>
          <ac:spMkLst>
            <pc:docMk/>
            <pc:sldMk cId="2200555554" sldId="2147471334"/>
            <ac:spMk id="79" creationId="{9007893F-DE3F-4277-8B72-135CF4773651}"/>
          </ac:spMkLst>
        </pc:spChg>
        <pc:picChg chg="del mod">
          <ac:chgData name="Sabina PETRASHOVA" userId="7d838aae-e6ab-4ec0-b04f-8f08a9482ebc" providerId="ADAL" clId="{C1847504-C51D-45E1-96BE-B0CE464851E6}" dt="2023-09-22T12:52:26.121" v="18912" actId="478"/>
          <ac:picMkLst>
            <pc:docMk/>
            <pc:sldMk cId="2200555554" sldId="2147471334"/>
            <ac:picMk id="4" creationId="{8D18C420-6CA6-2BDC-3841-DBACD986C29B}"/>
          </ac:picMkLst>
        </pc:picChg>
        <pc:picChg chg="add mod">
          <ac:chgData name="Sabina PETRASHOVA" userId="7d838aae-e6ab-4ec0-b04f-8f08a9482ebc" providerId="ADAL" clId="{C1847504-C51D-45E1-96BE-B0CE464851E6}" dt="2023-09-21T11:35:09.037" v="16787"/>
          <ac:picMkLst>
            <pc:docMk/>
            <pc:sldMk cId="2200555554" sldId="2147471334"/>
            <ac:picMk id="7" creationId="{575B35DB-8D23-F24D-5E69-366DA045825E}"/>
          </ac:picMkLst>
        </pc:picChg>
        <pc:picChg chg="add mod">
          <ac:chgData name="Sabina PETRASHOVA" userId="7d838aae-e6ab-4ec0-b04f-8f08a9482ebc" providerId="ADAL" clId="{C1847504-C51D-45E1-96BE-B0CE464851E6}" dt="2023-09-29T07:42:08.553" v="39221" actId="1035"/>
          <ac:picMkLst>
            <pc:docMk/>
            <pc:sldMk cId="2200555554" sldId="2147471334"/>
            <ac:picMk id="11" creationId="{4F300AD2-4CCC-EC28-A0E5-1C0946A7CAC7}"/>
          </ac:picMkLst>
        </pc:picChg>
        <pc:picChg chg="add del mod">
          <ac:chgData name="Sabina PETRASHOVA" userId="7d838aae-e6ab-4ec0-b04f-8f08a9482ebc" providerId="ADAL" clId="{C1847504-C51D-45E1-96BE-B0CE464851E6}" dt="2023-09-22T13:04:16.307" v="19156" actId="478"/>
          <ac:picMkLst>
            <pc:docMk/>
            <pc:sldMk cId="2200555554" sldId="2147471334"/>
            <ac:picMk id="13" creationId="{FFD5AA5D-CD6C-4C89-F852-9D9809315EDE}"/>
          </ac:picMkLst>
        </pc:picChg>
        <pc:picChg chg="add del mod">
          <ac:chgData name="Sabina PETRASHOVA" userId="7d838aae-e6ab-4ec0-b04f-8f08a9482ebc" providerId="ADAL" clId="{C1847504-C51D-45E1-96BE-B0CE464851E6}" dt="2023-09-22T13:04:33.185" v="19161" actId="478"/>
          <ac:picMkLst>
            <pc:docMk/>
            <pc:sldMk cId="2200555554" sldId="2147471334"/>
            <ac:picMk id="15" creationId="{98F970D8-7CFC-2051-D159-4ED4ABA29461}"/>
          </ac:picMkLst>
        </pc:picChg>
        <pc:picChg chg="add mod">
          <ac:chgData name="Sabina PETRASHOVA" userId="7d838aae-e6ab-4ec0-b04f-8f08a9482ebc" providerId="ADAL" clId="{C1847504-C51D-45E1-96BE-B0CE464851E6}" dt="2023-09-29T07:42:08.553" v="39221" actId="1035"/>
          <ac:picMkLst>
            <pc:docMk/>
            <pc:sldMk cId="2200555554" sldId="2147471334"/>
            <ac:picMk id="18" creationId="{44247B72-F402-4689-3971-DCD3311D2ED1}"/>
          </ac:picMkLst>
        </pc:picChg>
        <pc:picChg chg="add mod">
          <ac:chgData name="Sabina PETRASHOVA" userId="7d838aae-e6ab-4ec0-b04f-8f08a9482ebc" providerId="ADAL" clId="{C1847504-C51D-45E1-96BE-B0CE464851E6}" dt="2023-09-29T07:42:08.553" v="39221" actId="1035"/>
          <ac:picMkLst>
            <pc:docMk/>
            <pc:sldMk cId="2200555554" sldId="2147471334"/>
            <ac:picMk id="21" creationId="{46917A8B-D0D9-7807-7F52-3CD394502B30}"/>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14:12:00.411" v="33029"/>
              <pc2:cmMkLst xmlns:pc2="http://schemas.microsoft.com/office/powerpoint/2019/9/main/command">
                <pc:docMk/>
                <pc:sldMk cId="2200555554" sldId="2147471334"/>
                <pc2:cmMk id="{A2012233-0277-495E-8078-934100083A6A}"/>
              </pc2:cmMkLst>
            </pc226:cmChg>
            <pc226:cmChg xmlns:pc226="http://schemas.microsoft.com/office/powerpoint/2022/06/main/command" chg="mod modRxn">
              <pc226:chgData name="Sabina PETRASHOVA" userId="7d838aae-e6ab-4ec0-b04f-8f08a9482ebc" providerId="ADAL" clId="{C1847504-C51D-45E1-96BE-B0CE464851E6}" dt="2023-09-28T14:11:41.013" v="32997" actId="20577"/>
              <pc2:cmMkLst xmlns:pc2="http://schemas.microsoft.com/office/powerpoint/2019/9/main/command">
                <pc:docMk/>
                <pc:sldMk cId="2200555554" sldId="2147471334"/>
                <pc2:cmMk id="{F94ED4F0-8A37-4E5C-A6CD-4C6165EC2846}"/>
              </pc2:cmMkLst>
            </pc226:cmChg>
          </p:ext>
        </pc:extLst>
      </pc:sldChg>
      <pc:sldChg chg="addSp delSp modSp mod">
        <pc:chgData name="Sabina PETRASHOVA" userId="7d838aae-e6ab-4ec0-b04f-8f08a9482ebc" providerId="ADAL" clId="{C1847504-C51D-45E1-96BE-B0CE464851E6}" dt="2023-09-26T09:58:14.187" v="24873" actId="108"/>
        <pc:sldMkLst>
          <pc:docMk/>
          <pc:sldMk cId="3215848774" sldId="2147471335"/>
        </pc:sldMkLst>
        <pc:spChg chg="mod">
          <ac:chgData name="Sabina PETRASHOVA" userId="7d838aae-e6ab-4ec0-b04f-8f08a9482ebc" providerId="ADAL" clId="{C1847504-C51D-45E1-96BE-B0CE464851E6}" dt="2023-09-22T15:47:22.621" v="21936" actId="552"/>
          <ac:spMkLst>
            <pc:docMk/>
            <pc:sldMk cId="3215848774" sldId="2147471335"/>
            <ac:spMk id="2" creationId="{A3A5715A-F78A-BB39-E01A-766708689330}"/>
          </ac:spMkLst>
        </pc:spChg>
        <pc:spChg chg="mod">
          <ac:chgData name="Sabina PETRASHOVA" userId="7d838aae-e6ab-4ec0-b04f-8f08a9482ebc" providerId="ADAL" clId="{C1847504-C51D-45E1-96BE-B0CE464851E6}" dt="2023-09-26T09:58:07.511" v="24872" actId="207"/>
          <ac:spMkLst>
            <pc:docMk/>
            <pc:sldMk cId="3215848774" sldId="2147471335"/>
            <ac:spMk id="5" creationId="{79340272-F215-0072-A774-289CD6DA314B}"/>
          </ac:spMkLst>
        </pc:spChg>
        <pc:spChg chg="add mod">
          <ac:chgData name="Sabina PETRASHOVA" userId="7d838aae-e6ab-4ec0-b04f-8f08a9482ebc" providerId="ADAL" clId="{C1847504-C51D-45E1-96BE-B0CE464851E6}" dt="2023-09-25T13:46:54.480" v="22389" actId="14100"/>
          <ac:spMkLst>
            <pc:docMk/>
            <pc:sldMk cId="3215848774" sldId="2147471335"/>
            <ac:spMk id="6" creationId="{3DF6B22A-3CF5-0F22-C38D-604F70021188}"/>
          </ac:spMkLst>
        </pc:spChg>
        <pc:spChg chg="mod">
          <ac:chgData name="Sabina PETRASHOVA" userId="7d838aae-e6ab-4ec0-b04f-8f08a9482ebc" providerId="ADAL" clId="{C1847504-C51D-45E1-96BE-B0CE464851E6}" dt="2023-09-26T09:58:14.187" v="24873" actId="108"/>
          <ac:spMkLst>
            <pc:docMk/>
            <pc:sldMk cId="3215848774" sldId="2147471335"/>
            <ac:spMk id="7" creationId="{62BB8B64-06C9-DFC1-7FA0-473F72E9EF69}"/>
          </ac:spMkLst>
        </pc:spChg>
        <pc:spChg chg="add del mod">
          <ac:chgData name="Sabina PETRASHOVA" userId="7d838aae-e6ab-4ec0-b04f-8f08a9482ebc" providerId="ADAL" clId="{C1847504-C51D-45E1-96BE-B0CE464851E6}" dt="2023-09-25T13:47:04.200" v="22392" actId="21"/>
          <ac:spMkLst>
            <pc:docMk/>
            <pc:sldMk cId="3215848774" sldId="2147471335"/>
            <ac:spMk id="9" creationId="{598DBE35-48E4-0113-1EF9-E0D2EFDA7E3F}"/>
          </ac:spMkLst>
        </pc:spChg>
        <pc:picChg chg="add mod">
          <ac:chgData name="Sabina PETRASHOVA" userId="7d838aae-e6ab-4ec0-b04f-8f08a9482ebc" providerId="ADAL" clId="{C1847504-C51D-45E1-96BE-B0CE464851E6}" dt="2023-09-25T13:46:54.480" v="22389" actId="14100"/>
          <ac:picMkLst>
            <pc:docMk/>
            <pc:sldMk cId="3215848774" sldId="2147471335"/>
            <ac:picMk id="8" creationId="{32B053FF-69C3-7A72-9268-5730359C18DE}"/>
          </ac:picMkLst>
        </pc:picChg>
        <pc:picChg chg="add del mod">
          <ac:chgData name="Sabina PETRASHOVA" userId="7d838aae-e6ab-4ec0-b04f-8f08a9482ebc" providerId="ADAL" clId="{C1847504-C51D-45E1-96BE-B0CE464851E6}" dt="2023-09-25T13:47:04.200" v="22392" actId="21"/>
          <ac:picMkLst>
            <pc:docMk/>
            <pc:sldMk cId="3215848774" sldId="2147471335"/>
            <ac:picMk id="10" creationId="{37B7C795-12FD-59D8-6023-C8A5A97D7894}"/>
          </ac:picMkLst>
        </pc:picChg>
      </pc:sldChg>
      <pc:sldChg chg="addSp delSp modSp add mod ord modCm">
        <pc:chgData name="Sabina PETRASHOVA" userId="7d838aae-e6ab-4ec0-b04f-8f08a9482ebc" providerId="ADAL" clId="{C1847504-C51D-45E1-96BE-B0CE464851E6}" dt="2023-09-29T06:03:12.869" v="35831" actId="1076"/>
        <pc:sldMkLst>
          <pc:docMk/>
          <pc:sldMk cId="825480840" sldId="2147471336"/>
        </pc:sldMkLst>
        <pc:spChg chg="del mod">
          <ac:chgData name="Sabina PETRASHOVA" userId="7d838aae-e6ab-4ec0-b04f-8f08a9482ebc" providerId="ADAL" clId="{C1847504-C51D-45E1-96BE-B0CE464851E6}" dt="2023-09-25T13:45:00.681" v="22375" actId="478"/>
          <ac:spMkLst>
            <pc:docMk/>
            <pc:sldMk cId="825480840" sldId="2147471336"/>
            <ac:spMk id="3" creationId="{688FD934-970B-A69A-AEBF-F8A0B2ECF4C5}"/>
          </ac:spMkLst>
        </pc:spChg>
        <pc:spChg chg="mod">
          <ac:chgData name="Sabina PETRASHOVA" userId="7d838aae-e6ab-4ec0-b04f-8f08a9482ebc" providerId="ADAL" clId="{C1847504-C51D-45E1-96BE-B0CE464851E6}" dt="2023-09-26T12:23:20.915" v="26463" actId="14100"/>
          <ac:spMkLst>
            <pc:docMk/>
            <pc:sldMk cId="825480840" sldId="2147471336"/>
            <ac:spMk id="5" creationId="{C840A121-B67A-1A13-2217-D8CDCFD6595C}"/>
          </ac:spMkLst>
        </pc:spChg>
        <pc:spChg chg="del">
          <ac:chgData name="Sabina PETRASHOVA" userId="7d838aae-e6ab-4ec0-b04f-8f08a9482ebc" providerId="ADAL" clId="{C1847504-C51D-45E1-96BE-B0CE464851E6}" dt="2023-09-22T14:38:33.891" v="21382" actId="478"/>
          <ac:spMkLst>
            <pc:docMk/>
            <pc:sldMk cId="825480840" sldId="2147471336"/>
            <ac:spMk id="6" creationId="{458F60C3-F43D-84CF-3F8A-01424BD43554}"/>
          </ac:spMkLst>
        </pc:spChg>
        <pc:spChg chg="add mod">
          <ac:chgData name="Sabina PETRASHOVA" userId="7d838aae-e6ab-4ec0-b04f-8f08a9482ebc" providerId="ADAL" clId="{C1847504-C51D-45E1-96BE-B0CE464851E6}" dt="2023-09-25T13:45:22.804" v="22378" actId="108"/>
          <ac:spMkLst>
            <pc:docMk/>
            <pc:sldMk cId="825480840" sldId="2147471336"/>
            <ac:spMk id="6" creationId="{A25BC01F-2A15-773B-D8C7-41CEF1059809}"/>
          </ac:spMkLst>
        </pc:spChg>
        <pc:spChg chg="mod">
          <ac:chgData name="Sabina PETRASHOVA" userId="7d838aae-e6ab-4ec0-b04f-8f08a9482ebc" providerId="ADAL" clId="{C1847504-C51D-45E1-96BE-B0CE464851E6}" dt="2023-09-22T15:22:25.938" v="21860" actId="1037"/>
          <ac:spMkLst>
            <pc:docMk/>
            <pc:sldMk cId="825480840" sldId="2147471336"/>
            <ac:spMk id="8" creationId="{C4063F59-D299-D399-D087-7D00D9045A6E}"/>
          </ac:spMkLst>
        </pc:spChg>
        <pc:spChg chg="del mod">
          <ac:chgData name="Sabina PETRASHOVA" userId="7d838aae-e6ab-4ec0-b04f-8f08a9482ebc" providerId="ADAL" clId="{C1847504-C51D-45E1-96BE-B0CE464851E6}" dt="2023-09-22T14:38:29.355" v="21381" actId="478"/>
          <ac:spMkLst>
            <pc:docMk/>
            <pc:sldMk cId="825480840" sldId="2147471336"/>
            <ac:spMk id="9" creationId="{D0E961FC-1E62-B7B9-1EEE-5D873B387518}"/>
          </ac:spMkLst>
        </pc:spChg>
        <pc:spChg chg="mod">
          <ac:chgData name="Sabina PETRASHOVA" userId="7d838aae-e6ab-4ec0-b04f-8f08a9482ebc" providerId="ADAL" clId="{C1847504-C51D-45E1-96BE-B0CE464851E6}" dt="2023-09-22T15:22:25.938" v="21860" actId="1037"/>
          <ac:spMkLst>
            <pc:docMk/>
            <pc:sldMk cId="825480840" sldId="2147471336"/>
            <ac:spMk id="10" creationId="{4FFCED35-CD6C-5FAE-5B4E-CF808609D3C8}"/>
          </ac:spMkLst>
        </pc:spChg>
        <pc:spChg chg="add mod">
          <ac:chgData name="Sabina PETRASHOVA" userId="7d838aae-e6ab-4ec0-b04f-8f08a9482ebc" providerId="ADAL" clId="{C1847504-C51D-45E1-96BE-B0CE464851E6}" dt="2023-09-22T15:22:25.938" v="21860" actId="1037"/>
          <ac:spMkLst>
            <pc:docMk/>
            <pc:sldMk cId="825480840" sldId="2147471336"/>
            <ac:spMk id="14" creationId="{5EE4ACA1-276F-ACC8-514A-0328C5801498}"/>
          </ac:spMkLst>
        </pc:spChg>
        <pc:spChg chg="add mod">
          <ac:chgData name="Sabina PETRASHOVA" userId="7d838aae-e6ab-4ec0-b04f-8f08a9482ebc" providerId="ADAL" clId="{C1847504-C51D-45E1-96BE-B0CE464851E6}" dt="2023-09-22T15:22:25.938" v="21860" actId="1037"/>
          <ac:spMkLst>
            <pc:docMk/>
            <pc:sldMk cId="825480840" sldId="2147471336"/>
            <ac:spMk id="15" creationId="{9BC56BBD-F652-A651-AD02-A42F0E344901}"/>
          </ac:spMkLst>
        </pc:spChg>
        <pc:spChg chg="add mod">
          <ac:chgData name="Sabina PETRASHOVA" userId="7d838aae-e6ab-4ec0-b04f-8f08a9482ebc" providerId="ADAL" clId="{C1847504-C51D-45E1-96BE-B0CE464851E6}" dt="2023-09-22T15:22:25.938" v="21860" actId="1037"/>
          <ac:spMkLst>
            <pc:docMk/>
            <pc:sldMk cId="825480840" sldId="2147471336"/>
            <ac:spMk id="26" creationId="{BBE66561-5B2D-4AFD-BA4A-20125352B4EE}"/>
          </ac:spMkLst>
        </pc:spChg>
        <pc:spChg chg="del mod">
          <ac:chgData name="Sabina PETRASHOVA" userId="7d838aae-e6ab-4ec0-b04f-8f08a9482ebc" providerId="ADAL" clId="{C1847504-C51D-45E1-96BE-B0CE464851E6}" dt="2023-09-22T14:48:22.673" v="21545" actId="478"/>
          <ac:spMkLst>
            <pc:docMk/>
            <pc:sldMk cId="825480840" sldId="2147471336"/>
            <ac:spMk id="43" creationId="{36B9A657-147D-B461-CC2A-0B495723A64A}"/>
          </ac:spMkLst>
        </pc:spChg>
        <pc:spChg chg="del mod">
          <ac:chgData name="Sabina PETRASHOVA" userId="7d838aae-e6ab-4ec0-b04f-8f08a9482ebc" providerId="ADAL" clId="{C1847504-C51D-45E1-96BE-B0CE464851E6}" dt="2023-09-22T14:38:27.053" v="21379" actId="478"/>
          <ac:spMkLst>
            <pc:docMk/>
            <pc:sldMk cId="825480840" sldId="2147471336"/>
            <ac:spMk id="44" creationId="{EE436185-1BCF-E30A-9544-FD7A967D85B3}"/>
          </ac:spMkLst>
        </pc:spChg>
        <pc:spChg chg="add del mod">
          <ac:chgData name="Sabina PETRASHOVA" userId="7d838aae-e6ab-4ec0-b04f-8f08a9482ebc" providerId="ADAL" clId="{C1847504-C51D-45E1-96BE-B0CE464851E6}" dt="2023-09-22T14:58:48.654" v="21636"/>
          <ac:spMkLst>
            <pc:docMk/>
            <pc:sldMk cId="825480840" sldId="2147471336"/>
            <ac:spMk id="46" creationId="{E12F0092-21E3-C85B-D9BC-B8CF2232FDE1}"/>
          </ac:spMkLst>
        </pc:spChg>
        <pc:spChg chg="add mod">
          <ac:chgData name="Sabina PETRASHOVA" userId="7d838aae-e6ab-4ec0-b04f-8f08a9482ebc" providerId="ADAL" clId="{C1847504-C51D-45E1-96BE-B0CE464851E6}" dt="2023-09-22T15:22:25.938" v="21860" actId="1037"/>
          <ac:spMkLst>
            <pc:docMk/>
            <pc:sldMk cId="825480840" sldId="2147471336"/>
            <ac:spMk id="49" creationId="{8E28E1FD-96FF-71D3-6845-AC9B7D60E271}"/>
          </ac:spMkLst>
        </pc:spChg>
        <pc:spChg chg="add mod">
          <ac:chgData name="Sabina PETRASHOVA" userId="7d838aae-e6ab-4ec0-b04f-8f08a9482ebc" providerId="ADAL" clId="{C1847504-C51D-45E1-96BE-B0CE464851E6}" dt="2023-09-22T15:22:25.938" v="21860" actId="1037"/>
          <ac:spMkLst>
            <pc:docMk/>
            <pc:sldMk cId="825480840" sldId="2147471336"/>
            <ac:spMk id="54" creationId="{713D7796-1E03-A183-D712-E20C5414DAC6}"/>
          </ac:spMkLst>
        </pc:spChg>
        <pc:spChg chg="add mod">
          <ac:chgData name="Sabina PETRASHOVA" userId="7d838aae-e6ab-4ec0-b04f-8f08a9482ebc" providerId="ADAL" clId="{C1847504-C51D-45E1-96BE-B0CE464851E6}" dt="2023-09-22T15:22:25.938" v="21860" actId="1037"/>
          <ac:spMkLst>
            <pc:docMk/>
            <pc:sldMk cId="825480840" sldId="2147471336"/>
            <ac:spMk id="55" creationId="{65C7B1B0-127D-7E63-2E72-ED7F85E4CBE6}"/>
          </ac:spMkLst>
        </pc:spChg>
        <pc:spChg chg="mod">
          <ac:chgData name="Sabina PETRASHOVA" userId="7d838aae-e6ab-4ec0-b04f-8f08a9482ebc" providerId="ADAL" clId="{C1847504-C51D-45E1-96BE-B0CE464851E6}" dt="2023-09-29T06:03:12.869" v="35831" actId="1076"/>
          <ac:spMkLst>
            <pc:docMk/>
            <pc:sldMk cId="825480840" sldId="2147471336"/>
            <ac:spMk id="79" creationId="{9007893F-DE3F-4277-8B72-135CF4773651}"/>
          </ac:spMkLst>
        </pc:spChg>
        <pc:graphicFrameChg chg="mod modGraphic">
          <ac:chgData name="Sabina PETRASHOVA" userId="7d838aae-e6ab-4ec0-b04f-8f08a9482ebc" providerId="ADAL" clId="{C1847504-C51D-45E1-96BE-B0CE464851E6}" dt="2023-09-26T12:23:30.778" v="26471" actId="20577"/>
          <ac:graphicFrameMkLst>
            <pc:docMk/>
            <pc:sldMk cId="825480840" sldId="2147471336"/>
            <ac:graphicFrameMk id="11" creationId="{CA62CBE0-8FCE-629E-D95A-33155605D4B8}"/>
          </ac:graphicFrameMkLst>
        </pc:graphicFrameChg>
        <pc:graphicFrameChg chg="add del mod">
          <ac:chgData name="Sabina PETRASHOVA" userId="7d838aae-e6ab-4ec0-b04f-8f08a9482ebc" providerId="ADAL" clId="{C1847504-C51D-45E1-96BE-B0CE464851E6}" dt="2023-09-22T14:58:48.654" v="21636"/>
          <ac:graphicFrameMkLst>
            <pc:docMk/>
            <pc:sldMk cId="825480840" sldId="2147471336"/>
            <ac:graphicFrameMk id="28" creationId="{CC2A2055-48C6-03F0-5DFB-C5CE8EC73A57}"/>
          </ac:graphicFrameMkLst>
        </pc:graphicFrameChg>
        <pc:picChg chg="del mod">
          <ac:chgData name="Sabina PETRASHOVA" userId="7d838aae-e6ab-4ec0-b04f-8f08a9482ebc" providerId="ADAL" clId="{C1847504-C51D-45E1-96BE-B0CE464851E6}" dt="2023-09-25T13:45:00.681" v="22375" actId="478"/>
          <ac:picMkLst>
            <pc:docMk/>
            <pc:sldMk cId="825480840" sldId="2147471336"/>
            <ac:picMk id="4" creationId="{13685767-C722-889D-110A-C0D4B68EA810}"/>
          </ac:picMkLst>
        </pc:picChg>
        <pc:picChg chg="add mod">
          <ac:chgData name="Sabina PETRASHOVA" userId="7d838aae-e6ab-4ec0-b04f-8f08a9482ebc" providerId="ADAL" clId="{C1847504-C51D-45E1-96BE-B0CE464851E6}" dt="2023-09-22T15:22:32.276" v="21861" actId="1076"/>
          <ac:picMkLst>
            <pc:docMk/>
            <pc:sldMk cId="825480840" sldId="2147471336"/>
            <ac:picMk id="7" creationId="{AC10F8AA-8EE2-B6FD-C8EC-AA009964434B}"/>
          </ac:picMkLst>
        </pc:picChg>
        <pc:picChg chg="add mod">
          <ac:chgData name="Sabina PETRASHOVA" userId="7d838aae-e6ab-4ec0-b04f-8f08a9482ebc" providerId="ADAL" clId="{C1847504-C51D-45E1-96BE-B0CE464851E6}" dt="2023-09-25T13:45:12.744" v="22377" actId="1076"/>
          <ac:picMkLst>
            <pc:docMk/>
            <pc:sldMk cId="825480840" sldId="2147471336"/>
            <ac:picMk id="9" creationId="{B3D0E366-1700-287D-56A8-05D12C0DC84D}"/>
          </ac:picMkLst>
        </pc:picChg>
        <pc:picChg chg="del mod">
          <ac:chgData name="Sabina PETRASHOVA" userId="7d838aae-e6ab-4ec0-b04f-8f08a9482ebc" providerId="ADAL" clId="{C1847504-C51D-45E1-96BE-B0CE464851E6}" dt="2023-09-22T14:36:40.145" v="21369" actId="478"/>
          <ac:picMkLst>
            <pc:docMk/>
            <pc:sldMk cId="825480840" sldId="2147471336"/>
            <ac:picMk id="12" creationId="{F82E46FF-3F6C-FF0C-848D-E2132D98F658}"/>
          </ac:picMkLst>
        </pc:picChg>
        <pc:picChg chg="del">
          <ac:chgData name="Sabina PETRASHOVA" userId="7d838aae-e6ab-4ec0-b04f-8f08a9482ebc" providerId="ADAL" clId="{C1847504-C51D-45E1-96BE-B0CE464851E6}" dt="2023-09-22T14:36:40.145" v="21369" actId="478"/>
          <ac:picMkLst>
            <pc:docMk/>
            <pc:sldMk cId="825480840" sldId="2147471336"/>
            <ac:picMk id="13" creationId="{44716D49-B0BE-0412-C25A-0E37252BFE9F}"/>
          </ac:picMkLst>
        </pc:picChg>
        <pc:picChg chg="add mod">
          <ac:chgData name="Sabina PETRASHOVA" userId="7d838aae-e6ab-4ec0-b04f-8f08a9482ebc" providerId="ADAL" clId="{C1847504-C51D-45E1-96BE-B0CE464851E6}" dt="2023-09-22T15:48:24.783" v="21938" actId="14100"/>
          <ac:picMkLst>
            <pc:docMk/>
            <pc:sldMk cId="825480840" sldId="2147471336"/>
            <ac:picMk id="16" creationId="{F27E78DE-BD67-A87E-051A-B2F6714E9406}"/>
          </ac:picMkLst>
        </pc:picChg>
        <pc:picChg chg="del">
          <ac:chgData name="Sabina PETRASHOVA" userId="7d838aae-e6ab-4ec0-b04f-8f08a9482ebc" providerId="ADAL" clId="{C1847504-C51D-45E1-96BE-B0CE464851E6}" dt="2023-09-22T14:36:40.145" v="21369" actId="478"/>
          <ac:picMkLst>
            <pc:docMk/>
            <pc:sldMk cId="825480840" sldId="2147471336"/>
            <ac:picMk id="17" creationId="{B8B02A49-B66F-CE1D-70A9-B54E136560CC}"/>
          </ac:picMkLst>
        </pc:picChg>
        <pc:picChg chg="del">
          <ac:chgData name="Sabina PETRASHOVA" userId="7d838aae-e6ab-4ec0-b04f-8f08a9482ebc" providerId="ADAL" clId="{C1847504-C51D-45E1-96BE-B0CE464851E6}" dt="2023-09-22T14:36:40.145" v="21369" actId="478"/>
          <ac:picMkLst>
            <pc:docMk/>
            <pc:sldMk cId="825480840" sldId="2147471336"/>
            <ac:picMk id="18" creationId="{402F96EA-898F-5C95-D7BC-51A493F2898B}"/>
          </ac:picMkLst>
        </pc:picChg>
        <pc:picChg chg="del">
          <ac:chgData name="Sabina PETRASHOVA" userId="7d838aae-e6ab-4ec0-b04f-8f08a9482ebc" providerId="ADAL" clId="{C1847504-C51D-45E1-96BE-B0CE464851E6}" dt="2023-09-22T14:36:40.145" v="21369" actId="478"/>
          <ac:picMkLst>
            <pc:docMk/>
            <pc:sldMk cId="825480840" sldId="2147471336"/>
            <ac:picMk id="19" creationId="{38375F86-A070-1B80-389C-FF10C51AEA84}"/>
          </ac:picMkLst>
        </pc:picChg>
        <pc:picChg chg="del">
          <ac:chgData name="Sabina PETRASHOVA" userId="7d838aae-e6ab-4ec0-b04f-8f08a9482ebc" providerId="ADAL" clId="{C1847504-C51D-45E1-96BE-B0CE464851E6}" dt="2023-09-22T14:36:40.145" v="21369" actId="478"/>
          <ac:picMkLst>
            <pc:docMk/>
            <pc:sldMk cId="825480840" sldId="2147471336"/>
            <ac:picMk id="20" creationId="{910182ED-7289-F2E8-274D-9FA3D6B72BC5}"/>
          </ac:picMkLst>
        </pc:picChg>
        <pc:picChg chg="del">
          <ac:chgData name="Sabina PETRASHOVA" userId="7d838aae-e6ab-4ec0-b04f-8f08a9482ebc" providerId="ADAL" clId="{C1847504-C51D-45E1-96BE-B0CE464851E6}" dt="2023-09-22T14:36:40.145" v="21369" actId="478"/>
          <ac:picMkLst>
            <pc:docMk/>
            <pc:sldMk cId="825480840" sldId="2147471336"/>
            <ac:picMk id="21" creationId="{E3E43CE3-8F46-2A83-B9E6-097217B6F652}"/>
          </ac:picMkLst>
        </pc:picChg>
        <pc:picChg chg="del">
          <ac:chgData name="Sabina PETRASHOVA" userId="7d838aae-e6ab-4ec0-b04f-8f08a9482ebc" providerId="ADAL" clId="{C1847504-C51D-45E1-96BE-B0CE464851E6}" dt="2023-09-22T14:36:40.145" v="21369" actId="478"/>
          <ac:picMkLst>
            <pc:docMk/>
            <pc:sldMk cId="825480840" sldId="2147471336"/>
            <ac:picMk id="22" creationId="{D415DE9B-C81D-C9AA-FC62-6BFAA42E63C2}"/>
          </ac:picMkLst>
        </pc:picChg>
        <pc:picChg chg="del">
          <ac:chgData name="Sabina PETRASHOVA" userId="7d838aae-e6ab-4ec0-b04f-8f08a9482ebc" providerId="ADAL" clId="{C1847504-C51D-45E1-96BE-B0CE464851E6}" dt="2023-09-22T14:36:40.145" v="21369" actId="478"/>
          <ac:picMkLst>
            <pc:docMk/>
            <pc:sldMk cId="825480840" sldId="2147471336"/>
            <ac:picMk id="23" creationId="{E1E4E421-8F8C-2AAF-4C30-7F8D2E90D8AF}"/>
          </ac:picMkLst>
        </pc:picChg>
        <pc:picChg chg="del">
          <ac:chgData name="Sabina PETRASHOVA" userId="7d838aae-e6ab-4ec0-b04f-8f08a9482ebc" providerId="ADAL" clId="{C1847504-C51D-45E1-96BE-B0CE464851E6}" dt="2023-09-22T14:36:40.145" v="21369" actId="478"/>
          <ac:picMkLst>
            <pc:docMk/>
            <pc:sldMk cId="825480840" sldId="2147471336"/>
            <ac:picMk id="24" creationId="{72C00877-9682-0EA2-19B8-EF98DD413BA7}"/>
          </ac:picMkLst>
        </pc:picChg>
        <pc:picChg chg="del">
          <ac:chgData name="Sabina PETRASHOVA" userId="7d838aae-e6ab-4ec0-b04f-8f08a9482ebc" providerId="ADAL" clId="{C1847504-C51D-45E1-96BE-B0CE464851E6}" dt="2023-09-22T14:36:40.145" v="21369" actId="478"/>
          <ac:picMkLst>
            <pc:docMk/>
            <pc:sldMk cId="825480840" sldId="2147471336"/>
            <ac:picMk id="25" creationId="{FC5E9482-ECFB-15A2-62B6-AD18FFCD75FD}"/>
          </ac:picMkLst>
        </pc:picChg>
        <pc:picChg chg="add mod">
          <ac:chgData name="Sabina PETRASHOVA" userId="7d838aae-e6ab-4ec0-b04f-8f08a9482ebc" providerId="ADAL" clId="{C1847504-C51D-45E1-96BE-B0CE464851E6}" dt="2023-09-22T15:22:25.938" v="21860" actId="1037"/>
          <ac:picMkLst>
            <pc:docMk/>
            <pc:sldMk cId="825480840" sldId="2147471336"/>
            <ac:picMk id="27" creationId="{17F4B0D3-0443-6F93-B011-6B8B284AB031}"/>
          </ac:picMkLst>
        </pc:picChg>
        <pc:picChg chg="del">
          <ac:chgData name="Sabina PETRASHOVA" userId="7d838aae-e6ab-4ec0-b04f-8f08a9482ebc" providerId="ADAL" clId="{C1847504-C51D-45E1-96BE-B0CE464851E6}" dt="2023-09-22T14:36:40.145" v="21369" actId="478"/>
          <ac:picMkLst>
            <pc:docMk/>
            <pc:sldMk cId="825480840" sldId="2147471336"/>
            <ac:picMk id="29" creationId="{58D7AE8F-09E9-C47B-0904-EE0C37059EE8}"/>
          </ac:picMkLst>
        </pc:picChg>
        <pc:picChg chg="del">
          <ac:chgData name="Sabina PETRASHOVA" userId="7d838aae-e6ab-4ec0-b04f-8f08a9482ebc" providerId="ADAL" clId="{C1847504-C51D-45E1-96BE-B0CE464851E6}" dt="2023-09-22T14:36:40.145" v="21369" actId="478"/>
          <ac:picMkLst>
            <pc:docMk/>
            <pc:sldMk cId="825480840" sldId="2147471336"/>
            <ac:picMk id="30" creationId="{7DDD5A39-6117-25C1-43D7-A021E2466B41}"/>
          </ac:picMkLst>
        </pc:picChg>
        <pc:picChg chg="del">
          <ac:chgData name="Sabina PETRASHOVA" userId="7d838aae-e6ab-4ec0-b04f-8f08a9482ebc" providerId="ADAL" clId="{C1847504-C51D-45E1-96BE-B0CE464851E6}" dt="2023-09-22T14:36:40.145" v="21369" actId="478"/>
          <ac:picMkLst>
            <pc:docMk/>
            <pc:sldMk cId="825480840" sldId="2147471336"/>
            <ac:picMk id="31" creationId="{F7CFD0D4-E255-973C-6757-E47B839BBA8B}"/>
          </ac:picMkLst>
        </pc:picChg>
        <pc:picChg chg="add del mod">
          <ac:chgData name="Sabina PETRASHOVA" userId="7d838aae-e6ab-4ec0-b04f-8f08a9482ebc" providerId="ADAL" clId="{C1847504-C51D-45E1-96BE-B0CE464851E6}" dt="2023-09-22T14:58:48.654" v="21636"/>
          <ac:picMkLst>
            <pc:docMk/>
            <pc:sldMk cId="825480840" sldId="2147471336"/>
            <ac:picMk id="32" creationId="{A158AEB9-0DD1-663F-66EE-A26E200B968A}"/>
          </ac:picMkLst>
        </pc:picChg>
        <pc:picChg chg="add del mod">
          <ac:chgData name="Sabina PETRASHOVA" userId="7d838aae-e6ab-4ec0-b04f-8f08a9482ebc" providerId="ADAL" clId="{C1847504-C51D-45E1-96BE-B0CE464851E6}" dt="2023-09-22T14:58:48.654" v="21636"/>
          <ac:picMkLst>
            <pc:docMk/>
            <pc:sldMk cId="825480840" sldId="2147471336"/>
            <ac:picMk id="33" creationId="{32C8E317-1B84-7778-B5EF-8AE40B7CEDE7}"/>
          </ac:picMkLst>
        </pc:picChg>
        <pc:picChg chg="add del mod">
          <ac:chgData name="Sabina PETRASHOVA" userId="7d838aae-e6ab-4ec0-b04f-8f08a9482ebc" providerId="ADAL" clId="{C1847504-C51D-45E1-96BE-B0CE464851E6}" dt="2023-09-22T14:58:48.654" v="21636"/>
          <ac:picMkLst>
            <pc:docMk/>
            <pc:sldMk cId="825480840" sldId="2147471336"/>
            <ac:picMk id="34" creationId="{9D41EEFA-044E-866D-60D1-2B20A017C3BF}"/>
          </ac:picMkLst>
        </pc:picChg>
        <pc:picChg chg="del">
          <ac:chgData name="Sabina PETRASHOVA" userId="7d838aae-e6ab-4ec0-b04f-8f08a9482ebc" providerId="ADAL" clId="{C1847504-C51D-45E1-96BE-B0CE464851E6}" dt="2023-09-22T14:36:40.145" v="21369" actId="478"/>
          <ac:picMkLst>
            <pc:docMk/>
            <pc:sldMk cId="825480840" sldId="2147471336"/>
            <ac:picMk id="35" creationId="{FBF607FD-501F-D43F-C9A0-DAB79DD3CDB8}"/>
          </ac:picMkLst>
        </pc:picChg>
        <pc:picChg chg="del">
          <ac:chgData name="Sabina PETRASHOVA" userId="7d838aae-e6ab-4ec0-b04f-8f08a9482ebc" providerId="ADAL" clId="{C1847504-C51D-45E1-96BE-B0CE464851E6}" dt="2023-09-22T14:36:40.145" v="21369" actId="478"/>
          <ac:picMkLst>
            <pc:docMk/>
            <pc:sldMk cId="825480840" sldId="2147471336"/>
            <ac:picMk id="36" creationId="{15793173-BB11-0F29-797F-EB26F04C1647}"/>
          </ac:picMkLst>
        </pc:picChg>
        <pc:picChg chg="del">
          <ac:chgData name="Sabina PETRASHOVA" userId="7d838aae-e6ab-4ec0-b04f-8f08a9482ebc" providerId="ADAL" clId="{C1847504-C51D-45E1-96BE-B0CE464851E6}" dt="2023-09-22T14:36:40.145" v="21369" actId="478"/>
          <ac:picMkLst>
            <pc:docMk/>
            <pc:sldMk cId="825480840" sldId="2147471336"/>
            <ac:picMk id="37" creationId="{A0ABD32F-E74C-85C2-D106-B90E4DDCDD0C}"/>
          </ac:picMkLst>
        </pc:picChg>
        <pc:picChg chg="del">
          <ac:chgData name="Sabina PETRASHOVA" userId="7d838aae-e6ab-4ec0-b04f-8f08a9482ebc" providerId="ADAL" clId="{C1847504-C51D-45E1-96BE-B0CE464851E6}" dt="2023-09-22T14:36:40.145" v="21369" actId="478"/>
          <ac:picMkLst>
            <pc:docMk/>
            <pc:sldMk cId="825480840" sldId="2147471336"/>
            <ac:picMk id="38" creationId="{2D54B4E4-A510-7B74-54F7-5C31F9D26AA7}"/>
          </ac:picMkLst>
        </pc:picChg>
        <pc:picChg chg="del">
          <ac:chgData name="Sabina PETRASHOVA" userId="7d838aae-e6ab-4ec0-b04f-8f08a9482ebc" providerId="ADAL" clId="{C1847504-C51D-45E1-96BE-B0CE464851E6}" dt="2023-09-22T14:36:40.145" v="21369" actId="478"/>
          <ac:picMkLst>
            <pc:docMk/>
            <pc:sldMk cId="825480840" sldId="2147471336"/>
            <ac:picMk id="39" creationId="{18B6B1D2-8037-B254-5CC5-76CD90F93AD3}"/>
          </ac:picMkLst>
        </pc:picChg>
        <pc:picChg chg="del">
          <ac:chgData name="Sabina PETRASHOVA" userId="7d838aae-e6ab-4ec0-b04f-8f08a9482ebc" providerId="ADAL" clId="{C1847504-C51D-45E1-96BE-B0CE464851E6}" dt="2023-09-22T14:36:40.145" v="21369" actId="478"/>
          <ac:picMkLst>
            <pc:docMk/>
            <pc:sldMk cId="825480840" sldId="2147471336"/>
            <ac:picMk id="40" creationId="{A29DBC59-3E40-6C56-D8F4-01501588B441}"/>
          </ac:picMkLst>
        </pc:picChg>
        <pc:picChg chg="del">
          <ac:chgData name="Sabina PETRASHOVA" userId="7d838aae-e6ab-4ec0-b04f-8f08a9482ebc" providerId="ADAL" clId="{C1847504-C51D-45E1-96BE-B0CE464851E6}" dt="2023-09-22T14:36:40.145" v="21369" actId="478"/>
          <ac:picMkLst>
            <pc:docMk/>
            <pc:sldMk cId="825480840" sldId="2147471336"/>
            <ac:picMk id="41" creationId="{3EA08288-BB69-BCF6-E6AE-CCDC2708BF98}"/>
          </ac:picMkLst>
        </pc:picChg>
        <pc:picChg chg="del">
          <ac:chgData name="Sabina PETRASHOVA" userId="7d838aae-e6ab-4ec0-b04f-8f08a9482ebc" providerId="ADAL" clId="{C1847504-C51D-45E1-96BE-B0CE464851E6}" dt="2023-09-22T14:36:40.145" v="21369" actId="478"/>
          <ac:picMkLst>
            <pc:docMk/>
            <pc:sldMk cId="825480840" sldId="2147471336"/>
            <ac:picMk id="42" creationId="{F378D216-5CF8-368A-4A67-F84E10890A69}"/>
          </ac:picMkLst>
        </pc:picChg>
        <pc:picChg chg="add del mod">
          <ac:chgData name="Sabina PETRASHOVA" userId="7d838aae-e6ab-4ec0-b04f-8f08a9482ebc" providerId="ADAL" clId="{C1847504-C51D-45E1-96BE-B0CE464851E6}" dt="2023-09-22T14:58:48.654" v="21636"/>
          <ac:picMkLst>
            <pc:docMk/>
            <pc:sldMk cId="825480840" sldId="2147471336"/>
            <ac:picMk id="45" creationId="{17274B05-D622-2254-861D-CFCA13A9F660}"/>
          </ac:picMkLst>
        </pc:picChg>
        <pc:picChg chg="add mod">
          <ac:chgData name="Sabina PETRASHOVA" userId="7d838aae-e6ab-4ec0-b04f-8f08a9482ebc" providerId="ADAL" clId="{C1847504-C51D-45E1-96BE-B0CE464851E6}" dt="2023-09-22T15:22:25.938" v="21860" actId="1037"/>
          <ac:picMkLst>
            <pc:docMk/>
            <pc:sldMk cId="825480840" sldId="2147471336"/>
            <ac:picMk id="47" creationId="{3C00872E-021D-9D3F-23E6-B8D95828EEAE}"/>
          </ac:picMkLst>
        </pc:picChg>
        <pc:picChg chg="add mod">
          <ac:chgData name="Sabina PETRASHOVA" userId="7d838aae-e6ab-4ec0-b04f-8f08a9482ebc" providerId="ADAL" clId="{C1847504-C51D-45E1-96BE-B0CE464851E6}" dt="2023-09-22T15:22:25.938" v="21860" actId="1037"/>
          <ac:picMkLst>
            <pc:docMk/>
            <pc:sldMk cId="825480840" sldId="2147471336"/>
            <ac:picMk id="48" creationId="{F6336DA8-2E2D-0FEA-2893-E63B68274A1C}"/>
          </ac:picMkLst>
        </pc:picChg>
        <pc:picChg chg="add mod">
          <ac:chgData name="Sabina PETRASHOVA" userId="7d838aae-e6ab-4ec0-b04f-8f08a9482ebc" providerId="ADAL" clId="{C1847504-C51D-45E1-96BE-B0CE464851E6}" dt="2023-09-22T15:22:25.938" v="21860" actId="1037"/>
          <ac:picMkLst>
            <pc:docMk/>
            <pc:sldMk cId="825480840" sldId="2147471336"/>
            <ac:picMk id="50" creationId="{A858CFA5-53ED-0192-7529-9D279B151E79}"/>
          </ac:picMkLst>
        </pc:picChg>
        <pc:picChg chg="add mod">
          <ac:chgData name="Sabina PETRASHOVA" userId="7d838aae-e6ab-4ec0-b04f-8f08a9482ebc" providerId="ADAL" clId="{C1847504-C51D-45E1-96BE-B0CE464851E6}" dt="2023-09-22T15:22:25.938" v="21860" actId="1037"/>
          <ac:picMkLst>
            <pc:docMk/>
            <pc:sldMk cId="825480840" sldId="2147471336"/>
            <ac:picMk id="51" creationId="{55077861-F547-3536-F1CC-5A4D78431097}"/>
          </ac:picMkLst>
        </pc:picChg>
        <pc:picChg chg="add mod">
          <ac:chgData name="Sabina PETRASHOVA" userId="7d838aae-e6ab-4ec0-b04f-8f08a9482ebc" providerId="ADAL" clId="{C1847504-C51D-45E1-96BE-B0CE464851E6}" dt="2023-09-22T15:22:25.938" v="21860" actId="1037"/>
          <ac:picMkLst>
            <pc:docMk/>
            <pc:sldMk cId="825480840" sldId="2147471336"/>
            <ac:picMk id="52" creationId="{4471D806-1ABF-1828-6B51-23D5F73578F0}"/>
          </ac:picMkLst>
        </pc:picChg>
        <pc:picChg chg="add mod">
          <ac:chgData name="Sabina PETRASHOVA" userId="7d838aae-e6ab-4ec0-b04f-8f08a9482ebc" providerId="ADAL" clId="{C1847504-C51D-45E1-96BE-B0CE464851E6}" dt="2023-09-22T15:22:25.938" v="21860" actId="1037"/>
          <ac:picMkLst>
            <pc:docMk/>
            <pc:sldMk cId="825480840" sldId="2147471336"/>
            <ac:picMk id="53" creationId="{CF3DEC61-B077-61CB-EFAC-F63DE37B1DA3}"/>
          </ac:picMkLst>
        </pc:picChg>
        <pc:picChg chg="add del mod">
          <ac:chgData name="Sabina PETRASHOVA" userId="7d838aae-e6ab-4ec0-b04f-8f08a9482ebc" providerId="ADAL" clId="{C1847504-C51D-45E1-96BE-B0CE464851E6}" dt="2023-09-22T15:06:17.494" v="21737" actId="478"/>
          <ac:picMkLst>
            <pc:docMk/>
            <pc:sldMk cId="825480840" sldId="2147471336"/>
            <ac:picMk id="56" creationId="{4927BB5E-3D69-7A4B-6F1E-57C1447066B0}"/>
          </ac:picMkLst>
        </pc:picChg>
        <pc:picChg chg="add mod">
          <ac:chgData name="Sabina PETRASHOVA" userId="7d838aae-e6ab-4ec0-b04f-8f08a9482ebc" providerId="ADAL" clId="{C1847504-C51D-45E1-96BE-B0CE464851E6}" dt="2023-09-22T15:22:25.938" v="21860" actId="1037"/>
          <ac:picMkLst>
            <pc:docMk/>
            <pc:sldMk cId="825480840" sldId="2147471336"/>
            <ac:picMk id="57" creationId="{1CFC80C1-7091-4CE6-1446-E22CB762BAF6}"/>
          </ac:picMkLst>
        </pc:picChg>
        <pc:picChg chg="add mod">
          <ac:chgData name="Sabina PETRASHOVA" userId="7d838aae-e6ab-4ec0-b04f-8f08a9482ebc" providerId="ADAL" clId="{C1847504-C51D-45E1-96BE-B0CE464851E6}" dt="2023-09-22T15:22:25.938" v="21860" actId="1037"/>
          <ac:picMkLst>
            <pc:docMk/>
            <pc:sldMk cId="825480840" sldId="2147471336"/>
            <ac:picMk id="58" creationId="{C5C0F8B2-EC52-7395-B0C4-4F8BF540D958}"/>
          </ac:picMkLst>
        </pc:picChg>
        <pc:picChg chg="add mod">
          <ac:chgData name="Sabina PETRASHOVA" userId="7d838aae-e6ab-4ec0-b04f-8f08a9482ebc" providerId="ADAL" clId="{C1847504-C51D-45E1-96BE-B0CE464851E6}" dt="2023-09-22T15:22:25.938" v="21860" actId="1037"/>
          <ac:picMkLst>
            <pc:docMk/>
            <pc:sldMk cId="825480840" sldId="2147471336"/>
            <ac:picMk id="59" creationId="{C2DDED8A-256D-236F-88C5-51CC19905388}"/>
          </ac:picMkLst>
        </pc:picChg>
        <pc:picChg chg="add mod">
          <ac:chgData name="Sabina PETRASHOVA" userId="7d838aae-e6ab-4ec0-b04f-8f08a9482ebc" providerId="ADAL" clId="{C1847504-C51D-45E1-96BE-B0CE464851E6}" dt="2023-09-22T15:22:25.938" v="21860" actId="1037"/>
          <ac:picMkLst>
            <pc:docMk/>
            <pc:sldMk cId="825480840" sldId="2147471336"/>
            <ac:picMk id="60" creationId="{448E501E-1313-2FAB-490E-8A8C456C2A09}"/>
          </ac:picMkLst>
        </pc:picChg>
        <pc:picChg chg="add mod">
          <ac:chgData name="Sabina PETRASHOVA" userId="7d838aae-e6ab-4ec0-b04f-8f08a9482ebc" providerId="ADAL" clId="{C1847504-C51D-45E1-96BE-B0CE464851E6}" dt="2023-09-22T15:22:25.938" v="21860" actId="1037"/>
          <ac:picMkLst>
            <pc:docMk/>
            <pc:sldMk cId="825480840" sldId="2147471336"/>
            <ac:picMk id="61" creationId="{227F44B3-973E-4CC1-117A-5E9425F53436}"/>
          </ac:picMkLst>
        </pc:picChg>
        <pc:picChg chg="add mod">
          <ac:chgData name="Sabina PETRASHOVA" userId="7d838aae-e6ab-4ec0-b04f-8f08a9482ebc" providerId="ADAL" clId="{C1847504-C51D-45E1-96BE-B0CE464851E6}" dt="2023-09-22T15:22:25.938" v="21860" actId="1037"/>
          <ac:picMkLst>
            <pc:docMk/>
            <pc:sldMk cId="825480840" sldId="2147471336"/>
            <ac:picMk id="62" creationId="{E91EB6CE-12CC-81BC-5B42-187DEE6CEAD5}"/>
          </ac:picMkLst>
        </pc:picChg>
        <pc:picChg chg="add mod">
          <ac:chgData name="Sabina PETRASHOVA" userId="7d838aae-e6ab-4ec0-b04f-8f08a9482ebc" providerId="ADAL" clId="{C1847504-C51D-45E1-96BE-B0CE464851E6}" dt="2023-09-22T15:22:25.938" v="21860" actId="1037"/>
          <ac:picMkLst>
            <pc:docMk/>
            <pc:sldMk cId="825480840" sldId="2147471336"/>
            <ac:picMk id="64" creationId="{70D244CE-1652-E900-A6D9-75C2D95BF74B}"/>
          </ac:picMkLst>
        </pc:picChg>
        <pc:picChg chg="add mod">
          <ac:chgData name="Sabina PETRASHOVA" userId="7d838aae-e6ab-4ec0-b04f-8f08a9482ebc" providerId="ADAL" clId="{C1847504-C51D-45E1-96BE-B0CE464851E6}" dt="2023-09-26T12:21:33.251" v="26444" actId="1076"/>
          <ac:picMkLst>
            <pc:docMk/>
            <pc:sldMk cId="825480840" sldId="2147471336"/>
            <ac:picMk id="66" creationId="{4F23D0D8-9EB4-81A7-3DAB-4F7062D3516E}"/>
          </ac:picMkLst>
        </pc:picChg>
        <pc:picChg chg="add mod">
          <ac:chgData name="Sabina PETRASHOVA" userId="7d838aae-e6ab-4ec0-b04f-8f08a9482ebc" providerId="ADAL" clId="{C1847504-C51D-45E1-96BE-B0CE464851E6}" dt="2023-09-26T12:21:32.146" v="26442" actId="1076"/>
          <ac:picMkLst>
            <pc:docMk/>
            <pc:sldMk cId="825480840" sldId="2147471336"/>
            <ac:picMk id="67" creationId="{1385D48D-E6FF-E9B7-124C-9D03AAEF5406}"/>
          </ac:picMkLst>
        </pc:picChg>
        <pc:picChg chg="add del mod">
          <ac:chgData name="Sabina PETRASHOVA" userId="7d838aae-e6ab-4ec0-b04f-8f08a9482ebc" providerId="ADAL" clId="{C1847504-C51D-45E1-96BE-B0CE464851E6}" dt="2023-09-22T15:38:35.498" v="21877" actId="478"/>
          <ac:picMkLst>
            <pc:docMk/>
            <pc:sldMk cId="825480840" sldId="2147471336"/>
            <ac:picMk id="69" creationId="{97732482-9F76-1F36-FD62-432AC4697666}"/>
          </ac:picMkLst>
        </pc:picChg>
        <pc:picChg chg="add mod">
          <ac:chgData name="Sabina PETRASHOVA" userId="7d838aae-e6ab-4ec0-b04f-8f08a9482ebc" providerId="ADAL" clId="{C1847504-C51D-45E1-96BE-B0CE464851E6}" dt="2023-09-26T12:21:33.691" v="26445" actId="1076"/>
          <ac:picMkLst>
            <pc:docMk/>
            <pc:sldMk cId="825480840" sldId="2147471336"/>
            <ac:picMk id="71" creationId="{254508DA-D5AD-5E91-7478-46E9F2161D6B}"/>
          </ac:picMkLst>
        </pc:picChg>
        <pc:picChg chg="add mod">
          <ac:chgData name="Sabina PETRASHOVA" userId="7d838aae-e6ab-4ec0-b04f-8f08a9482ebc" providerId="ADAL" clId="{C1847504-C51D-45E1-96BE-B0CE464851E6}" dt="2023-09-26T12:21:32.705" v="26443" actId="1076"/>
          <ac:picMkLst>
            <pc:docMk/>
            <pc:sldMk cId="825480840" sldId="2147471336"/>
            <ac:picMk id="73" creationId="{F3540D18-9956-9C8E-D531-5E77684E1343}"/>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9T06:03:05.221" v="35830" actId="20577"/>
              <pc2:cmMkLst xmlns:pc2="http://schemas.microsoft.com/office/powerpoint/2019/9/main/command">
                <pc:docMk/>
                <pc:sldMk cId="825480840" sldId="2147471336"/>
                <pc2:cmMk id="{2AD47753-3ECB-4E55-8308-2F17E7643547}"/>
              </pc2:cmMkLst>
            </pc226:cmChg>
          </p:ext>
        </pc:extLst>
      </pc:sldChg>
      <pc:sldChg chg="addSp delSp modSp del mod">
        <pc:chgData name="Sabina PETRASHOVA" userId="7d838aae-e6ab-4ec0-b04f-8f08a9482ebc" providerId="ADAL" clId="{C1847504-C51D-45E1-96BE-B0CE464851E6}" dt="2023-09-25T11:56:50.344" v="22284" actId="2696"/>
        <pc:sldMkLst>
          <pc:docMk/>
          <pc:sldMk cId="2372584584" sldId="2147471337"/>
        </pc:sldMkLst>
        <pc:spChg chg="add mod">
          <ac:chgData name="Sabina PETRASHOVA" userId="7d838aae-e6ab-4ec0-b04f-8f08a9482ebc" providerId="ADAL" clId="{C1847504-C51D-45E1-96BE-B0CE464851E6}" dt="2023-09-25T09:48:41.910" v="22166" actId="14100"/>
          <ac:spMkLst>
            <pc:docMk/>
            <pc:sldMk cId="2372584584" sldId="2147471337"/>
            <ac:spMk id="2" creationId="{B65939C1-95BF-7E85-6FAC-E8EC95FC2195}"/>
          </ac:spMkLst>
        </pc:spChg>
        <pc:spChg chg="mod">
          <ac:chgData name="Sabina PETRASHOVA" userId="7d838aae-e6ab-4ec0-b04f-8f08a9482ebc" providerId="ADAL" clId="{C1847504-C51D-45E1-96BE-B0CE464851E6}" dt="2023-09-25T09:48:35.498" v="22165" actId="14100"/>
          <ac:spMkLst>
            <pc:docMk/>
            <pc:sldMk cId="2372584584" sldId="2147471337"/>
            <ac:spMk id="3" creationId="{6A4B4431-0B0F-60AC-8B65-DFC12BC14633}"/>
          </ac:spMkLst>
        </pc:spChg>
        <pc:spChg chg="mod">
          <ac:chgData name="Sabina PETRASHOVA" userId="7d838aae-e6ab-4ec0-b04f-8f08a9482ebc" providerId="ADAL" clId="{C1847504-C51D-45E1-96BE-B0CE464851E6}" dt="2023-09-25T09:49:12.391" v="22168" actId="1076"/>
          <ac:spMkLst>
            <pc:docMk/>
            <pc:sldMk cId="2372584584" sldId="2147471337"/>
            <ac:spMk id="6" creationId="{2AFBB5F3-4E86-E40D-2DDB-4419089C4BBC}"/>
          </ac:spMkLst>
        </pc:spChg>
        <pc:spChg chg="add mod">
          <ac:chgData name="Sabina PETRASHOVA" userId="7d838aae-e6ab-4ec0-b04f-8f08a9482ebc" providerId="ADAL" clId="{C1847504-C51D-45E1-96BE-B0CE464851E6}" dt="2023-09-25T09:48:21.036" v="22163" actId="1037"/>
          <ac:spMkLst>
            <pc:docMk/>
            <pc:sldMk cId="2372584584" sldId="2147471337"/>
            <ac:spMk id="7" creationId="{5A09925F-824F-265D-785F-22BB6EF15B3C}"/>
          </ac:spMkLst>
        </pc:spChg>
        <pc:spChg chg="add del mod">
          <ac:chgData name="Sabina PETRASHOVA" userId="7d838aae-e6ab-4ec0-b04f-8f08a9482ebc" providerId="ADAL" clId="{C1847504-C51D-45E1-96BE-B0CE464851E6}" dt="2023-09-25T09:43:14.981" v="22014" actId="478"/>
          <ac:spMkLst>
            <pc:docMk/>
            <pc:sldMk cId="2372584584" sldId="2147471337"/>
            <ac:spMk id="9" creationId="{442F080B-A9F9-F40D-E0E1-30C18C0225B5}"/>
          </ac:spMkLst>
        </pc:spChg>
        <pc:spChg chg="add del mod">
          <ac:chgData name="Sabina PETRASHOVA" userId="7d838aae-e6ab-4ec0-b04f-8f08a9482ebc" providerId="ADAL" clId="{C1847504-C51D-45E1-96BE-B0CE464851E6}" dt="2023-09-25T09:43:14.981" v="22014" actId="478"/>
          <ac:spMkLst>
            <pc:docMk/>
            <pc:sldMk cId="2372584584" sldId="2147471337"/>
            <ac:spMk id="11" creationId="{1C3095A3-C287-E8A6-6FBC-A579F1A8BA43}"/>
          </ac:spMkLst>
        </pc:spChg>
        <pc:spChg chg="add mod">
          <ac:chgData name="Sabina PETRASHOVA" userId="7d838aae-e6ab-4ec0-b04f-8f08a9482ebc" providerId="ADAL" clId="{C1847504-C51D-45E1-96BE-B0CE464851E6}" dt="2023-09-25T09:43:57.892" v="22025" actId="1076"/>
          <ac:spMkLst>
            <pc:docMk/>
            <pc:sldMk cId="2372584584" sldId="2147471337"/>
            <ac:spMk id="14" creationId="{9436DF50-7A53-B5F4-1E18-64401ABFF6DB}"/>
          </ac:spMkLst>
        </pc:spChg>
        <pc:graphicFrameChg chg="add mod modGraphic">
          <ac:chgData name="Sabina PETRASHOVA" userId="7d838aae-e6ab-4ec0-b04f-8f08a9482ebc" providerId="ADAL" clId="{C1847504-C51D-45E1-96BE-B0CE464851E6}" dt="2023-09-25T10:02:34.921" v="22236" actId="14100"/>
          <ac:graphicFrameMkLst>
            <pc:docMk/>
            <pc:sldMk cId="2372584584" sldId="2147471337"/>
            <ac:graphicFrameMk id="13" creationId="{D530E74D-107C-3922-B525-C8EDA3C77A74}"/>
          </ac:graphicFrameMkLst>
        </pc:graphicFrameChg>
        <pc:picChg chg="add del mod">
          <ac:chgData name="Sabina PETRASHOVA" userId="7d838aae-e6ab-4ec0-b04f-8f08a9482ebc" providerId="ADAL" clId="{C1847504-C51D-45E1-96BE-B0CE464851E6}" dt="2023-09-25T09:45:35.220" v="22042" actId="478"/>
          <ac:picMkLst>
            <pc:docMk/>
            <pc:sldMk cId="2372584584" sldId="2147471337"/>
            <ac:picMk id="8" creationId="{F4D95B60-F53A-6105-E684-E09806E59504}"/>
          </ac:picMkLst>
        </pc:picChg>
        <pc:picChg chg="del mod">
          <ac:chgData name="Sabina PETRASHOVA" userId="7d838aae-e6ab-4ec0-b04f-8f08a9482ebc" providerId="ADAL" clId="{C1847504-C51D-45E1-96BE-B0CE464851E6}" dt="2023-09-25T09:44:50.834" v="22036" actId="478"/>
          <ac:picMkLst>
            <pc:docMk/>
            <pc:sldMk cId="2372584584" sldId="2147471337"/>
            <ac:picMk id="10" creationId="{785754D4-CF54-5A07-C99D-3C3D26E41E72}"/>
          </ac:picMkLst>
        </pc:picChg>
        <pc:picChg chg="add del mod">
          <ac:chgData name="Sabina PETRASHOVA" userId="7d838aae-e6ab-4ec0-b04f-8f08a9482ebc" providerId="ADAL" clId="{C1847504-C51D-45E1-96BE-B0CE464851E6}" dt="2023-09-25T09:43:14.981" v="22014" actId="478"/>
          <ac:picMkLst>
            <pc:docMk/>
            <pc:sldMk cId="2372584584" sldId="2147471337"/>
            <ac:picMk id="12" creationId="{DB74361F-D635-C2C5-5D0A-AEF3E77B1493}"/>
          </ac:picMkLst>
        </pc:picChg>
        <pc:picChg chg="add mod">
          <ac:chgData name="Sabina PETRASHOVA" userId="7d838aae-e6ab-4ec0-b04f-8f08a9482ebc" providerId="ADAL" clId="{C1847504-C51D-45E1-96BE-B0CE464851E6}" dt="2023-09-25T09:47:27.588" v="22065" actId="1076"/>
          <ac:picMkLst>
            <pc:docMk/>
            <pc:sldMk cId="2372584584" sldId="2147471337"/>
            <ac:picMk id="1027" creationId="{ABB97CD2-864A-8FBC-1577-B17C0A795015}"/>
          </ac:picMkLst>
        </pc:picChg>
        <pc:picChg chg="add mod">
          <ac:chgData name="Sabina PETRASHOVA" userId="7d838aae-e6ab-4ec0-b04f-8f08a9482ebc" providerId="ADAL" clId="{C1847504-C51D-45E1-96BE-B0CE464851E6}" dt="2023-09-25T10:02:04.326" v="22231" actId="1076"/>
          <ac:picMkLst>
            <pc:docMk/>
            <pc:sldMk cId="2372584584" sldId="2147471337"/>
            <ac:picMk id="1029" creationId="{1D6C8D68-2AA8-780C-40D6-76C1F87CD834}"/>
          </ac:picMkLst>
        </pc:picChg>
        <pc:picChg chg="add mod">
          <ac:chgData name="Sabina PETRASHOVA" userId="7d838aae-e6ab-4ec0-b04f-8f08a9482ebc" providerId="ADAL" clId="{C1847504-C51D-45E1-96BE-B0CE464851E6}" dt="2023-09-25T10:02:08.563" v="22232" actId="1076"/>
          <ac:picMkLst>
            <pc:docMk/>
            <pc:sldMk cId="2372584584" sldId="2147471337"/>
            <ac:picMk id="1031" creationId="{3F43F17C-5F47-4E15-4A1B-0D59E00D682B}"/>
          </ac:picMkLst>
        </pc:picChg>
      </pc:sldChg>
      <pc:sldChg chg="addSp delSp modSp mod modCm">
        <pc:chgData name="Sabina PETRASHOVA" userId="7d838aae-e6ab-4ec0-b04f-8f08a9482ebc" providerId="ADAL" clId="{C1847504-C51D-45E1-96BE-B0CE464851E6}" dt="2023-09-28T11:13:54.396" v="31711"/>
        <pc:sldMkLst>
          <pc:docMk/>
          <pc:sldMk cId="3775618047" sldId="2147471338"/>
        </pc:sldMkLst>
        <pc:spChg chg="mod">
          <ac:chgData name="Sabina PETRASHOVA" userId="7d838aae-e6ab-4ec0-b04f-8f08a9482ebc" providerId="ADAL" clId="{C1847504-C51D-45E1-96BE-B0CE464851E6}" dt="2023-09-27T07:49:39.955" v="29586" actId="108"/>
          <ac:spMkLst>
            <pc:docMk/>
            <pc:sldMk cId="3775618047" sldId="2147471338"/>
            <ac:spMk id="2" creationId="{B65939C1-95BF-7E85-6FAC-E8EC95FC2195}"/>
          </ac:spMkLst>
        </pc:spChg>
        <pc:spChg chg="mod">
          <ac:chgData name="Sabina PETRASHOVA" userId="7d838aae-e6ab-4ec0-b04f-8f08a9482ebc" providerId="ADAL" clId="{C1847504-C51D-45E1-96BE-B0CE464851E6}" dt="2023-09-27T07:49:24.188" v="29584" actId="108"/>
          <ac:spMkLst>
            <pc:docMk/>
            <pc:sldMk cId="3775618047" sldId="2147471338"/>
            <ac:spMk id="3" creationId="{6A4B4431-0B0F-60AC-8B65-DFC12BC14633}"/>
          </ac:spMkLst>
        </pc:spChg>
        <pc:spChg chg="del">
          <ac:chgData name="Sabina PETRASHOVA" userId="7d838aae-e6ab-4ec0-b04f-8f08a9482ebc" providerId="ADAL" clId="{C1847504-C51D-45E1-96BE-B0CE464851E6}" dt="2023-09-26T15:03:56.278" v="28856" actId="478"/>
          <ac:spMkLst>
            <pc:docMk/>
            <pc:sldMk cId="3775618047" sldId="2147471338"/>
            <ac:spMk id="4" creationId="{4AE1A105-2898-BA5A-3B25-87E86FB37126}"/>
          </ac:spMkLst>
        </pc:spChg>
        <pc:spChg chg="add mod">
          <ac:chgData name="Sabina PETRASHOVA" userId="7d838aae-e6ab-4ec0-b04f-8f08a9482ebc" providerId="ADAL" clId="{C1847504-C51D-45E1-96BE-B0CE464851E6}" dt="2023-09-28T08:55:40.009" v="30367" actId="1076"/>
          <ac:spMkLst>
            <pc:docMk/>
            <pc:sldMk cId="3775618047" sldId="2147471338"/>
            <ac:spMk id="4" creationId="{4EC93555-F3D3-69C4-B7F3-69DC1A25F6DD}"/>
          </ac:spMkLst>
        </pc:spChg>
        <pc:spChg chg="del mod">
          <ac:chgData name="Sabina PETRASHOVA" userId="7d838aae-e6ab-4ec0-b04f-8f08a9482ebc" providerId="ADAL" clId="{C1847504-C51D-45E1-96BE-B0CE464851E6}" dt="2023-09-25T11:47:45.135" v="22240" actId="478"/>
          <ac:spMkLst>
            <pc:docMk/>
            <pc:sldMk cId="3775618047" sldId="2147471338"/>
            <ac:spMk id="6" creationId="{2AFBB5F3-4E86-E40D-2DDB-4419089C4BBC}"/>
          </ac:spMkLst>
        </pc:spChg>
        <pc:spChg chg="add mod">
          <ac:chgData name="Sabina PETRASHOVA" userId="7d838aae-e6ab-4ec0-b04f-8f08a9482ebc" providerId="ADAL" clId="{C1847504-C51D-45E1-96BE-B0CE464851E6}" dt="2023-09-26T15:03:56.555" v="28857"/>
          <ac:spMkLst>
            <pc:docMk/>
            <pc:sldMk cId="3775618047" sldId="2147471338"/>
            <ac:spMk id="6" creationId="{580D59CD-7BD1-C273-3D3C-2AAD6982072F}"/>
          </ac:spMkLst>
        </pc:spChg>
        <pc:spChg chg="add mod">
          <ac:chgData name="Sabina PETRASHOVA" userId="7d838aae-e6ab-4ec0-b04f-8f08a9482ebc" providerId="ADAL" clId="{C1847504-C51D-45E1-96BE-B0CE464851E6}" dt="2023-09-28T08:42:31.007" v="30353" actId="1076"/>
          <ac:spMkLst>
            <pc:docMk/>
            <pc:sldMk cId="3775618047" sldId="2147471338"/>
            <ac:spMk id="12" creationId="{D56092B8-8569-53AC-FC0F-EF8F81222A7A}"/>
          </ac:spMkLst>
        </pc:spChg>
        <pc:graphicFrameChg chg="modGraphic">
          <ac:chgData name="Sabina PETRASHOVA" userId="7d838aae-e6ab-4ec0-b04f-8f08a9482ebc" providerId="ADAL" clId="{C1847504-C51D-45E1-96BE-B0CE464851E6}" dt="2023-09-27T07:48:47.649" v="29578" actId="12"/>
          <ac:graphicFrameMkLst>
            <pc:docMk/>
            <pc:sldMk cId="3775618047" sldId="2147471338"/>
            <ac:graphicFrameMk id="8" creationId="{A9FCA178-D444-0629-7A57-2C1E72C1EA7E}"/>
          </ac:graphicFrameMkLst>
        </pc:graphicFrameChg>
        <pc:picChg chg="del">
          <ac:chgData name="Sabina PETRASHOVA" userId="7d838aae-e6ab-4ec0-b04f-8f08a9482ebc" providerId="ADAL" clId="{C1847504-C51D-45E1-96BE-B0CE464851E6}" dt="2023-09-26T15:03:56.278" v="28856" actId="478"/>
          <ac:picMkLst>
            <pc:docMk/>
            <pc:sldMk cId="3775618047" sldId="2147471338"/>
            <ac:picMk id="5" creationId="{685B0B03-5794-2B51-8A20-874FA134BDD4}"/>
          </ac:picMkLst>
        </pc:picChg>
        <pc:picChg chg="add mod">
          <ac:chgData name="Sabina PETRASHOVA" userId="7d838aae-e6ab-4ec0-b04f-8f08a9482ebc" providerId="ADAL" clId="{C1847504-C51D-45E1-96BE-B0CE464851E6}" dt="2023-09-26T15:03:56.555" v="28857"/>
          <ac:picMkLst>
            <pc:docMk/>
            <pc:sldMk cId="3775618047" sldId="2147471338"/>
            <ac:picMk id="13" creationId="{E6DDA7F3-AD2C-D608-AF0C-098FCCC45D20}"/>
          </ac:picMkLst>
        </pc:picChg>
        <pc:picChg chg="mod">
          <ac:chgData name="Sabina PETRASHOVA" userId="7d838aae-e6ab-4ec0-b04f-8f08a9482ebc" providerId="ADAL" clId="{C1847504-C51D-45E1-96BE-B0CE464851E6}" dt="2023-09-25T11:48:54.587" v="22270" actId="1076"/>
          <ac:picMkLst>
            <pc:docMk/>
            <pc:sldMk cId="3775618047" sldId="2147471338"/>
            <ac:picMk id="1027" creationId="{ABB97CD2-864A-8FBC-1577-B17C0A795015}"/>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08:42:41.165" v="30355"/>
              <pc2:cmMkLst xmlns:pc2="http://schemas.microsoft.com/office/powerpoint/2019/9/main/command">
                <pc:docMk/>
                <pc:sldMk cId="3775618047" sldId="2147471338"/>
                <pc2:cmMk id="{4A201BC7-0692-46C4-A6A7-8318E2F609A3}"/>
              </pc2:cmMkLst>
            </pc226:cmChg>
            <pc226:cmChg xmlns:pc226="http://schemas.microsoft.com/office/powerpoint/2022/06/main/command" chg="mod modRxn">
              <pc226:chgData name="Sabina PETRASHOVA" userId="7d838aae-e6ab-4ec0-b04f-8f08a9482ebc" providerId="ADAL" clId="{C1847504-C51D-45E1-96BE-B0CE464851E6}" dt="2023-09-28T11:13:54.396" v="31711"/>
              <pc2:cmMkLst xmlns:pc2="http://schemas.microsoft.com/office/powerpoint/2019/9/main/command">
                <pc:docMk/>
                <pc:sldMk cId="3775618047" sldId="2147471338"/>
                <pc2:cmMk id="{CE5A9DD2-CE18-4A3B-B04E-64F46FCAEAB0}"/>
              </pc2:cmMkLst>
            </pc226:cmChg>
          </p:ext>
        </pc:extLst>
      </pc:sldChg>
      <pc:sldChg chg="addSp delSp modSp mod modCm">
        <pc:chgData name="Sabina PETRASHOVA" userId="7d838aae-e6ab-4ec0-b04f-8f08a9482ebc" providerId="ADAL" clId="{C1847504-C51D-45E1-96BE-B0CE464851E6}" dt="2023-09-29T07:43:04.043" v="39222"/>
        <pc:sldMkLst>
          <pc:docMk/>
          <pc:sldMk cId="3090397473" sldId="2147471339"/>
        </pc:sldMkLst>
        <pc:spChg chg="mod">
          <ac:chgData name="Sabina PETRASHOVA" userId="7d838aae-e6ab-4ec0-b04f-8f08a9482ebc" providerId="ADAL" clId="{C1847504-C51D-45E1-96BE-B0CE464851E6}" dt="2023-09-26T09:56:01.546" v="24861" actId="14100"/>
          <ac:spMkLst>
            <pc:docMk/>
            <pc:sldMk cId="3090397473" sldId="2147471339"/>
            <ac:spMk id="2" creationId="{1B110C3C-3342-0570-1254-DDF1D96A37B8}"/>
          </ac:spMkLst>
        </pc:spChg>
        <pc:spChg chg="del mod">
          <ac:chgData name="Sabina PETRASHOVA" userId="7d838aae-e6ab-4ec0-b04f-8f08a9482ebc" providerId="ADAL" clId="{C1847504-C51D-45E1-96BE-B0CE464851E6}" dt="2023-09-26T09:21:25.232" v="23793" actId="478"/>
          <ac:spMkLst>
            <pc:docMk/>
            <pc:sldMk cId="3090397473" sldId="2147471339"/>
            <ac:spMk id="3" creationId="{091B2D08-437C-5BD4-819C-1986E541FAAA}"/>
          </ac:spMkLst>
        </pc:spChg>
        <pc:spChg chg="add mod">
          <ac:chgData name="Sabina PETRASHOVA" userId="7d838aae-e6ab-4ec0-b04f-8f08a9482ebc" providerId="ADAL" clId="{C1847504-C51D-45E1-96BE-B0CE464851E6}" dt="2023-09-28T13:50:44.412" v="32520" actId="1076"/>
          <ac:spMkLst>
            <pc:docMk/>
            <pc:sldMk cId="3090397473" sldId="2147471339"/>
            <ac:spMk id="3" creationId="{6EFAEAE0-65F4-B014-5CE8-5FB8DADB9072}"/>
          </ac:spMkLst>
        </pc:spChg>
        <pc:spChg chg="del">
          <ac:chgData name="Sabina PETRASHOVA" userId="7d838aae-e6ab-4ec0-b04f-8f08a9482ebc" providerId="ADAL" clId="{C1847504-C51D-45E1-96BE-B0CE464851E6}" dt="2023-09-26T09:21:27.766" v="23794" actId="478"/>
          <ac:spMkLst>
            <pc:docMk/>
            <pc:sldMk cId="3090397473" sldId="2147471339"/>
            <ac:spMk id="4" creationId="{F4BADA42-14BB-C9C1-0E08-27A27E185E3F}"/>
          </ac:spMkLst>
        </pc:spChg>
        <pc:spChg chg="add mod">
          <ac:chgData name="Sabina PETRASHOVA" userId="7d838aae-e6ab-4ec0-b04f-8f08a9482ebc" providerId="ADAL" clId="{C1847504-C51D-45E1-96BE-B0CE464851E6}" dt="2023-09-28T08:08:50.742" v="30007" actId="108"/>
          <ac:spMkLst>
            <pc:docMk/>
            <pc:sldMk cId="3090397473" sldId="2147471339"/>
            <ac:spMk id="5" creationId="{BB931FD4-6A71-62EF-6C29-E83C37D84097}"/>
          </ac:spMkLst>
        </pc:spChg>
        <pc:spChg chg="mod">
          <ac:chgData name="Sabina PETRASHOVA" userId="7d838aae-e6ab-4ec0-b04f-8f08a9482ebc" providerId="ADAL" clId="{C1847504-C51D-45E1-96BE-B0CE464851E6}" dt="2023-09-26T09:56:01.546" v="24861" actId="14100"/>
          <ac:spMkLst>
            <pc:docMk/>
            <pc:sldMk cId="3090397473" sldId="2147471339"/>
            <ac:spMk id="6" creationId="{BD25AB70-AB40-3EBB-5889-13BA48C70DB7}"/>
          </ac:spMkLst>
        </pc:spChg>
        <pc:spChg chg="add del mod">
          <ac:chgData name="Sabina PETRASHOVA" userId="7d838aae-e6ab-4ec0-b04f-8f08a9482ebc" providerId="ADAL" clId="{C1847504-C51D-45E1-96BE-B0CE464851E6}" dt="2023-09-26T09:26:25.682" v="24008" actId="478"/>
          <ac:spMkLst>
            <pc:docMk/>
            <pc:sldMk cId="3090397473" sldId="2147471339"/>
            <ac:spMk id="8" creationId="{528BE958-F57A-7717-DA3C-3F9ADED53272}"/>
          </ac:spMkLst>
        </pc:spChg>
        <pc:spChg chg="add del mod ord">
          <ac:chgData name="Sabina PETRASHOVA" userId="7d838aae-e6ab-4ec0-b04f-8f08a9482ebc" providerId="ADAL" clId="{C1847504-C51D-45E1-96BE-B0CE464851E6}" dt="2023-09-28T08:09:21.698" v="30008" actId="478"/>
          <ac:spMkLst>
            <pc:docMk/>
            <pc:sldMk cId="3090397473" sldId="2147471339"/>
            <ac:spMk id="16" creationId="{25E58E7F-5DBD-0810-A032-B9EA7B1EE29A}"/>
          </ac:spMkLst>
        </pc:spChg>
        <pc:spChg chg="add del mod">
          <ac:chgData name="Sabina PETRASHOVA" userId="7d838aae-e6ab-4ec0-b04f-8f08a9482ebc" providerId="ADAL" clId="{C1847504-C51D-45E1-96BE-B0CE464851E6}" dt="2023-09-28T08:09:21.698" v="30008" actId="478"/>
          <ac:spMkLst>
            <pc:docMk/>
            <pc:sldMk cId="3090397473" sldId="2147471339"/>
            <ac:spMk id="17" creationId="{DC7AC455-97CD-B595-70B8-3B8F41C2765D}"/>
          </ac:spMkLst>
        </pc:spChg>
        <pc:spChg chg="add del mod">
          <ac:chgData name="Sabina PETRASHOVA" userId="7d838aae-e6ab-4ec0-b04f-8f08a9482ebc" providerId="ADAL" clId="{C1847504-C51D-45E1-96BE-B0CE464851E6}" dt="2023-09-26T09:39:01.672" v="24188" actId="478"/>
          <ac:spMkLst>
            <pc:docMk/>
            <pc:sldMk cId="3090397473" sldId="2147471339"/>
            <ac:spMk id="18" creationId="{EA1FD1AE-BF83-5682-7BAB-BAB68DE8459E}"/>
          </ac:spMkLst>
        </pc:spChg>
        <pc:spChg chg="add mod">
          <ac:chgData name="Sabina PETRASHOVA" userId="7d838aae-e6ab-4ec0-b04f-8f08a9482ebc" providerId="ADAL" clId="{C1847504-C51D-45E1-96BE-B0CE464851E6}" dt="2023-09-26T09:56:01.546" v="24861" actId="14100"/>
          <ac:spMkLst>
            <pc:docMk/>
            <pc:sldMk cId="3090397473" sldId="2147471339"/>
            <ac:spMk id="19" creationId="{B9DD1E93-4A34-4942-5C45-BB5B6922B3C1}"/>
          </ac:spMkLst>
        </pc:spChg>
        <pc:spChg chg="mod">
          <ac:chgData name="Sabina PETRASHOVA" userId="7d838aae-e6ab-4ec0-b04f-8f08a9482ebc" providerId="ADAL" clId="{C1847504-C51D-45E1-96BE-B0CE464851E6}" dt="2023-09-26T09:56:01.546" v="24861" actId="14100"/>
          <ac:spMkLst>
            <pc:docMk/>
            <pc:sldMk cId="3090397473" sldId="2147471339"/>
            <ac:spMk id="20" creationId="{C938247E-1309-9124-223D-EB92A5F7BC4D}"/>
          </ac:spMkLst>
        </pc:spChg>
        <pc:spChg chg="add mod">
          <ac:chgData name="Sabina PETRASHOVA" userId="7d838aae-e6ab-4ec0-b04f-8f08a9482ebc" providerId="ADAL" clId="{C1847504-C51D-45E1-96BE-B0CE464851E6}" dt="2023-09-26T11:56:47.687" v="26091" actId="14100"/>
          <ac:spMkLst>
            <pc:docMk/>
            <pc:sldMk cId="3090397473" sldId="2147471339"/>
            <ac:spMk id="21" creationId="{F4F6E9DD-FC08-0CBE-545F-FDE73AA1DC28}"/>
          </ac:spMkLst>
        </pc:spChg>
        <pc:spChg chg="add mod">
          <ac:chgData name="Sabina PETRASHOVA" userId="7d838aae-e6ab-4ec0-b04f-8f08a9482ebc" providerId="ADAL" clId="{C1847504-C51D-45E1-96BE-B0CE464851E6}" dt="2023-09-26T09:56:46.382" v="24867" actId="1076"/>
          <ac:spMkLst>
            <pc:docMk/>
            <pc:sldMk cId="3090397473" sldId="2147471339"/>
            <ac:spMk id="22" creationId="{1B52A75E-B596-B51E-B49F-659677EA4C4E}"/>
          </ac:spMkLst>
        </pc:spChg>
        <pc:spChg chg="add del mod">
          <ac:chgData name="Sabina PETRASHOVA" userId="7d838aae-e6ab-4ec0-b04f-8f08a9482ebc" providerId="ADAL" clId="{C1847504-C51D-45E1-96BE-B0CE464851E6}" dt="2023-09-28T08:09:21.698" v="30008" actId="478"/>
          <ac:spMkLst>
            <pc:docMk/>
            <pc:sldMk cId="3090397473" sldId="2147471339"/>
            <ac:spMk id="28" creationId="{B9276424-BF8A-A100-AFC7-9ABF72D6073A}"/>
          </ac:spMkLst>
        </pc:spChg>
        <pc:spChg chg="add mod">
          <ac:chgData name="Sabina PETRASHOVA" userId="7d838aae-e6ab-4ec0-b04f-8f08a9482ebc" providerId="ADAL" clId="{C1847504-C51D-45E1-96BE-B0CE464851E6}" dt="2023-09-26T09:56:46.382" v="24867" actId="1076"/>
          <ac:spMkLst>
            <pc:docMk/>
            <pc:sldMk cId="3090397473" sldId="2147471339"/>
            <ac:spMk id="29" creationId="{0B2C84AC-7DDB-27F3-1B0C-77D8C0A3B9B0}"/>
          </ac:spMkLst>
        </pc:spChg>
        <pc:spChg chg="add del mod">
          <ac:chgData name="Sabina PETRASHOVA" userId="7d838aae-e6ab-4ec0-b04f-8f08a9482ebc" providerId="ADAL" clId="{C1847504-C51D-45E1-96BE-B0CE464851E6}" dt="2023-09-26T09:50:42.601" v="24569" actId="478"/>
          <ac:spMkLst>
            <pc:docMk/>
            <pc:sldMk cId="3090397473" sldId="2147471339"/>
            <ac:spMk id="32" creationId="{103E325F-4161-5775-DC00-604473E1E944}"/>
          </ac:spMkLst>
        </pc:spChg>
        <pc:spChg chg="add mod">
          <ac:chgData name="Sabina PETRASHOVA" userId="7d838aae-e6ab-4ec0-b04f-8f08a9482ebc" providerId="ADAL" clId="{C1847504-C51D-45E1-96BE-B0CE464851E6}" dt="2023-09-28T13:53:29.696" v="32544" actId="1076"/>
          <ac:spMkLst>
            <pc:docMk/>
            <pc:sldMk cId="3090397473" sldId="2147471339"/>
            <ac:spMk id="47" creationId="{293465F5-EFE8-C258-FC4B-C306F3FD922D}"/>
          </ac:spMkLst>
        </pc:spChg>
        <pc:spChg chg="mod">
          <ac:chgData name="Sabina PETRASHOVA" userId="7d838aae-e6ab-4ec0-b04f-8f08a9482ebc" providerId="ADAL" clId="{C1847504-C51D-45E1-96BE-B0CE464851E6}" dt="2023-09-26T09:56:01.546" v="24861" actId="14100"/>
          <ac:spMkLst>
            <pc:docMk/>
            <pc:sldMk cId="3090397473" sldId="2147471339"/>
            <ac:spMk id="79" creationId="{9007893F-DE3F-4277-8B72-135CF4773651}"/>
          </ac:spMkLst>
        </pc:spChg>
        <pc:grpChg chg="add mod">
          <ac:chgData name="Sabina PETRASHOVA" userId="7d838aae-e6ab-4ec0-b04f-8f08a9482ebc" providerId="ADAL" clId="{C1847504-C51D-45E1-96BE-B0CE464851E6}" dt="2023-09-28T14:13:52.349" v="33059" actId="1076"/>
          <ac:grpSpMkLst>
            <pc:docMk/>
            <pc:sldMk cId="3090397473" sldId="2147471339"/>
            <ac:grpSpMk id="48" creationId="{8B406F2F-C8A1-C240-0866-34F5EB07C8E6}"/>
          </ac:grpSpMkLst>
        </pc:grpChg>
        <pc:picChg chg="mod">
          <ac:chgData name="Sabina PETRASHOVA" userId="7d838aae-e6ab-4ec0-b04f-8f08a9482ebc" providerId="ADAL" clId="{C1847504-C51D-45E1-96BE-B0CE464851E6}" dt="2023-09-26T09:56:01.546" v="24861" actId="14100"/>
          <ac:picMkLst>
            <pc:docMk/>
            <pc:sldMk cId="3090397473" sldId="2147471339"/>
            <ac:picMk id="7" creationId="{575B35DB-8D23-F24D-5E69-366DA045825E}"/>
          </ac:picMkLst>
        </pc:picChg>
        <pc:picChg chg="add del mod">
          <ac:chgData name="Sabina PETRASHOVA" userId="7d838aae-e6ab-4ec0-b04f-8f08a9482ebc" providerId="ADAL" clId="{C1847504-C51D-45E1-96BE-B0CE464851E6}" dt="2023-09-28T13:36:30.247" v="32416" actId="478"/>
          <ac:picMkLst>
            <pc:docMk/>
            <pc:sldMk cId="3090397473" sldId="2147471339"/>
            <ac:picMk id="8" creationId="{B26E6591-95C4-9C54-6BB6-158F96A36A28}"/>
          </ac:picMkLst>
        </pc:picChg>
        <pc:picChg chg="add del mod">
          <ac:chgData name="Sabina PETRASHOVA" userId="7d838aae-e6ab-4ec0-b04f-8f08a9482ebc" providerId="ADAL" clId="{C1847504-C51D-45E1-96BE-B0CE464851E6}" dt="2023-09-28T08:09:25.369" v="30010" actId="478"/>
          <ac:picMkLst>
            <pc:docMk/>
            <pc:sldMk cId="3090397473" sldId="2147471339"/>
            <ac:picMk id="10" creationId="{8D0284E0-4ADA-95E0-4437-7BBDC54CAB33}"/>
          </ac:picMkLst>
        </pc:picChg>
        <pc:picChg chg="add mod">
          <ac:chgData name="Sabina PETRASHOVA" userId="7d838aae-e6ab-4ec0-b04f-8f08a9482ebc" providerId="ADAL" clId="{C1847504-C51D-45E1-96BE-B0CE464851E6}" dt="2023-09-28T14:13:35.222" v="33057" actId="1037"/>
          <ac:picMkLst>
            <pc:docMk/>
            <pc:sldMk cId="3090397473" sldId="2147471339"/>
            <ac:picMk id="11" creationId="{FA48452F-96F8-D901-A86A-76903A6BA1CD}"/>
          </ac:picMkLst>
        </pc:picChg>
        <pc:picChg chg="add del mod">
          <ac:chgData name="Sabina PETRASHOVA" userId="7d838aae-e6ab-4ec0-b04f-8f08a9482ebc" providerId="ADAL" clId="{C1847504-C51D-45E1-96BE-B0CE464851E6}" dt="2023-09-26T09:36:32.387" v="24041" actId="478"/>
          <ac:picMkLst>
            <pc:docMk/>
            <pc:sldMk cId="3090397473" sldId="2147471339"/>
            <ac:picMk id="12" creationId="{FEA985E3-24DC-4F38-E783-248A478E8F8C}"/>
          </ac:picMkLst>
        </pc:picChg>
        <pc:picChg chg="add del mod">
          <ac:chgData name="Sabina PETRASHOVA" userId="7d838aae-e6ab-4ec0-b04f-8f08a9482ebc" providerId="ADAL" clId="{C1847504-C51D-45E1-96BE-B0CE464851E6}" dt="2023-09-28T13:38:22.925" v="32426" actId="478"/>
          <ac:picMkLst>
            <pc:docMk/>
            <pc:sldMk cId="3090397473" sldId="2147471339"/>
            <ac:picMk id="13" creationId="{1C778B65-6F25-65DB-6334-8ACA665588C2}"/>
          </ac:picMkLst>
        </pc:picChg>
        <pc:picChg chg="add del mod">
          <ac:chgData name="Sabina PETRASHOVA" userId="7d838aae-e6ab-4ec0-b04f-8f08a9482ebc" providerId="ADAL" clId="{C1847504-C51D-45E1-96BE-B0CE464851E6}" dt="2023-09-28T08:09:25.369" v="30010" actId="478"/>
          <ac:picMkLst>
            <pc:docMk/>
            <pc:sldMk cId="3090397473" sldId="2147471339"/>
            <ac:picMk id="14" creationId="{0439D22A-9516-F7D9-C4A7-8195FA5370E4}"/>
          </ac:picMkLst>
        </pc:picChg>
        <pc:picChg chg="add del mod">
          <ac:chgData name="Sabina PETRASHOVA" userId="7d838aae-e6ab-4ec0-b04f-8f08a9482ebc" providerId="ADAL" clId="{C1847504-C51D-45E1-96BE-B0CE464851E6}" dt="2023-09-28T08:09:25.369" v="30010" actId="478"/>
          <ac:picMkLst>
            <pc:docMk/>
            <pc:sldMk cId="3090397473" sldId="2147471339"/>
            <ac:picMk id="15" creationId="{B0CDDC45-4B58-027A-D333-A4DC5028B756}"/>
          </ac:picMkLst>
        </pc:picChg>
        <pc:picChg chg="add mod">
          <ac:chgData name="Sabina PETRASHOVA" userId="7d838aae-e6ab-4ec0-b04f-8f08a9482ebc" providerId="ADAL" clId="{C1847504-C51D-45E1-96BE-B0CE464851E6}" dt="2023-09-26T09:56:46.382" v="24867" actId="1076"/>
          <ac:picMkLst>
            <pc:docMk/>
            <pc:sldMk cId="3090397473" sldId="2147471339"/>
            <ac:picMk id="23" creationId="{0EDB92A2-D477-218F-9ED1-E526020A8869}"/>
          </ac:picMkLst>
        </pc:picChg>
        <pc:picChg chg="add mod">
          <ac:chgData name="Sabina PETRASHOVA" userId="7d838aae-e6ab-4ec0-b04f-8f08a9482ebc" providerId="ADAL" clId="{C1847504-C51D-45E1-96BE-B0CE464851E6}" dt="2023-09-26T13:05:07.448" v="26966" actId="1076"/>
          <ac:picMkLst>
            <pc:docMk/>
            <pc:sldMk cId="3090397473" sldId="2147471339"/>
            <ac:picMk id="24" creationId="{39D7332F-5845-F1E7-B03D-8CBDB05C7158}"/>
          </ac:picMkLst>
        </pc:picChg>
        <pc:picChg chg="add mod">
          <ac:chgData name="Sabina PETRASHOVA" userId="7d838aae-e6ab-4ec0-b04f-8f08a9482ebc" providerId="ADAL" clId="{C1847504-C51D-45E1-96BE-B0CE464851E6}" dt="2023-09-28T13:50:57.578" v="32522" actId="1076"/>
          <ac:picMkLst>
            <pc:docMk/>
            <pc:sldMk cId="3090397473" sldId="2147471339"/>
            <ac:picMk id="25" creationId="{69EA09F2-8F13-82F6-63A3-CAE0B52B51FF}"/>
          </ac:picMkLst>
        </pc:picChg>
        <pc:picChg chg="add mod">
          <ac:chgData name="Sabina PETRASHOVA" userId="7d838aae-e6ab-4ec0-b04f-8f08a9482ebc" providerId="ADAL" clId="{C1847504-C51D-45E1-96BE-B0CE464851E6}" dt="2023-09-26T13:05:07.448" v="26966" actId="1076"/>
          <ac:picMkLst>
            <pc:docMk/>
            <pc:sldMk cId="3090397473" sldId="2147471339"/>
            <ac:picMk id="26" creationId="{B9331BAF-1515-D83C-9CFA-A5C3C40E4D39}"/>
          </ac:picMkLst>
        </pc:picChg>
        <pc:picChg chg="add mod">
          <ac:chgData name="Sabina PETRASHOVA" userId="7d838aae-e6ab-4ec0-b04f-8f08a9482ebc" providerId="ADAL" clId="{C1847504-C51D-45E1-96BE-B0CE464851E6}" dt="2023-09-26T13:04:58.542" v="26936" actId="1076"/>
          <ac:picMkLst>
            <pc:docMk/>
            <pc:sldMk cId="3090397473" sldId="2147471339"/>
            <ac:picMk id="27" creationId="{118CB99F-3602-181A-FDDD-8B1A2C0C8198}"/>
          </ac:picMkLst>
        </pc:picChg>
        <pc:picChg chg="add mod">
          <ac:chgData name="Sabina PETRASHOVA" userId="7d838aae-e6ab-4ec0-b04f-8f08a9482ebc" providerId="ADAL" clId="{C1847504-C51D-45E1-96BE-B0CE464851E6}" dt="2023-09-26T09:56:46.382" v="24867" actId="1076"/>
          <ac:picMkLst>
            <pc:docMk/>
            <pc:sldMk cId="3090397473" sldId="2147471339"/>
            <ac:picMk id="30" creationId="{501DF349-D27E-BBA5-DD14-130A5A4134FC}"/>
          </ac:picMkLst>
        </pc:picChg>
        <pc:picChg chg="add del mod">
          <ac:chgData name="Sabina PETRASHOVA" userId="7d838aae-e6ab-4ec0-b04f-8f08a9482ebc" providerId="ADAL" clId="{C1847504-C51D-45E1-96BE-B0CE464851E6}" dt="2023-09-28T08:09:21.698" v="30008" actId="478"/>
          <ac:picMkLst>
            <pc:docMk/>
            <pc:sldMk cId="3090397473" sldId="2147471339"/>
            <ac:picMk id="31" creationId="{FC23EC82-B681-2388-BE4E-E4C3EA5C52F7}"/>
          </ac:picMkLst>
        </pc:picChg>
        <pc:picChg chg="add mod">
          <ac:chgData name="Sabina PETRASHOVA" userId="7d838aae-e6ab-4ec0-b04f-8f08a9482ebc" providerId="ADAL" clId="{C1847504-C51D-45E1-96BE-B0CE464851E6}" dt="2023-09-28T14:13:35.222" v="33057" actId="1037"/>
          <ac:picMkLst>
            <pc:docMk/>
            <pc:sldMk cId="3090397473" sldId="2147471339"/>
            <ac:picMk id="32" creationId="{FD51CA8B-5283-1FCD-A33D-86E9106525F6}"/>
          </ac:picMkLst>
        </pc:picChg>
        <pc:picChg chg="add del mod">
          <ac:chgData name="Sabina PETRASHOVA" userId="7d838aae-e6ab-4ec0-b04f-8f08a9482ebc" providerId="ADAL" clId="{C1847504-C51D-45E1-96BE-B0CE464851E6}" dt="2023-09-28T13:42:32.758" v="32430" actId="478"/>
          <ac:picMkLst>
            <pc:docMk/>
            <pc:sldMk cId="3090397473" sldId="2147471339"/>
            <ac:picMk id="34" creationId="{F37775AC-38CF-7088-6F68-0696374C8C94}"/>
          </ac:picMkLst>
        </pc:picChg>
        <pc:picChg chg="add mod">
          <ac:chgData name="Sabina PETRASHOVA" userId="7d838aae-e6ab-4ec0-b04f-8f08a9482ebc" providerId="ADAL" clId="{C1847504-C51D-45E1-96BE-B0CE464851E6}" dt="2023-09-28T14:13:35.222" v="33057" actId="1037"/>
          <ac:picMkLst>
            <pc:docMk/>
            <pc:sldMk cId="3090397473" sldId="2147471339"/>
            <ac:picMk id="36" creationId="{CD6B6A14-F766-0CB0-4DD6-192086E3A259}"/>
          </ac:picMkLst>
        </pc:picChg>
        <pc:picChg chg="add del mod">
          <ac:chgData name="Sabina PETRASHOVA" userId="7d838aae-e6ab-4ec0-b04f-8f08a9482ebc" providerId="ADAL" clId="{C1847504-C51D-45E1-96BE-B0CE464851E6}" dt="2023-09-28T13:44:47.866" v="32453" actId="478"/>
          <ac:picMkLst>
            <pc:docMk/>
            <pc:sldMk cId="3090397473" sldId="2147471339"/>
            <ac:picMk id="38" creationId="{D56EA47A-FA72-3C74-C429-329FFA65B21D}"/>
          </ac:picMkLst>
        </pc:picChg>
        <pc:picChg chg="add mod">
          <ac:chgData name="Sabina PETRASHOVA" userId="7d838aae-e6ab-4ec0-b04f-8f08a9482ebc" providerId="ADAL" clId="{C1847504-C51D-45E1-96BE-B0CE464851E6}" dt="2023-09-28T14:13:35.222" v="33057" actId="1037"/>
          <ac:picMkLst>
            <pc:docMk/>
            <pc:sldMk cId="3090397473" sldId="2147471339"/>
            <ac:picMk id="40" creationId="{4DAF9E58-E1F2-7BDA-5BF9-5CDA0756B0FC}"/>
          </ac:picMkLst>
        </pc:picChg>
        <pc:picChg chg="add mod">
          <ac:chgData name="Sabina PETRASHOVA" userId="7d838aae-e6ab-4ec0-b04f-8f08a9482ebc" providerId="ADAL" clId="{C1847504-C51D-45E1-96BE-B0CE464851E6}" dt="2023-09-28T14:13:35.222" v="33057" actId="1037"/>
          <ac:picMkLst>
            <pc:docMk/>
            <pc:sldMk cId="3090397473" sldId="2147471339"/>
            <ac:picMk id="42" creationId="{B49BF9E5-8860-F87A-5323-B269B0A78738}"/>
          </ac:picMkLst>
        </pc:picChg>
        <pc:picChg chg="add mod">
          <ac:chgData name="Sabina PETRASHOVA" userId="7d838aae-e6ab-4ec0-b04f-8f08a9482ebc" providerId="ADAL" clId="{C1847504-C51D-45E1-96BE-B0CE464851E6}" dt="2023-09-28T14:14:15.920" v="33062" actId="1076"/>
          <ac:picMkLst>
            <pc:docMk/>
            <pc:sldMk cId="3090397473" sldId="2147471339"/>
            <ac:picMk id="43" creationId="{10417E93-ACB8-F978-4FBC-BEFC65275F15}"/>
          </ac:picMkLst>
        </pc:picChg>
        <pc:picChg chg="add mod">
          <ac:chgData name="Sabina PETRASHOVA" userId="7d838aae-e6ab-4ec0-b04f-8f08a9482ebc" providerId="ADAL" clId="{C1847504-C51D-45E1-96BE-B0CE464851E6}" dt="2023-09-28T14:13:35.222" v="33057" actId="1037"/>
          <ac:picMkLst>
            <pc:docMk/>
            <pc:sldMk cId="3090397473" sldId="2147471339"/>
            <ac:picMk id="44" creationId="{9055B68F-D572-2DE4-794C-D97AF6FCFA9D}"/>
          </ac:picMkLst>
        </pc:picChg>
        <pc:picChg chg="add mod">
          <ac:chgData name="Sabina PETRASHOVA" userId="7d838aae-e6ab-4ec0-b04f-8f08a9482ebc" providerId="ADAL" clId="{C1847504-C51D-45E1-96BE-B0CE464851E6}" dt="2023-09-28T14:13:35.222" v="33057" actId="1037"/>
          <ac:picMkLst>
            <pc:docMk/>
            <pc:sldMk cId="3090397473" sldId="2147471339"/>
            <ac:picMk id="46" creationId="{02112ABD-C492-088D-4391-E754BA36870F}"/>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9T07:43:04.043" v="39222"/>
              <pc2:cmMkLst xmlns:pc2="http://schemas.microsoft.com/office/powerpoint/2019/9/main/command">
                <pc:docMk/>
                <pc:sldMk cId="3090397473" sldId="2147471339"/>
                <pc2:cmMk id="{81D5E428-3CD8-4297-9EF9-54F284DBDDD0}"/>
              </pc2:cmMkLst>
              <pc226:cmRplyChg chg="add">
                <pc226:chgData name="Sabina PETRASHOVA" userId="7d838aae-e6ab-4ec0-b04f-8f08a9482ebc" providerId="ADAL" clId="{C1847504-C51D-45E1-96BE-B0CE464851E6}" dt="2023-09-29T07:43:04.043" v="39222"/>
                <pc2:cmRplyMkLst xmlns:pc2="http://schemas.microsoft.com/office/powerpoint/2019/9/main/command">
                  <pc:docMk/>
                  <pc:sldMk cId="3090397473" sldId="2147471339"/>
                  <pc2:cmMk id="{81D5E428-3CD8-4297-9EF9-54F284DBDDD0}"/>
                  <pc2:cmRplyMk id="{BCDEE34A-1B14-427A-9883-E4C390139AE3}"/>
                </pc2:cmRplyMkLst>
              </pc226:cmRplyChg>
            </pc226:cmChg>
            <pc226:cmChg xmlns:pc226="http://schemas.microsoft.com/office/powerpoint/2022/06/main/command" chg="mod modRxn">
              <pc226:chgData name="Sabina PETRASHOVA" userId="7d838aae-e6ab-4ec0-b04f-8f08a9482ebc" providerId="ADAL" clId="{C1847504-C51D-45E1-96BE-B0CE464851E6}" dt="2023-09-28T09:21:06.881" v="30444"/>
              <pc2:cmMkLst xmlns:pc2="http://schemas.microsoft.com/office/powerpoint/2019/9/main/command">
                <pc:docMk/>
                <pc:sldMk cId="3090397473" sldId="2147471339"/>
                <pc2:cmMk id="{58B17DF4-F274-4B3B-BADC-CEBBDCA9D50C}"/>
              </pc2:cmMkLst>
            </pc226:cmChg>
          </p:ext>
        </pc:extLst>
      </pc:sldChg>
      <pc:sldChg chg="modSp mod modCm">
        <pc:chgData name="Sabina PETRASHOVA" userId="7d838aae-e6ab-4ec0-b04f-8f08a9482ebc" providerId="ADAL" clId="{C1847504-C51D-45E1-96BE-B0CE464851E6}" dt="2023-09-28T08:41:16.477" v="30339"/>
        <pc:sldMkLst>
          <pc:docMk/>
          <pc:sldMk cId="133291357" sldId="2147471340"/>
        </pc:sldMkLst>
        <pc:spChg chg="mod">
          <ac:chgData name="Sabina PETRASHOVA" userId="7d838aae-e6ab-4ec0-b04f-8f08a9482ebc" providerId="ADAL" clId="{C1847504-C51D-45E1-96BE-B0CE464851E6}" dt="2023-09-25T11:52:34.546" v="22278" actId="1076"/>
          <ac:spMkLst>
            <pc:docMk/>
            <pc:sldMk cId="133291357" sldId="2147471340"/>
            <ac:spMk id="2" creationId="{D1EE6376-4F6B-22F4-4FAE-12E8722AAE09}"/>
          </ac:spMkLst>
        </pc:spChg>
        <pc:spChg chg="mod">
          <ac:chgData name="Sabina PETRASHOVA" userId="7d838aae-e6ab-4ec0-b04f-8f08a9482ebc" providerId="ADAL" clId="{C1847504-C51D-45E1-96BE-B0CE464851E6}" dt="2023-09-25T11:50:58.573" v="22275" actId="1076"/>
          <ac:spMkLst>
            <pc:docMk/>
            <pc:sldMk cId="133291357" sldId="2147471340"/>
            <ac:spMk id="42" creationId="{C1966E60-9923-8926-9349-5D935F131371}"/>
          </ac:spMkLst>
        </pc:spChg>
        <pc:spChg chg="mod">
          <ac:chgData name="Sabina PETRASHOVA" userId="7d838aae-e6ab-4ec0-b04f-8f08a9482ebc" providerId="ADAL" clId="{C1847504-C51D-45E1-96BE-B0CE464851E6}" dt="2023-09-25T11:51:05.882" v="22276" actId="1076"/>
          <ac:spMkLst>
            <pc:docMk/>
            <pc:sldMk cId="133291357" sldId="2147471340"/>
            <ac:spMk id="43" creationId="{5C48A492-DDB2-15F7-4BF7-D2E8FFB3F004}"/>
          </ac:spMkLst>
        </pc:spChg>
        <pc:spChg chg="mod">
          <ac:chgData name="Sabina PETRASHOVA" userId="7d838aae-e6ab-4ec0-b04f-8f08a9482ebc" providerId="ADAL" clId="{C1847504-C51D-45E1-96BE-B0CE464851E6}" dt="2023-09-25T11:50:52.518" v="22273" actId="1076"/>
          <ac:spMkLst>
            <pc:docMk/>
            <pc:sldMk cId="133291357" sldId="2147471340"/>
            <ac:spMk id="45" creationId="{1EEDFF83-950D-E48F-3A50-EC8335D8C3DB}"/>
          </ac:spMkLst>
        </pc:spChg>
        <pc:picChg chg="mod">
          <ac:chgData name="Sabina PETRASHOVA" userId="7d838aae-e6ab-4ec0-b04f-8f08a9482ebc" providerId="ADAL" clId="{C1847504-C51D-45E1-96BE-B0CE464851E6}" dt="2023-09-25T11:50:58.573" v="22275" actId="1076"/>
          <ac:picMkLst>
            <pc:docMk/>
            <pc:sldMk cId="133291357" sldId="2147471340"/>
            <ac:picMk id="44" creationId="{7E4C4D0B-313F-255E-500D-4628B49A6967}"/>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08:41:16.477" v="30339"/>
              <pc2:cmMkLst xmlns:pc2="http://schemas.microsoft.com/office/powerpoint/2019/9/main/command">
                <pc:docMk/>
                <pc:sldMk cId="133291357" sldId="2147471340"/>
                <pc2:cmMk id="{C66D2EB5-DBD1-46FA-BFCB-0A9F3800A3D3}"/>
              </pc2:cmMkLst>
            </pc226:cmChg>
          </p:ext>
        </pc:extLst>
      </pc:sldChg>
      <pc:sldChg chg="modSp mod modCm">
        <pc:chgData name="Sabina PETRASHOVA" userId="7d838aae-e6ab-4ec0-b04f-8f08a9482ebc" providerId="ADAL" clId="{C1847504-C51D-45E1-96BE-B0CE464851E6}" dt="2023-09-28T09:01:46.992" v="30369"/>
        <pc:sldMkLst>
          <pc:docMk/>
          <pc:sldMk cId="2162707723" sldId="2147471341"/>
        </pc:sldMkLst>
        <pc:spChg chg="mod">
          <ac:chgData name="Sabina PETRASHOVA" userId="7d838aae-e6ab-4ec0-b04f-8f08a9482ebc" providerId="ADAL" clId="{C1847504-C51D-45E1-96BE-B0CE464851E6}" dt="2023-09-28T08:03:14.253" v="29825" actId="313"/>
          <ac:spMkLst>
            <pc:docMk/>
            <pc:sldMk cId="2162707723" sldId="2147471341"/>
            <ac:spMk id="2" creationId="{D1EE6376-4F6B-22F4-4FAE-12E8722AAE09}"/>
          </ac:spMkLst>
        </pc:spChg>
        <pc:spChg chg="mod">
          <ac:chgData name="Sabina PETRASHOVA" userId="7d838aae-e6ab-4ec0-b04f-8f08a9482ebc" providerId="ADAL" clId="{C1847504-C51D-45E1-96BE-B0CE464851E6}" dt="2023-09-25T11:50:35.227" v="22271" actId="108"/>
          <ac:spMkLst>
            <pc:docMk/>
            <pc:sldMk cId="2162707723" sldId="2147471341"/>
            <ac:spMk id="37" creationId="{C716353E-43BB-682A-73E0-5F444E59F4B4}"/>
          </ac:spMkLst>
        </pc:spChg>
        <pc:spChg chg="mod">
          <ac:chgData name="Sabina PETRASHOVA" userId="7d838aae-e6ab-4ec0-b04f-8f08a9482ebc" providerId="ADAL" clId="{C1847504-C51D-45E1-96BE-B0CE464851E6}" dt="2023-09-25T11:53:57.633" v="22281" actId="108"/>
          <ac:spMkLst>
            <pc:docMk/>
            <pc:sldMk cId="2162707723" sldId="2147471341"/>
            <ac:spMk id="41" creationId="{B34F7715-4E58-245D-3A28-21CCB673C293}"/>
          </ac:spMkLst>
        </pc:spChg>
        <pc:spChg chg="mod">
          <ac:chgData name="Sabina PETRASHOVA" userId="7d838aae-e6ab-4ec0-b04f-8f08a9482ebc" providerId="ADAL" clId="{C1847504-C51D-45E1-96BE-B0CE464851E6}" dt="2023-09-25T11:52:21.441" v="22277" actId="108"/>
          <ac:spMkLst>
            <pc:docMk/>
            <pc:sldMk cId="2162707723" sldId="2147471341"/>
            <ac:spMk id="46" creationId="{8C15BC74-F783-417F-BD0F-352DA5128998}"/>
          </ac:spMkLst>
        </pc:spChg>
        <pc:spChg chg="mod">
          <ac:chgData name="Sabina PETRASHOVA" userId="7d838aae-e6ab-4ec0-b04f-8f08a9482ebc" providerId="ADAL" clId="{C1847504-C51D-45E1-96BE-B0CE464851E6}" dt="2023-09-28T08:03:44.937" v="29850" actId="20577"/>
          <ac:spMkLst>
            <pc:docMk/>
            <pc:sldMk cId="2162707723" sldId="2147471341"/>
            <ac:spMk id="79" creationId="{9007893F-DE3F-4277-8B72-135CF4773651}"/>
          </ac:spMkLst>
        </pc:spChg>
        <pc:picChg chg="mod">
          <ac:chgData name="Sabina PETRASHOVA" userId="7d838aae-e6ab-4ec0-b04f-8f08a9482ebc" providerId="ADAL" clId="{C1847504-C51D-45E1-96BE-B0CE464851E6}" dt="2023-09-25T11:56:22.084" v="22282"/>
          <ac:picMkLst>
            <pc:docMk/>
            <pc:sldMk cId="2162707723" sldId="2147471341"/>
            <ac:picMk id="40" creationId="{12CC8892-4D86-82C7-E442-DC2D7BACD8A6}"/>
          </ac:picMkLst>
        </pc:picChg>
        <pc:picChg chg="mod">
          <ac:chgData name="Sabina PETRASHOVA" userId="7d838aae-e6ab-4ec0-b04f-8f08a9482ebc" providerId="ADAL" clId="{C1847504-C51D-45E1-96BE-B0CE464851E6}" dt="2023-09-25T11:56:27.589" v="22283"/>
          <ac:picMkLst>
            <pc:docMk/>
            <pc:sldMk cId="2162707723" sldId="2147471341"/>
            <ac:picMk id="49" creationId="{ED73C1F1-6D29-07FE-E7A5-F1EC2117A0C7}"/>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8T09:01:46.992" v="30369"/>
              <pc2:cmMkLst xmlns:pc2="http://schemas.microsoft.com/office/powerpoint/2019/9/main/command">
                <pc:docMk/>
                <pc:sldMk cId="2162707723" sldId="2147471341"/>
                <pc2:cmMk id="{7E5075A2-A830-4B47-83CC-E301C3F0102D}"/>
              </pc2:cmMkLst>
            </pc226:cmChg>
          </p:ext>
        </pc:extLst>
      </pc:sldChg>
      <pc:sldChg chg="modSp mod modCm">
        <pc:chgData name="Sabina PETRASHOVA" userId="7d838aae-e6ab-4ec0-b04f-8f08a9482ebc" providerId="ADAL" clId="{C1847504-C51D-45E1-96BE-B0CE464851E6}" dt="2023-09-29T06:01:41.623" v="35732" actId="20577"/>
        <pc:sldMkLst>
          <pc:docMk/>
          <pc:sldMk cId="1425240722" sldId="2147471342"/>
        </pc:sldMkLst>
        <pc:spChg chg="mod">
          <ac:chgData name="Sabina PETRASHOVA" userId="7d838aae-e6ab-4ec0-b04f-8f08a9482ebc" providerId="ADAL" clId="{C1847504-C51D-45E1-96BE-B0CE464851E6}" dt="2023-09-28T08:12:07.083" v="30211" actId="20577"/>
          <ac:spMkLst>
            <pc:docMk/>
            <pc:sldMk cId="1425240722" sldId="2147471342"/>
            <ac:spMk id="2" creationId="{D1EE6376-4F6B-22F4-4FAE-12E8722AAE09}"/>
          </ac:spMkLst>
        </pc:spChg>
        <pc:spChg chg="mod">
          <ac:chgData name="Sabina PETRASHOVA" userId="7d838aae-e6ab-4ec0-b04f-8f08a9482ebc" providerId="ADAL" clId="{C1847504-C51D-45E1-96BE-B0CE464851E6}" dt="2023-09-25T13:42:11.793" v="22362" actId="108"/>
          <ac:spMkLst>
            <pc:docMk/>
            <pc:sldMk cId="1425240722" sldId="2147471342"/>
            <ac:spMk id="37" creationId="{C716353E-43BB-682A-73E0-5F444E59F4B4}"/>
          </ac:spMkLst>
        </pc:spChg>
        <pc:spChg chg="mod">
          <ac:chgData name="Sabina PETRASHOVA" userId="7d838aae-e6ab-4ec0-b04f-8f08a9482ebc" providerId="ADAL" clId="{C1847504-C51D-45E1-96BE-B0CE464851E6}" dt="2023-09-25T13:42:29.807" v="22363" actId="108"/>
          <ac:spMkLst>
            <pc:docMk/>
            <pc:sldMk cId="1425240722" sldId="2147471342"/>
            <ac:spMk id="42" creationId="{C1966E60-9923-8926-9349-5D935F131371}"/>
          </ac:spMkLst>
        </pc:spChg>
        <pc:spChg chg="mod">
          <ac:chgData name="Sabina PETRASHOVA" userId="7d838aae-e6ab-4ec0-b04f-8f08a9482ebc" providerId="ADAL" clId="{C1847504-C51D-45E1-96BE-B0CE464851E6}" dt="2023-09-25T13:41:54.740" v="22361" actId="108"/>
          <ac:spMkLst>
            <pc:docMk/>
            <pc:sldMk cId="1425240722" sldId="2147471342"/>
            <ac:spMk id="46" creationId="{8C15BC74-F783-417F-BD0F-352DA5128998}"/>
          </ac:spMkLst>
        </pc:spChg>
        <pc:spChg chg="mod">
          <ac:chgData name="Sabina PETRASHOVA" userId="7d838aae-e6ab-4ec0-b04f-8f08a9482ebc" providerId="ADAL" clId="{C1847504-C51D-45E1-96BE-B0CE464851E6}" dt="2023-09-29T06:01:41.623" v="35732" actId="20577"/>
          <ac:spMkLst>
            <pc:docMk/>
            <pc:sldMk cId="1425240722" sldId="2147471342"/>
            <ac:spMk id="79" creationId="{9007893F-DE3F-4277-8B72-135CF4773651}"/>
          </ac:spMkLst>
        </pc:spChg>
        <pc:picChg chg="mod">
          <ac:chgData name="Sabina PETRASHOVA" userId="7d838aae-e6ab-4ec0-b04f-8f08a9482ebc" providerId="ADAL" clId="{C1847504-C51D-45E1-96BE-B0CE464851E6}" dt="2023-09-25T13:43:10.160" v="22368" actId="1076"/>
          <ac:picMkLst>
            <pc:docMk/>
            <pc:sldMk cId="1425240722" sldId="2147471342"/>
            <ac:picMk id="40" creationId="{12CC8892-4D86-82C7-E442-DC2D7BACD8A6}"/>
          </ac:picMkLst>
        </pc:picChg>
        <pc:picChg chg="mod">
          <ac:chgData name="Sabina PETRASHOVA" userId="7d838aae-e6ab-4ec0-b04f-8f08a9482ebc" providerId="ADAL" clId="{C1847504-C51D-45E1-96BE-B0CE464851E6}" dt="2023-09-25T13:44:41.580" v="22373"/>
          <ac:picMkLst>
            <pc:docMk/>
            <pc:sldMk cId="1425240722" sldId="2147471342"/>
            <ac:picMk id="49" creationId="{ED73C1F1-6D29-07FE-E7A5-F1EC2117A0C7}"/>
          </ac:picMkLst>
        </pc:picChg>
        <pc:extLst>
          <p:ext xmlns:p="http://schemas.openxmlformats.org/presentationml/2006/main" uri="{D6D511B9-2390-475A-947B-AFAB55BFBCF1}">
            <pc226:cmChg xmlns:pc226="http://schemas.microsoft.com/office/powerpoint/2022/06/main/command" chg="mod modRxn">
              <pc226:chgData name="Sabina PETRASHOVA" userId="7d838aae-e6ab-4ec0-b04f-8f08a9482ebc" providerId="ADAL" clId="{C1847504-C51D-45E1-96BE-B0CE464851E6}" dt="2023-09-29T06:01:41.623" v="35732" actId="20577"/>
              <pc2:cmMkLst xmlns:pc2="http://schemas.microsoft.com/office/powerpoint/2019/9/main/command">
                <pc:docMk/>
                <pc:sldMk cId="1425240722" sldId="2147471342"/>
                <pc2:cmMk id="{0DB2391C-234D-486D-9812-8DE728F7E2B0}"/>
              </pc2:cmMkLst>
            </pc226:cmChg>
          </p:ext>
        </pc:extLst>
      </pc:sldChg>
      <pc:sldChg chg="addSp modSp">
        <pc:chgData name="Sabina PETRASHOVA" userId="7d838aae-e6ab-4ec0-b04f-8f08a9482ebc" providerId="ADAL" clId="{C1847504-C51D-45E1-96BE-B0CE464851E6}" dt="2023-09-28T13:12:23.851" v="32131"/>
        <pc:sldMkLst>
          <pc:docMk/>
          <pc:sldMk cId="3452008232" sldId="2147471343"/>
        </pc:sldMkLst>
        <pc:spChg chg="add mod">
          <ac:chgData name="Sabina PETRASHOVA" userId="7d838aae-e6ab-4ec0-b04f-8f08a9482ebc" providerId="ADAL" clId="{C1847504-C51D-45E1-96BE-B0CE464851E6}" dt="2023-09-28T13:12:23.851" v="32131"/>
          <ac:spMkLst>
            <pc:docMk/>
            <pc:sldMk cId="3452008232" sldId="2147471343"/>
            <ac:spMk id="5" creationId="{FD812B13-CB25-8520-5B55-6D7C462F110C}"/>
          </ac:spMkLst>
        </pc:spChg>
        <pc:picChg chg="add mod">
          <ac:chgData name="Sabina PETRASHOVA" userId="7d838aae-e6ab-4ec0-b04f-8f08a9482ebc" providerId="ADAL" clId="{C1847504-C51D-45E1-96BE-B0CE464851E6}" dt="2023-09-28T13:12:23.851" v="32131"/>
          <ac:picMkLst>
            <pc:docMk/>
            <pc:sldMk cId="3452008232" sldId="2147471343"/>
            <ac:picMk id="6" creationId="{02243898-C0C5-A583-46F1-F463CD17D37C}"/>
          </ac:picMkLst>
        </pc:picChg>
      </pc:sldChg>
      <pc:sldChg chg="addSp delSp modSp add del mod">
        <pc:chgData name="Sabina PETRASHOVA" userId="7d838aae-e6ab-4ec0-b04f-8f08a9482ebc" providerId="ADAL" clId="{C1847504-C51D-45E1-96BE-B0CE464851E6}" dt="2023-09-28T08:10:42.104" v="30012" actId="2696"/>
        <pc:sldMkLst>
          <pc:docMk/>
          <pc:sldMk cId="2389600970" sldId="2147471344"/>
        </pc:sldMkLst>
        <pc:spChg chg="mod">
          <ac:chgData name="Sabina PETRASHOVA" userId="7d838aae-e6ab-4ec0-b04f-8f08a9482ebc" providerId="ADAL" clId="{C1847504-C51D-45E1-96BE-B0CE464851E6}" dt="2023-09-26T15:38:16.679" v="29506" actId="20577"/>
          <ac:spMkLst>
            <pc:docMk/>
            <pc:sldMk cId="2389600970" sldId="2147471344"/>
            <ac:spMk id="2" creationId="{86E96E2E-3416-B7AF-69BC-1F4BC5A5D72A}"/>
          </ac:spMkLst>
        </pc:spChg>
        <pc:spChg chg="del">
          <ac:chgData name="Sabina PETRASHOVA" userId="7d838aae-e6ab-4ec0-b04f-8f08a9482ebc" providerId="ADAL" clId="{C1847504-C51D-45E1-96BE-B0CE464851E6}" dt="2023-09-26T15:10:52.979" v="28864" actId="478"/>
          <ac:spMkLst>
            <pc:docMk/>
            <pc:sldMk cId="2389600970" sldId="2147471344"/>
            <ac:spMk id="5" creationId="{9C59E851-A200-52E0-F3F7-0C249C4F6283}"/>
          </ac:spMkLst>
        </pc:spChg>
        <pc:spChg chg="del">
          <ac:chgData name="Sabina PETRASHOVA" userId="7d838aae-e6ab-4ec0-b04f-8f08a9482ebc" providerId="ADAL" clId="{C1847504-C51D-45E1-96BE-B0CE464851E6}" dt="2023-09-26T14:39:18.336" v="28746" actId="478"/>
          <ac:spMkLst>
            <pc:docMk/>
            <pc:sldMk cId="2389600970" sldId="2147471344"/>
            <ac:spMk id="7" creationId="{A080FF84-2F40-9EF8-7A5C-73985C4D81A5}"/>
          </ac:spMkLst>
        </pc:spChg>
        <pc:spChg chg="add mod">
          <ac:chgData name="Sabina PETRASHOVA" userId="7d838aae-e6ab-4ec0-b04f-8f08a9482ebc" providerId="ADAL" clId="{C1847504-C51D-45E1-96BE-B0CE464851E6}" dt="2023-09-26T15:10:53.292" v="28865"/>
          <ac:spMkLst>
            <pc:docMk/>
            <pc:sldMk cId="2389600970" sldId="2147471344"/>
            <ac:spMk id="7" creationId="{ECCF6813-2F7B-9E9C-91B2-D4222231DF19}"/>
          </ac:spMkLst>
        </pc:spChg>
        <pc:spChg chg="del">
          <ac:chgData name="Sabina PETRASHOVA" userId="7d838aae-e6ab-4ec0-b04f-8f08a9482ebc" providerId="ADAL" clId="{C1847504-C51D-45E1-96BE-B0CE464851E6}" dt="2023-09-26T14:39:18.336" v="28746" actId="478"/>
          <ac:spMkLst>
            <pc:docMk/>
            <pc:sldMk cId="2389600970" sldId="2147471344"/>
            <ac:spMk id="8" creationId="{A2A9DAD0-E6F1-7E0B-FE63-397FFAA7AC16}"/>
          </ac:spMkLst>
        </pc:spChg>
        <pc:spChg chg="del">
          <ac:chgData name="Sabina PETRASHOVA" userId="7d838aae-e6ab-4ec0-b04f-8f08a9482ebc" providerId="ADAL" clId="{C1847504-C51D-45E1-96BE-B0CE464851E6}" dt="2023-09-26T14:39:14.254" v="28745" actId="478"/>
          <ac:spMkLst>
            <pc:docMk/>
            <pc:sldMk cId="2389600970" sldId="2147471344"/>
            <ac:spMk id="9" creationId="{8B82EE82-1B00-94DA-942E-DD1FD4FEB7F5}"/>
          </ac:spMkLst>
        </pc:spChg>
        <pc:graphicFrameChg chg="del">
          <ac:chgData name="Sabina PETRASHOVA" userId="7d838aae-e6ab-4ec0-b04f-8f08a9482ebc" providerId="ADAL" clId="{C1847504-C51D-45E1-96BE-B0CE464851E6}" dt="2023-09-26T14:39:18.336" v="28746" actId="478"/>
          <ac:graphicFrameMkLst>
            <pc:docMk/>
            <pc:sldMk cId="2389600970" sldId="2147471344"/>
            <ac:graphicFrameMk id="11" creationId="{30717E25-03CB-437E-249D-6F99111B9FA4}"/>
          </ac:graphicFrameMkLst>
        </pc:graphicFrameChg>
        <pc:graphicFrameChg chg="del">
          <ac:chgData name="Sabina PETRASHOVA" userId="7d838aae-e6ab-4ec0-b04f-8f08a9482ebc" providerId="ADAL" clId="{C1847504-C51D-45E1-96BE-B0CE464851E6}" dt="2023-09-26T14:39:18.336" v="28746" actId="478"/>
          <ac:graphicFrameMkLst>
            <pc:docMk/>
            <pc:sldMk cId="2389600970" sldId="2147471344"/>
            <ac:graphicFrameMk id="18" creationId="{554873E0-1956-B293-B516-1D252C996C8C}"/>
          </ac:graphicFrameMkLst>
        </pc:graphicFrameChg>
        <pc:graphicFrameChg chg="del">
          <ac:chgData name="Sabina PETRASHOVA" userId="7d838aae-e6ab-4ec0-b04f-8f08a9482ebc" providerId="ADAL" clId="{C1847504-C51D-45E1-96BE-B0CE464851E6}" dt="2023-09-26T14:39:18.336" v="28746" actId="478"/>
          <ac:graphicFrameMkLst>
            <pc:docMk/>
            <pc:sldMk cId="2389600970" sldId="2147471344"/>
            <ac:graphicFrameMk id="19" creationId="{28818E17-57D2-AD36-7486-F4C9041136C8}"/>
          </ac:graphicFrameMkLst>
        </pc:graphicFrameChg>
        <pc:picChg chg="del">
          <ac:chgData name="Sabina PETRASHOVA" userId="7d838aae-e6ab-4ec0-b04f-8f08a9482ebc" providerId="ADAL" clId="{C1847504-C51D-45E1-96BE-B0CE464851E6}" dt="2023-09-26T15:10:52.979" v="28864" actId="478"/>
          <ac:picMkLst>
            <pc:docMk/>
            <pc:sldMk cId="2389600970" sldId="2147471344"/>
            <ac:picMk id="6" creationId="{3CFE2274-90EC-9963-F381-80B143E797D5}"/>
          </ac:picMkLst>
        </pc:picChg>
        <pc:picChg chg="add mod">
          <ac:chgData name="Sabina PETRASHOVA" userId="7d838aae-e6ab-4ec0-b04f-8f08a9482ebc" providerId="ADAL" clId="{C1847504-C51D-45E1-96BE-B0CE464851E6}" dt="2023-09-26T15:10:53.292" v="28865"/>
          <ac:picMkLst>
            <pc:docMk/>
            <pc:sldMk cId="2389600970" sldId="2147471344"/>
            <ac:picMk id="8" creationId="{DB1422EE-47B3-7732-6F62-082A1BD7DD93}"/>
          </ac:picMkLst>
        </pc:picChg>
      </pc:sldChg>
      <pc:sldChg chg="addSp modSp new mod">
        <pc:chgData name="Sabina PETRASHOVA" userId="7d838aae-e6ab-4ec0-b04f-8f08a9482ebc" providerId="ADAL" clId="{C1847504-C51D-45E1-96BE-B0CE464851E6}" dt="2023-09-28T11:06:26.771" v="31474" actId="404"/>
        <pc:sldMkLst>
          <pc:docMk/>
          <pc:sldMk cId="3890265312" sldId="2147471344"/>
        </pc:sldMkLst>
        <pc:spChg chg="mod">
          <ac:chgData name="Sabina PETRASHOVA" userId="7d838aae-e6ab-4ec0-b04f-8f08a9482ebc" providerId="ADAL" clId="{C1847504-C51D-45E1-96BE-B0CE464851E6}" dt="2023-09-28T11:06:26.771" v="31474" actId="404"/>
          <ac:spMkLst>
            <pc:docMk/>
            <pc:sldMk cId="3890265312" sldId="2147471344"/>
            <ac:spMk id="2" creationId="{98A73CE2-A5CA-4AD5-CA1E-6A7FCB3533A0}"/>
          </ac:spMkLst>
        </pc:spChg>
        <pc:spChg chg="add mod">
          <ac:chgData name="Sabina PETRASHOVA" userId="7d838aae-e6ab-4ec0-b04f-8f08a9482ebc" providerId="ADAL" clId="{C1847504-C51D-45E1-96BE-B0CE464851E6}" dt="2023-09-28T09:23:06.522" v="30495" actId="12788"/>
          <ac:spMkLst>
            <pc:docMk/>
            <pc:sldMk cId="3890265312" sldId="2147471344"/>
            <ac:spMk id="6" creationId="{7DDEC043-D9F2-7829-6CC3-3977DBEC8976}"/>
          </ac:spMkLst>
        </pc:spChg>
        <pc:spChg chg="add mod">
          <ac:chgData name="Sabina PETRASHOVA" userId="7d838aae-e6ab-4ec0-b04f-8f08a9482ebc" providerId="ADAL" clId="{C1847504-C51D-45E1-96BE-B0CE464851E6}" dt="2023-09-28T09:23:06.522" v="30495" actId="12788"/>
          <ac:spMkLst>
            <pc:docMk/>
            <pc:sldMk cId="3890265312" sldId="2147471344"/>
            <ac:spMk id="7" creationId="{53B4307C-27B6-CFB2-99CE-BD6CCFB8BBD6}"/>
          </ac:spMkLst>
        </pc:spChg>
        <pc:spChg chg="add mod">
          <ac:chgData name="Sabina PETRASHOVA" userId="7d838aae-e6ab-4ec0-b04f-8f08a9482ebc" providerId="ADAL" clId="{C1847504-C51D-45E1-96BE-B0CE464851E6}" dt="2023-09-28T09:23:06.522" v="30495" actId="12788"/>
          <ac:spMkLst>
            <pc:docMk/>
            <pc:sldMk cId="3890265312" sldId="2147471344"/>
            <ac:spMk id="8" creationId="{861D10C9-8B80-2DD9-AC32-6286F6514B73}"/>
          </ac:spMkLst>
        </pc:spChg>
        <pc:spChg chg="add mod">
          <ac:chgData name="Sabina PETRASHOVA" userId="7d838aae-e6ab-4ec0-b04f-8f08a9482ebc" providerId="ADAL" clId="{C1847504-C51D-45E1-96BE-B0CE464851E6}" dt="2023-09-28T09:23:06.522" v="30495" actId="12788"/>
          <ac:spMkLst>
            <pc:docMk/>
            <pc:sldMk cId="3890265312" sldId="2147471344"/>
            <ac:spMk id="9" creationId="{67A23027-D12D-3B79-F28E-BFF00CE59A85}"/>
          </ac:spMkLst>
        </pc:spChg>
        <pc:spChg chg="add mod">
          <ac:chgData name="Sabina PETRASHOVA" userId="7d838aae-e6ab-4ec0-b04f-8f08a9482ebc" providerId="ADAL" clId="{C1847504-C51D-45E1-96BE-B0CE464851E6}" dt="2023-09-28T09:23:06.522" v="30495" actId="12788"/>
          <ac:spMkLst>
            <pc:docMk/>
            <pc:sldMk cId="3890265312" sldId="2147471344"/>
            <ac:spMk id="12" creationId="{5E6C96A3-0E0B-8E90-37E1-00C252A2BDE9}"/>
          </ac:spMkLst>
        </pc:spChg>
        <pc:spChg chg="add mod">
          <ac:chgData name="Sabina PETRASHOVA" userId="7d838aae-e6ab-4ec0-b04f-8f08a9482ebc" providerId="ADAL" clId="{C1847504-C51D-45E1-96BE-B0CE464851E6}" dt="2023-09-28T09:23:06.522" v="30495" actId="12788"/>
          <ac:spMkLst>
            <pc:docMk/>
            <pc:sldMk cId="3890265312" sldId="2147471344"/>
            <ac:spMk id="13" creationId="{09C42DC4-1E6B-EA28-F2BD-6B165D765EAE}"/>
          </ac:spMkLst>
        </pc:spChg>
        <pc:spChg chg="add mod">
          <ac:chgData name="Sabina PETRASHOVA" userId="7d838aae-e6ab-4ec0-b04f-8f08a9482ebc" providerId="ADAL" clId="{C1847504-C51D-45E1-96BE-B0CE464851E6}" dt="2023-09-28T09:23:06.522" v="30495" actId="12788"/>
          <ac:spMkLst>
            <pc:docMk/>
            <pc:sldMk cId="3890265312" sldId="2147471344"/>
            <ac:spMk id="16" creationId="{1E0C6B58-9971-88D8-D120-EC094EDD7B58}"/>
          </ac:spMkLst>
        </pc:spChg>
        <pc:spChg chg="add mod">
          <ac:chgData name="Sabina PETRASHOVA" userId="7d838aae-e6ab-4ec0-b04f-8f08a9482ebc" providerId="ADAL" clId="{C1847504-C51D-45E1-96BE-B0CE464851E6}" dt="2023-09-28T09:23:06.522" v="30495" actId="12788"/>
          <ac:spMkLst>
            <pc:docMk/>
            <pc:sldMk cId="3890265312" sldId="2147471344"/>
            <ac:spMk id="18" creationId="{B7474CDE-DB08-D7DD-D891-C8586C543819}"/>
          </ac:spMkLst>
        </pc:spChg>
        <pc:spChg chg="add mod">
          <ac:chgData name="Sabina PETRASHOVA" userId="7d838aae-e6ab-4ec0-b04f-8f08a9482ebc" providerId="ADAL" clId="{C1847504-C51D-45E1-96BE-B0CE464851E6}" dt="2023-09-28T09:23:06.522" v="30495" actId="12788"/>
          <ac:spMkLst>
            <pc:docMk/>
            <pc:sldMk cId="3890265312" sldId="2147471344"/>
            <ac:spMk id="20" creationId="{E586E30D-8775-9CDD-3A43-36A01493F548}"/>
          </ac:spMkLst>
        </pc:spChg>
        <pc:spChg chg="add mod">
          <ac:chgData name="Sabina PETRASHOVA" userId="7d838aae-e6ab-4ec0-b04f-8f08a9482ebc" providerId="ADAL" clId="{C1847504-C51D-45E1-96BE-B0CE464851E6}" dt="2023-09-28T09:23:06.522" v="30495" actId="12788"/>
          <ac:spMkLst>
            <pc:docMk/>
            <pc:sldMk cId="3890265312" sldId="2147471344"/>
            <ac:spMk id="21" creationId="{12A89518-AECC-B5FC-CA13-357652A5AD24}"/>
          </ac:spMkLst>
        </pc:spChg>
        <pc:spChg chg="add mod">
          <ac:chgData name="Sabina PETRASHOVA" userId="7d838aae-e6ab-4ec0-b04f-8f08a9482ebc" providerId="ADAL" clId="{C1847504-C51D-45E1-96BE-B0CE464851E6}" dt="2023-09-28T09:23:06.522" v="30495" actId="12788"/>
          <ac:spMkLst>
            <pc:docMk/>
            <pc:sldMk cId="3890265312" sldId="2147471344"/>
            <ac:spMk id="22" creationId="{65B53531-FEB1-1752-8DC1-9A69908A6D64}"/>
          </ac:spMkLst>
        </pc:spChg>
        <pc:spChg chg="add mod">
          <ac:chgData name="Sabina PETRASHOVA" userId="7d838aae-e6ab-4ec0-b04f-8f08a9482ebc" providerId="ADAL" clId="{C1847504-C51D-45E1-96BE-B0CE464851E6}" dt="2023-09-28T09:23:06.522" v="30495" actId="12788"/>
          <ac:spMkLst>
            <pc:docMk/>
            <pc:sldMk cId="3890265312" sldId="2147471344"/>
            <ac:spMk id="23" creationId="{4F90FDB6-2F77-C323-D9F2-41C9D871805F}"/>
          </ac:spMkLst>
        </pc:spChg>
        <pc:spChg chg="add mod">
          <ac:chgData name="Sabina PETRASHOVA" userId="7d838aae-e6ab-4ec0-b04f-8f08a9482ebc" providerId="ADAL" clId="{C1847504-C51D-45E1-96BE-B0CE464851E6}" dt="2023-09-28T11:05:59.572" v="31470"/>
          <ac:spMkLst>
            <pc:docMk/>
            <pc:sldMk cId="3890265312" sldId="2147471344"/>
            <ac:spMk id="24" creationId="{A57706E3-AF5F-9AB8-784C-412C95442DDD}"/>
          </ac:spMkLst>
        </pc:spChg>
        <pc:grpChg chg="add mod">
          <ac:chgData name="Sabina PETRASHOVA" userId="7d838aae-e6ab-4ec0-b04f-8f08a9482ebc" providerId="ADAL" clId="{C1847504-C51D-45E1-96BE-B0CE464851E6}" dt="2023-09-28T09:23:06.522" v="30495" actId="12788"/>
          <ac:grpSpMkLst>
            <pc:docMk/>
            <pc:sldMk cId="3890265312" sldId="2147471344"/>
            <ac:grpSpMk id="5" creationId="{7F44CA57-C77A-6DDD-AF2F-51FAC0CA25AD}"/>
          </ac:grpSpMkLst>
        </pc:grpChg>
        <pc:grpChg chg="add mod">
          <ac:chgData name="Sabina PETRASHOVA" userId="7d838aae-e6ab-4ec0-b04f-8f08a9482ebc" providerId="ADAL" clId="{C1847504-C51D-45E1-96BE-B0CE464851E6}" dt="2023-09-28T09:23:06.522" v="30495" actId="12788"/>
          <ac:grpSpMkLst>
            <pc:docMk/>
            <pc:sldMk cId="3890265312" sldId="2147471344"/>
            <ac:grpSpMk id="10" creationId="{D4B429BE-C017-B215-C83F-B7752B76BB88}"/>
          </ac:grpSpMkLst>
        </pc:grpChg>
        <pc:grpChg chg="add mod">
          <ac:chgData name="Sabina PETRASHOVA" userId="7d838aae-e6ab-4ec0-b04f-8f08a9482ebc" providerId="ADAL" clId="{C1847504-C51D-45E1-96BE-B0CE464851E6}" dt="2023-09-28T09:23:06.522" v="30495" actId="12788"/>
          <ac:grpSpMkLst>
            <pc:docMk/>
            <pc:sldMk cId="3890265312" sldId="2147471344"/>
            <ac:grpSpMk id="14" creationId="{4E125024-418F-58E8-695C-72C56B0DE93A}"/>
          </ac:grpSpMkLst>
        </pc:grpChg>
        <pc:picChg chg="add mod">
          <ac:chgData name="Sabina PETRASHOVA" userId="7d838aae-e6ab-4ec0-b04f-8f08a9482ebc" providerId="ADAL" clId="{C1847504-C51D-45E1-96BE-B0CE464851E6}" dt="2023-09-28T09:23:06.522" v="30495" actId="12788"/>
          <ac:picMkLst>
            <pc:docMk/>
            <pc:sldMk cId="3890265312" sldId="2147471344"/>
            <ac:picMk id="11" creationId="{6413227F-39F9-653F-2AC6-4540481669AD}"/>
          </ac:picMkLst>
        </pc:picChg>
        <pc:picChg chg="add mod">
          <ac:chgData name="Sabina PETRASHOVA" userId="7d838aae-e6ab-4ec0-b04f-8f08a9482ebc" providerId="ADAL" clId="{C1847504-C51D-45E1-96BE-B0CE464851E6}" dt="2023-09-28T09:23:06.522" v="30495" actId="12788"/>
          <ac:picMkLst>
            <pc:docMk/>
            <pc:sldMk cId="3890265312" sldId="2147471344"/>
            <ac:picMk id="15" creationId="{48F5AF82-E749-AF6F-FC9E-EF51739D8E2B}"/>
          </ac:picMkLst>
        </pc:picChg>
        <pc:picChg chg="add mod">
          <ac:chgData name="Sabina PETRASHOVA" userId="7d838aae-e6ab-4ec0-b04f-8f08a9482ebc" providerId="ADAL" clId="{C1847504-C51D-45E1-96BE-B0CE464851E6}" dt="2023-09-28T09:23:06.522" v="30495" actId="12788"/>
          <ac:picMkLst>
            <pc:docMk/>
            <pc:sldMk cId="3890265312" sldId="2147471344"/>
            <ac:picMk id="17" creationId="{EF1376B3-22D7-4F77-331F-0475E9D123A9}"/>
          </ac:picMkLst>
        </pc:picChg>
        <pc:picChg chg="add mod">
          <ac:chgData name="Sabina PETRASHOVA" userId="7d838aae-e6ab-4ec0-b04f-8f08a9482ebc" providerId="ADAL" clId="{C1847504-C51D-45E1-96BE-B0CE464851E6}" dt="2023-09-28T09:23:06.522" v="30495" actId="12788"/>
          <ac:picMkLst>
            <pc:docMk/>
            <pc:sldMk cId="3890265312" sldId="2147471344"/>
            <ac:picMk id="19" creationId="{3ECB329E-50B9-12F9-D6A4-CD2F1913D50E}"/>
          </ac:picMkLst>
        </pc:picChg>
        <pc:picChg chg="add mod">
          <ac:chgData name="Sabina PETRASHOVA" userId="7d838aae-e6ab-4ec0-b04f-8f08a9482ebc" providerId="ADAL" clId="{C1847504-C51D-45E1-96BE-B0CE464851E6}" dt="2023-09-28T11:05:59.572" v="31470"/>
          <ac:picMkLst>
            <pc:docMk/>
            <pc:sldMk cId="3890265312" sldId="2147471344"/>
            <ac:picMk id="25" creationId="{5510D795-715A-5583-F800-5B4E4B21C851}"/>
          </ac:picMkLst>
        </pc:picChg>
      </pc:sldChg>
      <pc:sldChg chg="addSp delSp modSp new mod">
        <pc:chgData name="Sabina PETRASHOVA" userId="7d838aae-e6ab-4ec0-b04f-8f08a9482ebc" providerId="ADAL" clId="{C1847504-C51D-45E1-96BE-B0CE464851E6}" dt="2023-09-28T11:06:04.572" v="31471"/>
        <pc:sldMkLst>
          <pc:docMk/>
          <pc:sldMk cId="3980514234" sldId="2147471345"/>
        </pc:sldMkLst>
        <pc:spChg chg="mod">
          <ac:chgData name="Sabina PETRASHOVA" userId="7d838aae-e6ab-4ec0-b04f-8f08a9482ebc" providerId="ADAL" clId="{C1847504-C51D-45E1-96BE-B0CE464851E6}" dt="2023-09-28T10:04:33.031" v="30674" actId="1076"/>
          <ac:spMkLst>
            <pc:docMk/>
            <pc:sldMk cId="3980514234" sldId="2147471345"/>
            <ac:spMk id="2" creationId="{2C6CE988-BC9C-F460-ECA0-48BF89DD5D43}"/>
          </ac:spMkLst>
        </pc:spChg>
        <pc:spChg chg="add del mod">
          <ac:chgData name="Sabina PETRASHOVA" userId="7d838aae-e6ab-4ec0-b04f-8f08a9482ebc" providerId="ADAL" clId="{C1847504-C51D-45E1-96BE-B0CE464851E6}" dt="2023-09-28T10:20:10.550" v="30827" actId="478"/>
          <ac:spMkLst>
            <pc:docMk/>
            <pc:sldMk cId="3980514234" sldId="2147471345"/>
            <ac:spMk id="7" creationId="{F737C043-9BF4-060F-22EC-9E03010E1F94}"/>
          </ac:spMkLst>
        </pc:spChg>
        <pc:spChg chg="add mod">
          <ac:chgData name="Sabina PETRASHOVA" userId="7d838aae-e6ab-4ec0-b04f-8f08a9482ebc" providerId="ADAL" clId="{C1847504-C51D-45E1-96BE-B0CE464851E6}" dt="2023-09-28T10:30:53.112" v="31004" actId="14100"/>
          <ac:spMkLst>
            <pc:docMk/>
            <pc:sldMk cId="3980514234" sldId="2147471345"/>
            <ac:spMk id="9" creationId="{6447130B-DB7D-E6B2-C4E9-5B3FE558DE4D}"/>
          </ac:spMkLst>
        </pc:spChg>
        <pc:spChg chg="add mod">
          <ac:chgData name="Sabina PETRASHOVA" userId="7d838aae-e6ab-4ec0-b04f-8f08a9482ebc" providerId="ADAL" clId="{C1847504-C51D-45E1-96BE-B0CE464851E6}" dt="2023-09-28T10:34:09.338" v="31054" actId="1035"/>
          <ac:spMkLst>
            <pc:docMk/>
            <pc:sldMk cId="3980514234" sldId="2147471345"/>
            <ac:spMk id="11" creationId="{C8F0776A-E337-CA5F-A5E4-051F3C7FF7ED}"/>
          </ac:spMkLst>
        </pc:spChg>
        <pc:spChg chg="add del mod ord">
          <ac:chgData name="Sabina PETRASHOVA" userId="7d838aae-e6ab-4ec0-b04f-8f08a9482ebc" providerId="ADAL" clId="{C1847504-C51D-45E1-96BE-B0CE464851E6}" dt="2023-09-28T10:16:47.685" v="30776" actId="478"/>
          <ac:spMkLst>
            <pc:docMk/>
            <pc:sldMk cId="3980514234" sldId="2147471345"/>
            <ac:spMk id="12" creationId="{E8E24583-B12E-FF41-1CBE-2AC4766EF6F7}"/>
          </ac:spMkLst>
        </pc:spChg>
        <pc:spChg chg="add mod">
          <ac:chgData name="Sabina PETRASHOVA" userId="7d838aae-e6ab-4ec0-b04f-8f08a9482ebc" providerId="ADAL" clId="{C1847504-C51D-45E1-96BE-B0CE464851E6}" dt="2023-09-28T10:34:09.338" v="31054" actId="1035"/>
          <ac:spMkLst>
            <pc:docMk/>
            <pc:sldMk cId="3980514234" sldId="2147471345"/>
            <ac:spMk id="15" creationId="{D031FF0F-3673-1B37-DA0D-8427B048CF7D}"/>
          </ac:spMkLst>
        </pc:spChg>
        <pc:spChg chg="add mod">
          <ac:chgData name="Sabina PETRASHOVA" userId="7d838aae-e6ab-4ec0-b04f-8f08a9482ebc" providerId="ADAL" clId="{C1847504-C51D-45E1-96BE-B0CE464851E6}" dt="2023-09-28T11:06:04.572" v="31471"/>
          <ac:spMkLst>
            <pc:docMk/>
            <pc:sldMk cId="3980514234" sldId="2147471345"/>
            <ac:spMk id="16" creationId="{8965678E-CB6C-35A5-F402-AAD159B350F7}"/>
          </ac:spMkLst>
        </pc:spChg>
        <pc:graphicFrameChg chg="add del mod modGraphic">
          <ac:chgData name="Sabina PETRASHOVA" userId="7d838aae-e6ab-4ec0-b04f-8f08a9482ebc" providerId="ADAL" clId="{C1847504-C51D-45E1-96BE-B0CE464851E6}" dt="2023-09-28T09:50:16.611" v="30667" actId="478"/>
          <ac:graphicFrameMkLst>
            <pc:docMk/>
            <pc:sldMk cId="3980514234" sldId="2147471345"/>
            <ac:graphicFrameMk id="5" creationId="{E1150237-2B59-5456-696B-D1B5E8B55DD6}"/>
          </ac:graphicFrameMkLst>
        </pc:graphicFrameChg>
        <pc:graphicFrameChg chg="add del mod">
          <ac:chgData name="Sabina PETRASHOVA" userId="7d838aae-e6ab-4ec0-b04f-8f08a9482ebc" providerId="ADAL" clId="{C1847504-C51D-45E1-96BE-B0CE464851E6}" dt="2023-09-28T09:43:17.664" v="30499" actId="478"/>
          <ac:graphicFrameMkLst>
            <pc:docMk/>
            <pc:sldMk cId="3980514234" sldId="2147471345"/>
            <ac:graphicFrameMk id="6" creationId="{4E736748-BD9C-D96E-9445-E3DEC2F9F543}"/>
          </ac:graphicFrameMkLst>
        </pc:graphicFrameChg>
        <pc:graphicFrameChg chg="add mod modGraphic">
          <ac:chgData name="Sabina PETRASHOVA" userId="7d838aae-e6ab-4ec0-b04f-8f08a9482ebc" providerId="ADAL" clId="{C1847504-C51D-45E1-96BE-B0CE464851E6}" dt="2023-09-28T10:34:09.338" v="31054" actId="1035"/>
          <ac:graphicFrameMkLst>
            <pc:docMk/>
            <pc:sldMk cId="3980514234" sldId="2147471345"/>
            <ac:graphicFrameMk id="8" creationId="{B0A256B4-05B6-B8F7-F51E-37A39AC24E80}"/>
          </ac:graphicFrameMkLst>
        </pc:graphicFrameChg>
        <pc:graphicFrameChg chg="add mod modGraphic">
          <ac:chgData name="Sabina PETRASHOVA" userId="7d838aae-e6ab-4ec0-b04f-8f08a9482ebc" providerId="ADAL" clId="{C1847504-C51D-45E1-96BE-B0CE464851E6}" dt="2023-09-28T10:34:09.338" v="31054" actId="1035"/>
          <ac:graphicFrameMkLst>
            <pc:docMk/>
            <pc:sldMk cId="3980514234" sldId="2147471345"/>
            <ac:graphicFrameMk id="10" creationId="{8019AA23-3152-FD6C-CA8C-AFC65C4DA104}"/>
          </ac:graphicFrameMkLst>
        </pc:graphicFrameChg>
        <pc:picChg chg="add mod">
          <ac:chgData name="Sabina PETRASHOVA" userId="7d838aae-e6ab-4ec0-b04f-8f08a9482ebc" providerId="ADAL" clId="{C1847504-C51D-45E1-96BE-B0CE464851E6}" dt="2023-09-28T10:23:53.767" v="30852" actId="1076"/>
          <ac:picMkLst>
            <pc:docMk/>
            <pc:sldMk cId="3980514234" sldId="2147471345"/>
            <ac:picMk id="14" creationId="{3F615A62-53FB-40FE-3892-432807582B99}"/>
          </ac:picMkLst>
        </pc:picChg>
        <pc:picChg chg="add mod">
          <ac:chgData name="Sabina PETRASHOVA" userId="7d838aae-e6ab-4ec0-b04f-8f08a9482ebc" providerId="ADAL" clId="{C1847504-C51D-45E1-96BE-B0CE464851E6}" dt="2023-09-28T11:06:04.572" v="31471"/>
          <ac:picMkLst>
            <pc:docMk/>
            <pc:sldMk cId="3980514234" sldId="2147471345"/>
            <ac:picMk id="17" creationId="{49449010-AC63-E803-06AC-162BCFDB7177}"/>
          </ac:picMkLst>
        </pc:picChg>
      </pc:sldChg>
      <pc:sldChg chg="addSp delSp modSp add del mod">
        <pc:chgData name="Sabina PETRASHOVA" userId="7d838aae-e6ab-4ec0-b04f-8f08a9482ebc" providerId="ADAL" clId="{C1847504-C51D-45E1-96BE-B0CE464851E6}" dt="2023-09-28T08:09:45.250" v="30011" actId="2696"/>
        <pc:sldMkLst>
          <pc:docMk/>
          <pc:sldMk cId="4049070616" sldId="2147471345"/>
        </pc:sldMkLst>
        <pc:spChg chg="del">
          <ac:chgData name="Sabina PETRASHOVA" userId="7d838aae-e6ab-4ec0-b04f-8f08a9482ebc" providerId="ADAL" clId="{C1847504-C51D-45E1-96BE-B0CE464851E6}" dt="2023-09-26T15:14:01.839" v="29000" actId="478"/>
          <ac:spMkLst>
            <pc:docMk/>
            <pc:sldMk cId="4049070616" sldId="2147471345"/>
            <ac:spMk id="3" creationId="{6EFAEAE0-65F4-B014-5CE8-5FB8DADB9072}"/>
          </ac:spMkLst>
        </pc:spChg>
        <pc:spChg chg="add mod">
          <ac:chgData name="Sabina PETRASHOVA" userId="7d838aae-e6ab-4ec0-b04f-8f08a9482ebc" providerId="ADAL" clId="{C1847504-C51D-45E1-96BE-B0CE464851E6}" dt="2023-09-26T15:24:17.998" v="29229" actId="1076"/>
          <ac:spMkLst>
            <pc:docMk/>
            <pc:sldMk cId="4049070616" sldId="2147471345"/>
            <ac:spMk id="4" creationId="{66EC2D77-B84F-D3C8-047C-E2EFEC6793AF}"/>
          </ac:spMkLst>
        </pc:spChg>
        <pc:spChg chg="mod">
          <ac:chgData name="Sabina PETRASHOVA" userId="7d838aae-e6ab-4ec0-b04f-8f08a9482ebc" providerId="ADAL" clId="{C1847504-C51D-45E1-96BE-B0CE464851E6}" dt="2023-09-26T15:46:30.687" v="29524" actId="115"/>
          <ac:spMkLst>
            <pc:docMk/>
            <pc:sldMk cId="4049070616" sldId="2147471345"/>
            <ac:spMk id="5" creationId="{BB931FD4-6A71-62EF-6C29-E83C37D84097}"/>
          </ac:spMkLst>
        </pc:spChg>
        <pc:spChg chg="add mod">
          <ac:chgData name="Sabina PETRASHOVA" userId="7d838aae-e6ab-4ec0-b04f-8f08a9482ebc" providerId="ADAL" clId="{C1847504-C51D-45E1-96BE-B0CE464851E6}" dt="2023-09-26T15:32:25.049" v="29305" actId="1076"/>
          <ac:spMkLst>
            <pc:docMk/>
            <pc:sldMk cId="4049070616" sldId="2147471345"/>
            <ac:spMk id="8" creationId="{4F454099-D575-9361-E886-1BD0F787C211}"/>
          </ac:spMkLst>
        </pc:spChg>
        <pc:spChg chg="add mod">
          <ac:chgData name="Sabina PETRASHOVA" userId="7d838aae-e6ab-4ec0-b04f-8f08a9482ebc" providerId="ADAL" clId="{C1847504-C51D-45E1-96BE-B0CE464851E6}" dt="2023-09-26T15:24:17.998" v="29229" actId="1076"/>
          <ac:spMkLst>
            <pc:docMk/>
            <pc:sldMk cId="4049070616" sldId="2147471345"/>
            <ac:spMk id="9" creationId="{22A7376E-C46C-1881-8ED5-4EE14894F1D1}"/>
          </ac:spMkLst>
        </pc:spChg>
        <pc:spChg chg="del">
          <ac:chgData name="Sabina PETRASHOVA" userId="7d838aae-e6ab-4ec0-b04f-8f08a9482ebc" providerId="ADAL" clId="{C1847504-C51D-45E1-96BE-B0CE464851E6}" dt="2023-09-26T15:14:01.839" v="29000" actId="478"/>
          <ac:spMkLst>
            <pc:docMk/>
            <pc:sldMk cId="4049070616" sldId="2147471345"/>
            <ac:spMk id="16" creationId="{25E58E7F-5DBD-0810-A032-B9EA7B1EE29A}"/>
          </ac:spMkLst>
        </pc:spChg>
        <pc:spChg chg="del">
          <ac:chgData name="Sabina PETRASHOVA" userId="7d838aae-e6ab-4ec0-b04f-8f08a9482ebc" providerId="ADAL" clId="{C1847504-C51D-45E1-96BE-B0CE464851E6}" dt="2023-09-26T15:14:01.839" v="29000" actId="478"/>
          <ac:spMkLst>
            <pc:docMk/>
            <pc:sldMk cId="4049070616" sldId="2147471345"/>
            <ac:spMk id="17" creationId="{DC7AC455-97CD-B595-70B8-3B8F41C2765D}"/>
          </ac:spMkLst>
        </pc:spChg>
        <pc:spChg chg="del">
          <ac:chgData name="Sabina PETRASHOVA" userId="7d838aae-e6ab-4ec0-b04f-8f08a9482ebc" providerId="ADAL" clId="{C1847504-C51D-45E1-96BE-B0CE464851E6}" dt="2023-09-26T15:13:50.356" v="28999" actId="478"/>
          <ac:spMkLst>
            <pc:docMk/>
            <pc:sldMk cId="4049070616" sldId="2147471345"/>
            <ac:spMk id="19" creationId="{B9DD1E93-4A34-4942-5C45-BB5B6922B3C1}"/>
          </ac:spMkLst>
        </pc:spChg>
        <pc:spChg chg="del">
          <ac:chgData name="Sabina PETRASHOVA" userId="7d838aae-e6ab-4ec0-b04f-8f08a9482ebc" providerId="ADAL" clId="{C1847504-C51D-45E1-96BE-B0CE464851E6}" dt="2023-09-26T15:14:01.839" v="29000" actId="478"/>
          <ac:spMkLst>
            <pc:docMk/>
            <pc:sldMk cId="4049070616" sldId="2147471345"/>
            <ac:spMk id="21" creationId="{F4F6E9DD-FC08-0CBE-545F-FDE73AA1DC28}"/>
          </ac:spMkLst>
        </pc:spChg>
        <pc:spChg chg="del">
          <ac:chgData name="Sabina PETRASHOVA" userId="7d838aae-e6ab-4ec0-b04f-8f08a9482ebc" providerId="ADAL" clId="{C1847504-C51D-45E1-96BE-B0CE464851E6}" dt="2023-09-26T15:14:01.839" v="29000" actId="478"/>
          <ac:spMkLst>
            <pc:docMk/>
            <pc:sldMk cId="4049070616" sldId="2147471345"/>
            <ac:spMk id="22" creationId="{1B52A75E-B596-B51E-B49F-659677EA4C4E}"/>
          </ac:spMkLst>
        </pc:spChg>
        <pc:spChg chg="del">
          <ac:chgData name="Sabina PETRASHOVA" userId="7d838aae-e6ab-4ec0-b04f-8f08a9482ebc" providerId="ADAL" clId="{C1847504-C51D-45E1-96BE-B0CE464851E6}" dt="2023-09-26T15:14:01.839" v="29000" actId="478"/>
          <ac:spMkLst>
            <pc:docMk/>
            <pc:sldMk cId="4049070616" sldId="2147471345"/>
            <ac:spMk id="28" creationId="{B9276424-BF8A-A100-AFC7-9ABF72D6073A}"/>
          </ac:spMkLst>
        </pc:spChg>
        <pc:spChg chg="del">
          <ac:chgData name="Sabina PETRASHOVA" userId="7d838aae-e6ab-4ec0-b04f-8f08a9482ebc" providerId="ADAL" clId="{C1847504-C51D-45E1-96BE-B0CE464851E6}" dt="2023-09-26T15:14:01.839" v="29000" actId="478"/>
          <ac:spMkLst>
            <pc:docMk/>
            <pc:sldMk cId="4049070616" sldId="2147471345"/>
            <ac:spMk id="29" creationId="{0B2C84AC-7DDB-27F3-1B0C-77D8C0A3B9B0}"/>
          </ac:spMkLst>
        </pc:spChg>
        <pc:spChg chg="add mod">
          <ac:chgData name="Sabina PETRASHOVA" userId="7d838aae-e6ab-4ec0-b04f-8f08a9482ebc" providerId="ADAL" clId="{C1847504-C51D-45E1-96BE-B0CE464851E6}" dt="2023-09-26T15:24:17.998" v="29229" actId="1076"/>
          <ac:spMkLst>
            <pc:docMk/>
            <pc:sldMk cId="4049070616" sldId="2147471345"/>
            <ac:spMk id="43" creationId="{F597575F-8282-CBA9-55A5-8A05170C5865}"/>
          </ac:spMkLst>
        </pc:spChg>
        <pc:spChg chg="add del mod">
          <ac:chgData name="Sabina PETRASHOVA" userId="7d838aae-e6ab-4ec0-b04f-8f08a9482ebc" providerId="ADAL" clId="{C1847504-C51D-45E1-96BE-B0CE464851E6}" dt="2023-09-26T15:35:51.058" v="29488" actId="478"/>
          <ac:spMkLst>
            <pc:docMk/>
            <pc:sldMk cId="4049070616" sldId="2147471345"/>
            <ac:spMk id="47" creationId="{BAD3E83E-265A-C30D-5659-04C190F0F709}"/>
          </ac:spMkLst>
        </pc:spChg>
        <pc:spChg chg="add del mod">
          <ac:chgData name="Sabina PETRASHOVA" userId="7d838aae-e6ab-4ec0-b04f-8f08a9482ebc" providerId="ADAL" clId="{C1847504-C51D-45E1-96BE-B0CE464851E6}" dt="2023-09-26T15:35:56.725" v="29491" actId="478"/>
          <ac:spMkLst>
            <pc:docMk/>
            <pc:sldMk cId="4049070616" sldId="2147471345"/>
            <ac:spMk id="48" creationId="{22F203BD-50EA-72E9-3D54-E1A8DDBC159F}"/>
          </ac:spMkLst>
        </pc:spChg>
        <pc:spChg chg="add mod">
          <ac:chgData name="Sabina PETRASHOVA" userId="7d838aae-e6ab-4ec0-b04f-8f08a9482ebc" providerId="ADAL" clId="{C1847504-C51D-45E1-96BE-B0CE464851E6}" dt="2023-09-26T15:24:47.181" v="29238" actId="1076"/>
          <ac:spMkLst>
            <pc:docMk/>
            <pc:sldMk cId="4049070616" sldId="2147471345"/>
            <ac:spMk id="49" creationId="{DAEDB32B-F799-453A-6845-40A76D40FF49}"/>
          </ac:spMkLst>
        </pc:spChg>
        <pc:spChg chg="add del mod">
          <ac:chgData name="Sabina PETRASHOVA" userId="7d838aae-e6ab-4ec0-b04f-8f08a9482ebc" providerId="ADAL" clId="{C1847504-C51D-45E1-96BE-B0CE464851E6}" dt="2023-09-26T15:35:51.058" v="29488" actId="478"/>
          <ac:spMkLst>
            <pc:docMk/>
            <pc:sldMk cId="4049070616" sldId="2147471345"/>
            <ac:spMk id="60" creationId="{624FD4C9-950D-F942-8480-CE1743E91AD2}"/>
          </ac:spMkLst>
        </pc:spChg>
        <pc:spChg chg="add del mod">
          <ac:chgData name="Sabina PETRASHOVA" userId="7d838aae-e6ab-4ec0-b04f-8f08a9482ebc" providerId="ADAL" clId="{C1847504-C51D-45E1-96BE-B0CE464851E6}" dt="2023-09-26T15:35:51.058" v="29488" actId="478"/>
          <ac:spMkLst>
            <pc:docMk/>
            <pc:sldMk cId="4049070616" sldId="2147471345"/>
            <ac:spMk id="61" creationId="{56A66537-9F82-56E8-AAF4-EA69078FAC4B}"/>
          </ac:spMkLst>
        </pc:spChg>
        <pc:spChg chg="add mod">
          <ac:chgData name="Sabina PETRASHOVA" userId="7d838aae-e6ab-4ec0-b04f-8f08a9482ebc" providerId="ADAL" clId="{C1847504-C51D-45E1-96BE-B0CE464851E6}" dt="2023-09-26T15:31:57.248" v="29301" actId="1076"/>
          <ac:spMkLst>
            <pc:docMk/>
            <pc:sldMk cId="4049070616" sldId="2147471345"/>
            <ac:spMk id="75" creationId="{D1AD6F6B-503A-F142-B93D-88B2F90486A8}"/>
          </ac:spMkLst>
        </pc:spChg>
        <pc:spChg chg="mod">
          <ac:chgData name="Sabina PETRASHOVA" userId="7d838aae-e6ab-4ec0-b04f-8f08a9482ebc" providerId="ADAL" clId="{C1847504-C51D-45E1-96BE-B0CE464851E6}" dt="2023-09-26T15:43:23.319" v="29511" actId="14100"/>
          <ac:spMkLst>
            <pc:docMk/>
            <pc:sldMk cId="4049070616" sldId="2147471345"/>
            <ac:spMk id="79" creationId="{9007893F-DE3F-4277-8B72-135CF4773651}"/>
          </ac:spMkLst>
        </pc:spChg>
        <pc:spChg chg="add mod">
          <ac:chgData name="Sabina PETRASHOVA" userId="7d838aae-e6ab-4ec0-b04f-8f08a9482ebc" providerId="ADAL" clId="{C1847504-C51D-45E1-96BE-B0CE464851E6}" dt="2023-09-26T15:34:53.793" v="29426" actId="14100"/>
          <ac:spMkLst>
            <pc:docMk/>
            <pc:sldMk cId="4049070616" sldId="2147471345"/>
            <ac:spMk id="80" creationId="{36BE0FA5-6FB7-6343-D35F-FDD9E6004C16}"/>
          </ac:spMkLst>
        </pc:spChg>
        <pc:spChg chg="add del mod">
          <ac:chgData name="Sabina PETRASHOVA" userId="7d838aae-e6ab-4ec0-b04f-8f08a9482ebc" providerId="ADAL" clId="{C1847504-C51D-45E1-96BE-B0CE464851E6}" dt="2023-09-26T15:35:18.004" v="29431" actId="478"/>
          <ac:spMkLst>
            <pc:docMk/>
            <pc:sldMk cId="4049070616" sldId="2147471345"/>
            <ac:spMk id="83" creationId="{181B66E0-A02C-D045-2B6C-EAA7320FE345}"/>
          </ac:spMkLst>
        </pc:spChg>
        <pc:spChg chg="add mod">
          <ac:chgData name="Sabina PETRASHOVA" userId="7d838aae-e6ab-4ec0-b04f-8f08a9482ebc" providerId="ADAL" clId="{C1847504-C51D-45E1-96BE-B0CE464851E6}" dt="2023-09-26T15:36:43.512" v="29499" actId="1076"/>
          <ac:spMkLst>
            <pc:docMk/>
            <pc:sldMk cId="4049070616" sldId="2147471345"/>
            <ac:spMk id="95" creationId="{6430A2F4-BC80-8784-D0A8-D730F180A4DD}"/>
          </ac:spMkLst>
        </pc:spChg>
        <pc:spChg chg="add mod">
          <ac:chgData name="Sabina PETRASHOVA" userId="7d838aae-e6ab-4ec0-b04f-8f08a9482ebc" providerId="ADAL" clId="{C1847504-C51D-45E1-96BE-B0CE464851E6}" dt="2023-09-26T15:36:59.663" v="29502" actId="1076"/>
          <ac:spMkLst>
            <pc:docMk/>
            <pc:sldMk cId="4049070616" sldId="2147471345"/>
            <ac:spMk id="96" creationId="{CB3AA683-3443-53F1-20C1-2687ABE22FCC}"/>
          </ac:spMkLst>
        </pc:spChg>
        <pc:spChg chg="add del mod">
          <ac:chgData name="Sabina PETRASHOVA" userId="7d838aae-e6ab-4ec0-b04f-8f08a9482ebc" providerId="ADAL" clId="{C1847504-C51D-45E1-96BE-B0CE464851E6}" dt="2023-09-26T15:46:03.579" v="29522" actId="478"/>
          <ac:spMkLst>
            <pc:docMk/>
            <pc:sldMk cId="4049070616" sldId="2147471345"/>
            <ac:spMk id="97" creationId="{D4169158-112F-AD07-6725-B2F6C41FDAEF}"/>
          </ac:spMkLst>
        </pc:spChg>
        <pc:spChg chg="add del mod">
          <ac:chgData name="Sabina PETRASHOVA" userId="7d838aae-e6ab-4ec0-b04f-8f08a9482ebc" providerId="ADAL" clId="{C1847504-C51D-45E1-96BE-B0CE464851E6}" dt="2023-09-26T15:46:02.166" v="29521" actId="478"/>
          <ac:spMkLst>
            <pc:docMk/>
            <pc:sldMk cId="4049070616" sldId="2147471345"/>
            <ac:spMk id="98" creationId="{254DD6F7-2ED4-53D7-0A49-6CD36411D5D8}"/>
          </ac:spMkLst>
        </pc:spChg>
        <pc:picChg chg="del">
          <ac:chgData name="Sabina PETRASHOVA" userId="7d838aae-e6ab-4ec0-b04f-8f08a9482ebc" providerId="ADAL" clId="{C1847504-C51D-45E1-96BE-B0CE464851E6}" dt="2023-09-26T15:14:01.839" v="29000" actId="478"/>
          <ac:picMkLst>
            <pc:docMk/>
            <pc:sldMk cId="4049070616" sldId="2147471345"/>
            <ac:picMk id="10" creationId="{8D0284E0-4ADA-95E0-4437-7BBDC54CAB33}"/>
          </ac:picMkLst>
        </pc:picChg>
        <pc:picChg chg="del">
          <ac:chgData name="Sabina PETRASHOVA" userId="7d838aae-e6ab-4ec0-b04f-8f08a9482ebc" providerId="ADAL" clId="{C1847504-C51D-45E1-96BE-B0CE464851E6}" dt="2023-09-26T15:14:01.839" v="29000" actId="478"/>
          <ac:picMkLst>
            <pc:docMk/>
            <pc:sldMk cId="4049070616" sldId="2147471345"/>
            <ac:picMk id="14" creationId="{0439D22A-9516-F7D9-C4A7-8195FA5370E4}"/>
          </ac:picMkLst>
        </pc:picChg>
        <pc:picChg chg="del">
          <ac:chgData name="Sabina PETRASHOVA" userId="7d838aae-e6ab-4ec0-b04f-8f08a9482ebc" providerId="ADAL" clId="{C1847504-C51D-45E1-96BE-B0CE464851E6}" dt="2023-09-26T15:14:01.839" v="29000" actId="478"/>
          <ac:picMkLst>
            <pc:docMk/>
            <pc:sldMk cId="4049070616" sldId="2147471345"/>
            <ac:picMk id="15" creationId="{B0CDDC45-4B58-027A-D333-A4DC5028B756}"/>
          </ac:picMkLst>
        </pc:picChg>
        <pc:picChg chg="del">
          <ac:chgData name="Sabina PETRASHOVA" userId="7d838aae-e6ab-4ec0-b04f-8f08a9482ebc" providerId="ADAL" clId="{C1847504-C51D-45E1-96BE-B0CE464851E6}" dt="2023-09-26T15:14:01.839" v="29000" actId="478"/>
          <ac:picMkLst>
            <pc:docMk/>
            <pc:sldMk cId="4049070616" sldId="2147471345"/>
            <ac:picMk id="23" creationId="{0EDB92A2-D477-218F-9ED1-E526020A8869}"/>
          </ac:picMkLst>
        </pc:picChg>
        <pc:picChg chg="del">
          <ac:chgData name="Sabina PETRASHOVA" userId="7d838aae-e6ab-4ec0-b04f-8f08a9482ebc" providerId="ADAL" clId="{C1847504-C51D-45E1-96BE-B0CE464851E6}" dt="2023-09-26T15:14:01.839" v="29000" actId="478"/>
          <ac:picMkLst>
            <pc:docMk/>
            <pc:sldMk cId="4049070616" sldId="2147471345"/>
            <ac:picMk id="24" creationId="{39D7332F-5845-F1E7-B03D-8CBDB05C7158}"/>
          </ac:picMkLst>
        </pc:picChg>
        <pc:picChg chg="del">
          <ac:chgData name="Sabina PETRASHOVA" userId="7d838aae-e6ab-4ec0-b04f-8f08a9482ebc" providerId="ADAL" clId="{C1847504-C51D-45E1-96BE-B0CE464851E6}" dt="2023-09-26T15:14:01.839" v="29000" actId="478"/>
          <ac:picMkLst>
            <pc:docMk/>
            <pc:sldMk cId="4049070616" sldId="2147471345"/>
            <ac:picMk id="25" creationId="{69EA09F2-8F13-82F6-63A3-CAE0B52B51FF}"/>
          </ac:picMkLst>
        </pc:picChg>
        <pc:picChg chg="del">
          <ac:chgData name="Sabina PETRASHOVA" userId="7d838aae-e6ab-4ec0-b04f-8f08a9482ebc" providerId="ADAL" clId="{C1847504-C51D-45E1-96BE-B0CE464851E6}" dt="2023-09-26T15:14:01.839" v="29000" actId="478"/>
          <ac:picMkLst>
            <pc:docMk/>
            <pc:sldMk cId="4049070616" sldId="2147471345"/>
            <ac:picMk id="26" creationId="{B9331BAF-1515-D83C-9CFA-A5C3C40E4D39}"/>
          </ac:picMkLst>
        </pc:picChg>
        <pc:picChg chg="del">
          <ac:chgData name="Sabina PETRASHOVA" userId="7d838aae-e6ab-4ec0-b04f-8f08a9482ebc" providerId="ADAL" clId="{C1847504-C51D-45E1-96BE-B0CE464851E6}" dt="2023-09-26T15:14:01.839" v="29000" actId="478"/>
          <ac:picMkLst>
            <pc:docMk/>
            <pc:sldMk cId="4049070616" sldId="2147471345"/>
            <ac:picMk id="27" creationId="{118CB99F-3602-181A-FDDD-8B1A2C0C8198}"/>
          </ac:picMkLst>
        </pc:picChg>
        <pc:picChg chg="del">
          <ac:chgData name="Sabina PETRASHOVA" userId="7d838aae-e6ab-4ec0-b04f-8f08a9482ebc" providerId="ADAL" clId="{C1847504-C51D-45E1-96BE-B0CE464851E6}" dt="2023-09-26T15:14:01.839" v="29000" actId="478"/>
          <ac:picMkLst>
            <pc:docMk/>
            <pc:sldMk cId="4049070616" sldId="2147471345"/>
            <ac:picMk id="30" creationId="{501DF349-D27E-BBA5-DD14-130A5A4134FC}"/>
          </ac:picMkLst>
        </pc:picChg>
        <pc:picChg chg="del">
          <ac:chgData name="Sabina PETRASHOVA" userId="7d838aae-e6ab-4ec0-b04f-8f08a9482ebc" providerId="ADAL" clId="{C1847504-C51D-45E1-96BE-B0CE464851E6}" dt="2023-09-26T15:14:01.839" v="29000" actId="478"/>
          <ac:picMkLst>
            <pc:docMk/>
            <pc:sldMk cId="4049070616" sldId="2147471345"/>
            <ac:picMk id="31" creationId="{FC23EC82-B681-2388-BE4E-E4C3EA5C52F7}"/>
          </ac:picMkLst>
        </pc:picChg>
        <pc:picChg chg="add del mod">
          <ac:chgData name="Sabina PETRASHOVA" userId="7d838aae-e6ab-4ec0-b04f-8f08a9482ebc" providerId="ADAL" clId="{C1847504-C51D-45E1-96BE-B0CE464851E6}" dt="2023-09-26T15:35:52.849" v="29489" actId="478"/>
          <ac:picMkLst>
            <pc:docMk/>
            <pc:sldMk cId="4049070616" sldId="2147471345"/>
            <ac:picMk id="1026" creationId="{06835838-7E16-86ED-B93B-A34464672F74}"/>
          </ac:picMkLst>
        </pc:picChg>
        <pc:picChg chg="add del mod">
          <ac:chgData name="Sabina PETRASHOVA" userId="7d838aae-e6ab-4ec0-b04f-8f08a9482ebc" providerId="ADAL" clId="{C1847504-C51D-45E1-96BE-B0CE464851E6}" dt="2023-09-26T15:35:51.058" v="29488" actId="478"/>
          <ac:picMkLst>
            <pc:docMk/>
            <pc:sldMk cId="4049070616" sldId="2147471345"/>
            <ac:picMk id="1028" creationId="{FB718AA2-A8FC-57D1-66F4-EF1422686063}"/>
          </ac:picMkLst>
        </pc:picChg>
        <pc:picChg chg="add mod">
          <ac:chgData name="Sabina PETRASHOVA" userId="7d838aae-e6ab-4ec0-b04f-8f08a9482ebc" providerId="ADAL" clId="{C1847504-C51D-45E1-96BE-B0CE464851E6}" dt="2023-09-26T15:36:53.144" v="29501" actId="1076"/>
          <ac:picMkLst>
            <pc:docMk/>
            <pc:sldMk cId="4049070616" sldId="2147471345"/>
            <ac:picMk id="1030" creationId="{7F48836E-E73A-3A48-C854-AB98252BB812}"/>
          </ac:picMkLst>
        </pc:picChg>
        <pc:cxnChg chg="add mod">
          <ac:chgData name="Sabina PETRASHOVA" userId="7d838aae-e6ab-4ec0-b04f-8f08a9482ebc" providerId="ADAL" clId="{C1847504-C51D-45E1-96BE-B0CE464851E6}" dt="2023-09-26T15:24:17.998" v="29229" actId="1076"/>
          <ac:cxnSpMkLst>
            <pc:docMk/>
            <pc:sldMk cId="4049070616" sldId="2147471345"/>
            <ac:cxnSpMk id="11" creationId="{F05DB1FC-4A09-0019-129D-61FF7A1D21E2}"/>
          </ac:cxnSpMkLst>
        </pc:cxnChg>
        <pc:cxnChg chg="add mod">
          <ac:chgData name="Sabina PETRASHOVA" userId="7d838aae-e6ab-4ec0-b04f-8f08a9482ebc" providerId="ADAL" clId="{C1847504-C51D-45E1-96BE-B0CE464851E6}" dt="2023-09-26T15:31:25.602" v="29292" actId="1076"/>
          <ac:cxnSpMkLst>
            <pc:docMk/>
            <pc:sldMk cId="4049070616" sldId="2147471345"/>
            <ac:cxnSpMk id="37" creationId="{F69F05F8-7049-E757-B098-608C5F261F9B}"/>
          </ac:cxnSpMkLst>
        </pc:cxnChg>
        <pc:cxnChg chg="add del mod">
          <ac:chgData name="Sabina PETRASHOVA" userId="7d838aae-e6ab-4ec0-b04f-8f08a9482ebc" providerId="ADAL" clId="{C1847504-C51D-45E1-96BE-B0CE464851E6}" dt="2023-09-26T15:35:58.426" v="29492" actId="478"/>
          <ac:cxnSpMkLst>
            <pc:docMk/>
            <pc:sldMk cId="4049070616" sldId="2147471345"/>
            <ac:cxnSpMk id="45" creationId="{911BD94A-2E9B-2446-7C3F-61430B8E971D}"/>
          </ac:cxnSpMkLst>
        </pc:cxnChg>
        <pc:cxnChg chg="add mod">
          <ac:chgData name="Sabina PETRASHOVA" userId="7d838aae-e6ab-4ec0-b04f-8f08a9482ebc" providerId="ADAL" clId="{C1847504-C51D-45E1-96BE-B0CE464851E6}" dt="2023-09-26T15:36:16.415" v="29497" actId="14100"/>
          <ac:cxnSpMkLst>
            <pc:docMk/>
            <pc:sldMk cId="4049070616" sldId="2147471345"/>
            <ac:cxnSpMk id="50" creationId="{2F2C158C-1639-9216-C170-28F4D3D3CD91}"/>
          </ac:cxnSpMkLst>
        </pc:cxnChg>
        <pc:cxnChg chg="add del mod">
          <ac:chgData name="Sabina PETRASHOVA" userId="7d838aae-e6ab-4ec0-b04f-8f08a9482ebc" providerId="ADAL" clId="{C1847504-C51D-45E1-96BE-B0CE464851E6}" dt="2023-09-26T15:25:56.692" v="29242" actId="478"/>
          <ac:cxnSpMkLst>
            <pc:docMk/>
            <pc:sldMk cId="4049070616" sldId="2147471345"/>
            <ac:cxnSpMk id="58" creationId="{2F2C158C-1639-9216-C170-28F4D3D3CD91}"/>
          </ac:cxnSpMkLst>
        </pc:cxnChg>
        <pc:cxnChg chg="add del mod">
          <ac:chgData name="Sabina PETRASHOVA" userId="7d838aae-e6ab-4ec0-b04f-8f08a9482ebc" providerId="ADAL" clId="{C1847504-C51D-45E1-96BE-B0CE464851E6}" dt="2023-09-26T15:26:05.105" v="29245" actId="478"/>
          <ac:cxnSpMkLst>
            <pc:docMk/>
            <pc:sldMk cId="4049070616" sldId="2147471345"/>
            <ac:cxnSpMk id="59" creationId="{2F2C158C-1639-9216-C170-28F4D3D3CD91}"/>
          </ac:cxnSpMkLst>
        </pc:cxnChg>
        <pc:cxnChg chg="add del mod">
          <ac:chgData name="Sabina PETRASHOVA" userId="7d838aae-e6ab-4ec0-b04f-8f08a9482ebc" providerId="ADAL" clId="{C1847504-C51D-45E1-96BE-B0CE464851E6}" dt="2023-09-26T15:35:54.756" v="29490" actId="478"/>
          <ac:cxnSpMkLst>
            <pc:docMk/>
            <pc:sldMk cId="4049070616" sldId="2147471345"/>
            <ac:cxnSpMk id="62" creationId="{ED1D2757-B1E6-BD16-78A6-DDD1BF394434}"/>
          </ac:cxnSpMkLst>
        </pc:cxnChg>
        <pc:cxnChg chg="add del mod">
          <ac:chgData name="Sabina PETRASHOVA" userId="7d838aae-e6ab-4ec0-b04f-8f08a9482ebc" providerId="ADAL" clId="{C1847504-C51D-45E1-96BE-B0CE464851E6}" dt="2023-09-26T15:35:51.058" v="29488" actId="478"/>
          <ac:cxnSpMkLst>
            <pc:docMk/>
            <pc:sldMk cId="4049070616" sldId="2147471345"/>
            <ac:cxnSpMk id="67" creationId="{DA5E8E71-BC5E-5F25-8FE3-BE6DE82F3422}"/>
          </ac:cxnSpMkLst>
        </pc:cxnChg>
        <pc:cxnChg chg="add mod">
          <ac:chgData name="Sabina PETRASHOVA" userId="7d838aae-e6ab-4ec0-b04f-8f08a9482ebc" providerId="ADAL" clId="{C1847504-C51D-45E1-96BE-B0CE464851E6}" dt="2023-09-26T15:31:38.368" v="29296" actId="14100"/>
          <ac:cxnSpMkLst>
            <pc:docMk/>
            <pc:sldMk cId="4049070616" sldId="2147471345"/>
            <ac:cxnSpMk id="71" creationId="{606CA699-5141-BA0C-402D-5A79EA7291BE}"/>
          </ac:cxnSpMkLst>
        </pc:cxnChg>
        <pc:cxnChg chg="add del mod">
          <ac:chgData name="Sabina PETRASHOVA" userId="7d838aae-e6ab-4ec0-b04f-8f08a9482ebc" providerId="ADAL" clId="{C1847504-C51D-45E1-96BE-B0CE464851E6}" dt="2023-09-26T15:31:46.807" v="29299" actId="478"/>
          <ac:cxnSpMkLst>
            <pc:docMk/>
            <pc:sldMk cId="4049070616" sldId="2147471345"/>
            <ac:cxnSpMk id="74" creationId="{85C59BE9-817E-FEF0-9BEC-E17C34562C3F}"/>
          </ac:cxnSpMkLst>
        </pc:cxnChg>
        <pc:cxnChg chg="add mod">
          <ac:chgData name="Sabina PETRASHOVA" userId="7d838aae-e6ab-4ec0-b04f-8f08a9482ebc" providerId="ADAL" clId="{C1847504-C51D-45E1-96BE-B0CE464851E6}" dt="2023-09-26T15:32:31.442" v="29306" actId="14100"/>
          <ac:cxnSpMkLst>
            <pc:docMk/>
            <pc:sldMk cId="4049070616" sldId="2147471345"/>
            <ac:cxnSpMk id="76" creationId="{D5B0AB25-B3A1-6F6F-B2BA-937A62C0BF72}"/>
          </ac:cxnSpMkLst>
        </pc:cxnChg>
        <pc:cxnChg chg="add mod">
          <ac:chgData name="Sabina PETRASHOVA" userId="7d838aae-e6ab-4ec0-b04f-8f08a9482ebc" providerId="ADAL" clId="{C1847504-C51D-45E1-96BE-B0CE464851E6}" dt="2023-09-26T15:34:53.793" v="29426" actId="14100"/>
          <ac:cxnSpMkLst>
            <pc:docMk/>
            <pc:sldMk cId="4049070616" sldId="2147471345"/>
            <ac:cxnSpMk id="81" creationId="{BB05F99B-1D1E-DF92-6AE3-020543C4C363}"/>
          </ac:cxnSpMkLst>
        </pc:cxnChg>
        <pc:cxnChg chg="add del mod">
          <ac:chgData name="Sabina PETRASHOVA" userId="7d838aae-e6ab-4ec0-b04f-8f08a9482ebc" providerId="ADAL" clId="{C1847504-C51D-45E1-96BE-B0CE464851E6}" dt="2023-09-26T15:35:18.004" v="29431" actId="478"/>
          <ac:cxnSpMkLst>
            <pc:docMk/>
            <pc:sldMk cId="4049070616" sldId="2147471345"/>
            <ac:cxnSpMk id="84" creationId="{167950ED-1E6E-7381-6B11-B62C2C8384AD}"/>
          </ac:cxnSpMkLst>
        </pc:cxnChg>
      </pc:sldChg>
      <pc:sldChg chg="addSp delSp modSp new mod">
        <pc:chgData name="Sabina PETRASHOVA" userId="7d838aae-e6ab-4ec0-b04f-8f08a9482ebc" providerId="ADAL" clId="{C1847504-C51D-45E1-96BE-B0CE464851E6}" dt="2023-09-29T07:35:36.118" v="39057" actId="1076"/>
        <pc:sldMkLst>
          <pc:docMk/>
          <pc:sldMk cId="172598047" sldId="2147471346"/>
        </pc:sldMkLst>
        <pc:spChg chg="mod">
          <ac:chgData name="Sabina PETRASHOVA" userId="7d838aae-e6ab-4ec0-b04f-8f08a9482ebc" providerId="ADAL" clId="{C1847504-C51D-45E1-96BE-B0CE464851E6}" dt="2023-09-29T07:35:36.118" v="39057" actId="1076"/>
          <ac:spMkLst>
            <pc:docMk/>
            <pc:sldMk cId="172598047" sldId="2147471346"/>
            <ac:spMk id="2" creationId="{934AAC5D-75E2-8F48-96B4-CDD96C7FC34F}"/>
          </ac:spMkLst>
        </pc:spChg>
        <pc:spChg chg="add del">
          <ac:chgData name="Sabina PETRASHOVA" userId="7d838aae-e6ab-4ec0-b04f-8f08a9482ebc" providerId="ADAL" clId="{C1847504-C51D-45E1-96BE-B0CE464851E6}" dt="2023-09-28T10:40:52.852" v="31058" actId="478"/>
          <ac:spMkLst>
            <pc:docMk/>
            <pc:sldMk cId="172598047" sldId="2147471346"/>
            <ac:spMk id="6" creationId="{017E27FC-53B9-F6C2-B67B-D4FF15A67C47}"/>
          </ac:spMkLst>
        </pc:spChg>
        <pc:spChg chg="add mod">
          <ac:chgData name="Sabina PETRASHOVA" userId="7d838aae-e6ab-4ec0-b04f-8f08a9482ebc" providerId="ADAL" clId="{C1847504-C51D-45E1-96BE-B0CE464851E6}" dt="2023-09-28T11:13:20.422" v="31708" actId="1076"/>
          <ac:spMkLst>
            <pc:docMk/>
            <pc:sldMk cId="172598047" sldId="2147471346"/>
            <ac:spMk id="7" creationId="{797EDE8F-2783-0CA0-F756-320AD9F4E75D}"/>
          </ac:spMkLst>
        </pc:spChg>
        <pc:spChg chg="add mod">
          <ac:chgData name="Sabina PETRASHOVA" userId="7d838aae-e6ab-4ec0-b04f-8f08a9482ebc" providerId="ADAL" clId="{C1847504-C51D-45E1-96BE-B0CE464851E6}" dt="2023-09-28T11:13:24.735" v="31709" actId="1076"/>
          <ac:spMkLst>
            <pc:docMk/>
            <pc:sldMk cId="172598047" sldId="2147471346"/>
            <ac:spMk id="8" creationId="{757DD6D8-49BF-D97A-5065-180520480E55}"/>
          </ac:spMkLst>
        </pc:spChg>
        <pc:spChg chg="add mod">
          <ac:chgData name="Sabina PETRASHOVA" userId="7d838aae-e6ab-4ec0-b04f-8f08a9482ebc" providerId="ADAL" clId="{C1847504-C51D-45E1-96BE-B0CE464851E6}" dt="2023-09-28T11:13:29.093" v="31710" actId="1076"/>
          <ac:spMkLst>
            <pc:docMk/>
            <pc:sldMk cId="172598047" sldId="2147471346"/>
            <ac:spMk id="9" creationId="{7CF69919-73EC-FCB3-28D2-58CE928FA21C}"/>
          </ac:spMkLst>
        </pc:spChg>
        <pc:spChg chg="add mod">
          <ac:chgData name="Sabina PETRASHOVA" userId="7d838aae-e6ab-4ec0-b04f-8f08a9482ebc" providerId="ADAL" clId="{C1847504-C51D-45E1-96BE-B0CE464851E6}" dt="2023-09-28T10:42:22.751" v="31140" actId="1076"/>
          <ac:spMkLst>
            <pc:docMk/>
            <pc:sldMk cId="172598047" sldId="2147471346"/>
            <ac:spMk id="11" creationId="{2FC666DA-169C-A438-EEE0-5E21B6A9D0B8}"/>
          </ac:spMkLst>
        </pc:spChg>
        <pc:spChg chg="add mod">
          <ac:chgData name="Sabina PETRASHOVA" userId="7d838aae-e6ab-4ec0-b04f-8f08a9482ebc" providerId="ADAL" clId="{C1847504-C51D-45E1-96BE-B0CE464851E6}" dt="2023-09-28T11:06:08.557" v="31472"/>
          <ac:spMkLst>
            <pc:docMk/>
            <pc:sldMk cId="172598047" sldId="2147471346"/>
            <ac:spMk id="13" creationId="{6C4EE186-1C4E-FE7D-DE5F-2D0356054B84}"/>
          </ac:spMkLst>
        </pc:spChg>
        <pc:spChg chg="add mod">
          <ac:chgData name="Sabina PETRASHOVA" userId="7d838aae-e6ab-4ec0-b04f-8f08a9482ebc" providerId="ADAL" clId="{C1847504-C51D-45E1-96BE-B0CE464851E6}" dt="2023-09-28T11:12:24.792" v="31704" actId="20577"/>
          <ac:spMkLst>
            <pc:docMk/>
            <pc:sldMk cId="172598047" sldId="2147471346"/>
            <ac:spMk id="15" creationId="{98104BCA-84E7-3ED4-C615-788DD6127E42}"/>
          </ac:spMkLst>
        </pc:spChg>
        <pc:graphicFrameChg chg="add del mod modGraphic">
          <ac:chgData name="Sabina PETRASHOVA" userId="7d838aae-e6ab-4ec0-b04f-8f08a9482ebc" providerId="ADAL" clId="{C1847504-C51D-45E1-96BE-B0CE464851E6}" dt="2023-09-28T10:43:31.661" v="31168" actId="478"/>
          <ac:graphicFrameMkLst>
            <pc:docMk/>
            <pc:sldMk cId="172598047" sldId="2147471346"/>
            <ac:graphicFrameMk id="10" creationId="{4F5164CF-5F7C-D218-0378-1356ED5BE776}"/>
          </ac:graphicFrameMkLst>
        </pc:graphicFrameChg>
        <pc:graphicFrameChg chg="add mod modGraphic">
          <ac:chgData name="Sabina PETRASHOVA" userId="7d838aae-e6ab-4ec0-b04f-8f08a9482ebc" providerId="ADAL" clId="{C1847504-C51D-45E1-96BE-B0CE464851E6}" dt="2023-09-28T11:09:28.336" v="31641"/>
          <ac:graphicFrameMkLst>
            <pc:docMk/>
            <pc:sldMk cId="172598047" sldId="2147471346"/>
            <ac:graphicFrameMk id="12" creationId="{ABA6CD4F-5633-13C9-175B-B70D16BCA14B}"/>
          </ac:graphicFrameMkLst>
        </pc:graphicFrameChg>
        <pc:picChg chg="add mod">
          <ac:chgData name="Sabina PETRASHOVA" userId="7d838aae-e6ab-4ec0-b04f-8f08a9482ebc" providerId="ADAL" clId="{C1847504-C51D-45E1-96BE-B0CE464851E6}" dt="2023-09-28T11:06:08.557" v="31472"/>
          <ac:picMkLst>
            <pc:docMk/>
            <pc:sldMk cId="172598047" sldId="2147471346"/>
            <ac:picMk id="14" creationId="{198AAB14-3D65-9410-80B3-1AEBD27BB5E7}"/>
          </ac:picMkLst>
        </pc:picChg>
      </pc:sldChg>
      <pc:sldChg chg="addSp delSp modSp new del mod">
        <pc:chgData name="Sabina PETRASHOVA" userId="7d838aae-e6ab-4ec0-b04f-8f08a9482ebc" providerId="ADAL" clId="{C1847504-C51D-45E1-96BE-B0CE464851E6}" dt="2023-09-28T13:18:24.020" v="32219" actId="2696"/>
        <pc:sldMkLst>
          <pc:docMk/>
          <pc:sldMk cId="3428476801" sldId="2147471347"/>
        </pc:sldMkLst>
        <pc:spChg chg="mod">
          <ac:chgData name="Sabina PETRASHOVA" userId="7d838aae-e6ab-4ec0-b04f-8f08a9482ebc" providerId="ADAL" clId="{C1847504-C51D-45E1-96BE-B0CE464851E6}" dt="2023-09-28T13:13:58.291" v="32194" actId="20577"/>
          <ac:spMkLst>
            <pc:docMk/>
            <pc:sldMk cId="3428476801" sldId="2147471347"/>
            <ac:spMk id="2" creationId="{3B866E8D-D439-BED7-46CB-4925B7BEFFF0}"/>
          </ac:spMkLst>
        </pc:spChg>
        <pc:spChg chg="add del mod">
          <ac:chgData name="Sabina PETRASHOVA" userId="7d838aae-e6ab-4ec0-b04f-8f08a9482ebc" providerId="ADAL" clId="{C1847504-C51D-45E1-96BE-B0CE464851E6}" dt="2023-09-28T13:14:05.286" v="32196" actId="478"/>
          <ac:spMkLst>
            <pc:docMk/>
            <pc:sldMk cId="3428476801" sldId="2147471347"/>
            <ac:spMk id="5" creationId="{1E644D11-D41C-F8C7-10A1-73BEBA75E3E6}"/>
          </ac:spMkLst>
        </pc:spChg>
        <pc:spChg chg="add mod">
          <ac:chgData name="Sabina PETRASHOVA" userId="7d838aae-e6ab-4ec0-b04f-8f08a9482ebc" providerId="ADAL" clId="{C1847504-C51D-45E1-96BE-B0CE464851E6}" dt="2023-09-28T13:15:27.416" v="32200" actId="14100"/>
          <ac:spMkLst>
            <pc:docMk/>
            <pc:sldMk cId="3428476801" sldId="2147471347"/>
            <ac:spMk id="8" creationId="{E3CF7CE8-A121-17F9-DA63-DEEE30F7DA7C}"/>
          </ac:spMkLst>
        </pc:spChg>
        <pc:spChg chg="add del mod">
          <ac:chgData name="Sabina PETRASHOVA" userId="7d838aae-e6ab-4ec0-b04f-8f08a9482ebc" providerId="ADAL" clId="{C1847504-C51D-45E1-96BE-B0CE464851E6}" dt="2023-09-28T13:15:57.320" v="32208" actId="478"/>
          <ac:spMkLst>
            <pc:docMk/>
            <pc:sldMk cId="3428476801" sldId="2147471347"/>
            <ac:spMk id="10" creationId="{5BE83A38-BAC1-B0BB-AD11-B77F45A2E722}"/>
          </ac:spMkLst>
        </pc:spChg>
        <pc:spChg chg="add del mod">
          <ac:chgData name="Sabina PETRASHOVA" userId="7d838aae-e6ab-4ec0-b04f-8f08a9482ebc" providerId="ADAL" clId="{C1847504-C51D-45E1-96BE-B0CE464851E6}" dt="2023-09-28T13:16:05.861" v="32210" actId="478"/>
          <ac:spMkLst>
            <pc:docMk/>
            <pc:sldMk cId="3428476801" sldId="2147471347"/>
            <ac:spMk id="12" creationId="{8476B197-1B2D-1F24-348C-285B932C2D68}"/>
          </ac:spMkLst>
        </pc:spChg>
        <pc:spChg chg="add del mod">
          <ac:chgData name="Sabina PETRASHOVA" userId="7d838aae-e6ab-4ec0-b04f-8f08a9482ebc" providerId="ADAL" clId="{C1847504-C51D-45E1-96BE-B0CE464851E6}" dt="2023-09-28T13:17:25.186" v="32215" actId="478"/>
          <ac:spMkLst>
            <pc:docMk/>
            <pc:sldMk cId="3428476801" sldId="2147471347"/>
            <ac:spMk id="14" creationId="{93A53972-E6AC-B8ED-19D8-B56160D58843}"/>
          </ac:spMkLst>
        </pc:spChg>
        <pc:graphicFrameChg chg="add del mod modGraphic">
          <ac:chgData name="Sabina PETRASHOVA" userId="7d838aae-e6ab-4ec0-b04f-8f08a9482ebc" providerId="ADAL" clId="{C1847504-C51D-45E1-96BE-B0CE464851E6}" dt="2023-09-28T13:15:38.178" v="32202" actId="478"/>
          <ac:graphicFrameMkLst>
            <pc:docMk/>
            <pc:sldMk cId="3428476801" sldId="2147471347"/>
            <ac:graphicFrameMk id="7" creationId="{283ADBE5-6AB3-AF3C-F33A-35AA72B716A0}"/>
          </ac:graphicFrameMkLst>
        </pc:graphicFrameChg>
        <pc:graphicFrameChg chg="add del mod">
          <ac:chgData name="Sabina PETRASHOVA" userId="7d838aae-e6ab-4ec0-b04f-8f08a9482ebc" providerId="ADAL" clId="{C1847504-C51D-45E1-96BE-B0CE464851E6}" dt="2023-09-28T13:15:57.320" v="32208" actId="478"/>
          <ac:graphicFrameMkLst>
            <pc:docMk/>
            <pc:sldMk cId="3428476801" sldId="2147471347"/>
            <ac:graphicFrameMk id="9" creationId="{CCB6EB83-437E-5CF2-680A-40EC8FCA9893}"/>
          </ac:graphicFrameMkLst>
        </pc:graphicFrameChg>
        <pc:graphicFrameChg chg="add del mod">
          <ac:chgData name="Sabina PETRASHOVA" userId="7d838aae-e6ab-4ec0-b04f-8f08a9482ebc" providerId="ADAL" clId="{C1847504-C51D-45E1-96BE-B0CE464851E6}" dt="2023-09-28T13:16:05.861" v="32210" actId="478"/>
          <ac:graphicFrameMkLst>
            <pc:docMk/>
            <pc:sldMk cId="3428476801" sldId="2147471347"/>
            <ac:graphicFrameMk id="11" creationId="{68922120-29AF-867C-F74B-B2EBFFB0C2B2}"/>
          </ac:graphicFrameMkLst>
        </pc:graphicFrameChg>
        <pc:graphicFrameChg chg="add del mod">
          <ac:chgData name="Sabina PETRASHOVA" userId="7d838aae-e6ab-4ec0-b04f-8f08a9482ebc" providerId="ADAL" clId="{C1847504-C51D-45E1-96BE-B0CE464851E6}" dt="2023-09-28T13:17:25.186" v="32215" actId="478"/>
          <ac:graphicFrameMkLst>
            <pc:docMk/>
            <pc:sldMk cId="3428476801" sldId="2147471347"/>
            <ac:graphicFrameMk id="13" creationId="{2AC274E6-29AC-3FCB-B080-BB7BE841EC0B}"/>
          </ac:graphicFrameMkLst>
        </pc:graphicFrameChg>
        <pc:graphicFrameChg chg="add mod modGraphic">
          <ac:chgData name="Sabina PETRASHOVA" userId="7d838aae-e6ab-4ec0-b04f-8f08a9482ebc" providerId="ADAL" clId="{C1847504-C51D-45E1-96BE-B0CE464851E6}" dt="2023-09-28T13:17:32.818" v="32218" actId="1076"/>
          <ac:graphicFrameMkLst>
            <pc:docMk/>
            <pc:sldMk cId="3428476801" sldId="2147471347"/>
            <ac:graphicFrameMk id="15" creationId="{8A3206AE-BFFF-A810-9F1F-E6C9C09107AC}"/>
          </ac:graphicFrameMkLst>
        </pc:graphicFrameChg>
        <pc:picChg chg="add del mod">
          <ac:chgData name="Sabina PETRASHOVA" userId="7d838aae-e6ab-4ec0-b04f-8f08a9482ebc" providerId="ADAL" clId="{C1847504-C51D-45E1-96BE-B0CE464851E6}" dt="2023-09-28T13:14:05.286" v="32196" actId="478"/>
          <ac:picMkLst>
            <pc:docMk/>
            <pc:sldMk cId="3428476801" sldId="2147471347"/>
            <ac:picMk id="6" creationId="{1E25F7C1-617F-1099-D2E6-CA366BCBB382}"/>
          </ac:picMkLst>
        </pc:picChg>
      </pc:sldChg>
      <pc:sldChg chg="addSp delSp modSp new mod">
        <pc:chgData name="Sabina PETRASHOVA" userId="7d838aae-e6ab-4ec0-b04f-8f08a9482ebc" providerId="ADAL" clId="{C1847504-C51D-45E1-96BE-B0CE464851E6}" dt="2023-09-29T07:38:52.472" v="39200"/>
        <pc:sldMkLst>
          <pc:docMk/>
          <pc:sldMk cId="4063852244" sldId="2147471347"/>
        </pc:sldMkLst>
        <pc:spChg chg="mod">
          <ac:chgData name="Sabina PETRASHOVA" userId="7d838aae-e6ab-4ec0-b04f-8f08a9482ebc" providerId="ADAL" clId="{C1847504-C51D-45E1-96BE-B0CE464851E6}" dt="2023-09-29T05:55:40.728" v="35705" actId="20577"/>
          <ac:spMkLst>
            <pc:docMk/>
            <pc:sldMk cId="4063852244" sldId="2147471347"/>
            <ac:spMk id="2" creationId="{06DCD371-07B4-154D-0817-7EA8C4309381}"/>
          </ac:spMkLst>
        </pc:spChg>
        <pc:spChg chg="add del mod">
          <ac:chgData name="Sabina PETRASHOVA" userId="7d838aae-e6ab-4ec0-b04f-8f08a9482ebc" providerId="ADAL" clId="{C1847504-C51D-45E1-96BE-B0CE464851E6}" dt="2023-09-28T15:40:08.783" v="34258" actId="478"/>
          <ac:spMkLst>
            <pc:docMk/>
            <pc:sldMk cId="4063852244" sldId="2147471347"/>
            <ac:spMk id="5" creationId="{03DB7343-34F9-553C-2535-64850FDCE65B}"/>
          </ac:spMkLst>
        </pc:spChg>
        <pc:spChg chg="add del mod">
          <ac:chgData name="Sabina PETRASHOVA" userId="7d838aae-e6ab-4ec0-b04f-8f08a9482ebc" providerId="ADAL" clId="{C1847504-C51D-45E1-96BE-B0CE464851E6}" dt="2023-09-28T15:40:10.395" v="34259" actId="478"/>
          <ac:spMkLst>
            <pc:docMk/>
            <pc:sldMk cId="4063852244" sldId="2147471347"/>
            <ac:spMk id="6" creationId="{9B561857-600F-5408-2D78-BD53A435E635}"/>
          </ac:spMkLst>
        </pc:spChg>
        <pc:spChg chg="add del mod">
          <ac:chgData name="Sabina PETRASHOVA" userId="7d838aae-e6ab-4ec0-b04f-8f08a9482ebc" providerId="ADAL" clId="{C1847504-C51D-45E1-96BE-B0CE464851E6}" dt="2023-09-28T15:40:05.739" v="34256" actId="478"/>
          <ac:spMkLst>
            <pc:docMk/>
            <pc:sldMk cId="4063852244" sldId="2147471347"/>
            <ac:spMk id="7" creationId="{1E607A6C-4FDD-D8AB-9E01-B9021C14B349}"/>
          </ac:spMkLst>
        </pc:spChg>
        <pc:spChg chg="add mod">
          <ac:chgData name="Sabina PETRASHOVA" userId="7d838aae-e6ab-4ec0-b04f-8f08a9482ebc" providerId="ADAL" clId="{C1847504-C51D-45E1-96BE-B0CE464851E6}" dt="2023-09-29T05:59:46.328" v="35720" actId="1076"/>
          <ac:spMkLst>
            <pc:docMk/>
            <pc:sldMk cId="4063852244" sldId="2147471347"/>
            <ac:spMk id="10" creationId="{242664DF-F13D-4090-4D3C-51B032A5D3FF}"/>
          </ac:spMkLst>
        </pc:spChg>
        <pc:spChg chg="add mod">
          <ac:chgData name="Sabina PETRASHOVA" userId="7d838aae-e6ab-4ec0-b04f-8f08a9482ebc" providerId="ADAL" clId="{C1847504-C51D-45E1-96BE-B0CE464851E6}" dt="2023-09-29T05:58:24.941" v="35719" actId="1076"/>
          <ac:spMkLst>
            <pc:docMk/>
            <pc:sldMk cId="4063852244" sldId="2147471347"/>
            <ac:spMk id="11" creationId="{FA583703-6325-BF4C-A119-98E2F5026F98}"/>
          </ac:spMkLst>
        </pc:spChg>
        <pc:spChg chg="add del">
          <ac:chgData name="Sabina PETRASHOVA" userId="7d838aae-e6ab-4ec0-b04f-8f08a9482ebc" providerId="ADAL" clId="{C1847504-C51D-45E1-96BE-B0CE464851E6}" dt="2023-09-28T15:40:33.102" v="34261" actId="478"/>
          <ac:spMkLst>
            <pc:docMk/>
            <pc:sldMk cId="4063852244" sldId="2147471347"/>
            <ac:spMk id="13" creationId="{53DAEDB1-7A90-C750-2ABC-6C370B4D98A6}"/>
          </ac:spMkLst>
        </pc:spChg>
        <pc:spChg chg="add mod">
          <ac:chgData name="Sabina PETRASHOVA" userId="7d838aae-e6ab-4ec0-b04f-8f08a9482ebc" providerId="ADAL" clId="{C1847504-C51D-45E1-96BE-B0CE464851E6}" dt="2023-09-29T07:38:52.472" v="39200"/>
          <ac:spMkLst>
            <pc:docMk/>
            <pc:sldMk cId="4063852244" sldId="2147471347"/>
            <ac:spMk id="15" creationId="{36717524-6865-F2C3-1747-F9E09F98CE5D}"/>
          </ac:spMkLst>
        </pc:spChg>
        <pc:graphicFrameChg chg="add del mod">
          <ac:chgData name="Sabina PETRASHOVA" userId="7d838aae-e6ab-4ec0-b04f-8f08a9482ebc" providerId="ADAL" clId="{C1847504-C51D-45E1-96BE-B0CE464851E6}" dt="2023-09-28T15:40:55.843" v="34266" actId="21"/>
          <ac:graphicFrameMkLst>
            <pc:docMk/>
            <pc:sldMk cId="4063852244" sldId="2147471347"/>
            <ac:graphicFrameMk id="14" creationId="{3CBC688B-261C-6CCD-7876-86349D5D8F53}"/>
          </ac:graphicFrameMkLst>
        </pc:graphicFrameChg>
        <pc:picChg chg="add mod">
          <ac:chgData name="Sabina PETRASHOVA" userId="7d838aae-e6ab-4ec0-b04f-8f08a9482ebc" providerId="ADAL" clId="{C1847504-C51D-45E1-96BE-B0CE464851E6}" dt="2023-09-29T05:57:13.369" v="35713" actId="1076"/>
          <ac:picMkLst>
            <pc:docMk/>
            <pc:sldMk cId="4063852244" sldId="2147471347"/>
            <ac:picMk id="9" creationId="{B5280B19-1F05-C604-7E59-74FAC9805F00}"/>
          </ac:picMkLst>
        </pc:picChg>
        <pc:picChg chg="add mod">
          <ac:chgData name="Sabina PETRASHOVA" userId="7d838aae-e6ab-4ec0-b04f-8f08a9482ebc" providerId="ADAL" clId="{C1847504-C51D-45E1-96BE-B0CE464851E6}" dt="2023-09-29T07:38:52.472" v="39200"/>
          <ac:picMkLst>
            <pc:docMk/>
            <pc:sldMk cId="4063852244" sldId="2147471347"/>
            <ac:picMk id="16" creationId="{735069A0-2827-EF87-EAF5-C9F9DFD28FE5}"/>
          </ac:picMkLst>
        </pc:picChg>
      </pc:sldChg>
      <pc:sldChg chg="addSp modSp new mod ord">
        <pc:chgData name="Sabina PETRASHOVA" userId="7d838aae-e6ab-4ec0-b04f-8f08a9482ebc" providerId="ADAL" clId="{C1847504-C51D-45E1-96BE-B0CE464851E6}" dt="2023-09-29T07:44:04.657" v="39225" actId="113"/>
        <pc:sldMkLst>
          <pc:docMk/>
          <pc:sldMk cId="468025886" sldId="2147471348"/>
        </pc:sldMkLst>
        <pc:spChg chg="mod">
          <ac:chgData name="Sabina PETRASHOVA" userId="7d838aae-e6ab-4ec0-b04f-8f08a9482ebc" providerId="ADAL" clId="{C1847504-C51D-45E1-96BE-B0CE464851E6}" dt="2023-09-29T07:43:56.032" v="39223" actId="20577"/>
          <ac:spMkLst>
            <pc:docMk/>
            <pc:sldMk cId="468025886" sldId="2147471348"/>
            <ac:spMk id="2" creationId="{B8EC8312-638B-CA48-65FA-1B01FD16A496}"/>
          </ac:spMkLst>
        </pc:spChg>
        <pc:spChg chg="add mod">
          <ac:chgData name="Sabina PETRASHOVA" userId="7d838aae-e6ab-4ec0-b04f-8f08a9482ebc" providerId="ADAL" clId="{C1847504-C51D-45E1-96BE-B0CE464851E6}" dt="2023-09-29T06:00:12.947" v="35724" actId="1076"/>
          <ac:spMkLst>
            <pc:docMk/>
            <pc:sldMk cId="468025886" sldId="2147471348"/>
            <ac:spMk id="6" creationId="{9CD435BA-1163-B1E8-D2CF-1401DD056452}"/>
          </ac:spMkLst>
        </pc:spChg>
        <pc:spChg chg="add mod">
          <ac:chgData name="Sabina PETRASHOVA" userId="7d838aae-e6ab-4ec0-b04f-8f08a9482ebc" providerId="ADAL" clId="{C1847504-C51D-45E1-96BE-B0CE464851E6}" dt="2023-09-29T07:44:04.657" v="39225" actId="113"/>
          <ac:spMkLst>
            <pc:docMk/>
            <pc:sldMk cId="468025886" sldId="2147471348"/>
            <ac:spMk id="7" creationId="{00C76ED9-6F6B-AF51-1F52-3662579EDE5E}"/>
          </ac:spMkLst>
        </pc:spChg>
        <pc:spChg chg="add mod">
          <ac:chgData name="Sabina PETRASHOVA" userId="7d838aae-e6ab-4ec0-b04f-8f08a9482ebc" providerId="ADAL" clId="{C1847504-C51D-45E1-96BE-B0CE464851E6}" dt="2023-09-29T07:38:50.331" v="39199"/>
          <ac:spMkLst>
            <pc:docMk/>
            <pc:sldMk cId="468025886" sldId="2147471348"/>
            <ac:spMk id="8" creationId="{A1B67923-7732-4F04-A962-2E008ED4CFA2}"/>
          </ac:spMkLst>
        </pc:spChg>
        <pc:graphicFrameChg chg="add mod modGraphic">
          <ac:chgData name="Sabina PETRASHOVA" userId="7d838aae-e6ab-4ec0-b04f-8f08a9482ebc" providerId="ADAL" clId="{C1847504-C51D-45E1-96BE-B0CE464851E6}" dt="2023-09-29T06:00:20.341" v="35725" actId="1076"/>
          <ac:graphicFrameMkLst>
            <pc:docMk/>
            <pc:sldMk cId="468025886" sldId="2147471348"/>
            <ac:graphicFrameMk id="5" creationId="{DEFD7BDA-5FD8-A35F-D38E-69D5DCFD4664}"/>
          </ac:graphicFrameMkLst>
        </pc:graphicFrameChg>
        <pc:picChg chg="add mod">
          <ac:chgData name="Sabina PETRASHOVA" userId="7d838aae-e6ab-4ec0-b04f-8f08a9482ebc" providerId="ADAL" clId="{C1847504-C51D-45E1-96BE-B0CE464851E6}" dt="2023-09-29T07:38:50.331" v="39199"/>
          <ac:picMkLst>
            <pc:docMk/>
            <pc:sldMk cId="468025886" sldId="2147471348"/>
            <ac:picMk id="9" creationId="{0D38A49F-66C2-4648-12E1-16D7C9A7CF69}"/>
          </ac:picMkLst>
        </pc:picChg>
      </pc:sldChg>
      <pc:sldChg chg="addSp delSp modSp new mod">
        <pc:chgData name="Sabina PETRASHOVA" userId="7d838aae-e6ab-4ec0-b04f-8f08a9482ebc" providerId="ADAL" clId="{C1847504-C51D-45E1-96BE-B0CE464851E6}" dt="2023-09-29T07:38:12.595" v="39198" actId="20577"/>
        <pc:sldMkLst>
          <pc:docMk/>
          <pc:sldMk cId="216837020" sldId="2147471349"/>
        </pc:sldMkLst>
        <pc:spChg chg="mod">
          <ac:chgData name="Sabina PETRASHOVA" userId="7d838aae-e6ab-4ec0-b04f-8f08a9482ebc" providerId="ADAL" clId="{C1847504-C51D-45E1-96BE-B0CE464851E6}" dt="2023-09-29T07:38:12.595" v="39198" actId="20577"/>
          <ac:spMkLst>
            <pc:docMk/>
            <pc:sldMk cId="216837020" sldId="2147471349"/>
            <ac:spMk id="2" creationId="{011C40F3-389D-A009-1162-BCB6B0B9D441}"/>
          </ac:spMkLst>
        </pc:spChg>
        <pc:spChg chg="add del mod">
          <ac:chgData name="Sabina PETRASHOVA" userId="7d838aae-e6ab-4ec0-b04f-8f08a9482ebc" providerId="ADAL" clId="{C1847504-C51D-45E1-96BE-B0CE464851E6}" dt="2023-09-29T06:23:48.173" v="36288" actId="478"/>
          <ac:spMkLst>
            <pc:docMk/>
            <pc:sldMk cId="216837020" sldId="2147471349"/>
            <ac:spMk id="5" creationId="{C1E98DDF-CFC3-0EEF-4FE7-89B3E3F7DFE5}"/>
          </ac:spMkLst>
        </pc:spChg>
        <pc:spChg chg="add del mod">
          <ac:chgData name="Sabina PETRASHOVA" userId="7d838aae-e6ab-4ec0-b04f-8f08a9482ebc" providerId="ADAL" clId="{C1847504-C51D-45E1-96BE-B0CE464851E6}" dt="2023-09-29T07:15:39.637" v="38544" actId="478"/>
          <ac:spMkLst>
            <pc:docMk/>
            <pc:sldMk cId="216837020" sldId="2147471349"/>
            <ac:spMk id="6" creationId="{2215F63E-6A43-1084-3172-D94A81DBA35B}"/>
          </ac:spMkLst>
        </pc:spChg>
        <pc:spChg chg="add del mod">
          <ac:chgData name="Sabina PETRASHOVA" userId="7d838aae-e6ab-4ec0-b04f-8f08a9482ebc" providerId="ADAL" clId="{C1847504-C51D-45E1-96BE-B0CE464851E6}" dt="2023-09-29T06:26:17.850" v="36663" actId="478"/>
          <ac:spMkLst>
            <pc:docMk/>
            <pc:sldMk cId="216837020" sldId="2147471349"/>
            <ac:spMk id="7" creationId="{909CEF12-813A-2FBA-DA63-B2EA33242080}"/>
          </ac:spMkLst>
        </pc:spChg>
        <pc:spChg chg="add mod">
          <ac:chgData name="Sabina PETRASHOVA" userId="7d838aae-e6ab-4ec0-b04f-8f08a9482ebc" providerId="ADAL" clId="{C1847504-C51D-45E1-96BE-B0CE464851E6}" dt="2023-09-29T07:34:00.462" v="38974" actId="20577"/>
          <ac:spMkLst>
            <pc:docMk/>
            <pc:sldMk cId="216837020" sldId="2147471349"/>
            <ac:spMk id="8" creationId="{738C422E-8FAA-4DF4-5084-04B9BB669B47}"/>
          </ac:spMkLst>
        </pc:spChg>
        <pc:spChg chg="add mod">
          <ac:chgData name="Sabina PETRASHOVA" userId="7d838aae-e6ab-4ec0-b04f-8f08a9482ebc" providerId="ADAL" clId="{C1847504-C51D-45E1-96BE-B0CE464851E6}" dt="2023-09-29T07:34:48.796" v="39050" actId="20577"/>
          <ac:spMkLst>
            <pc:docMk/>
            <pc:sldMk cId="216837020" sldId="2147471349"/>
            <ac:spMk id="9" creationId="{BD0A3FCB-2149-B059-DBA8-93F1B2A20884}"/>
          </ac:spMkLst>
        </pc:spChg>
        <pc:spChg chg="add mod">
          <ac:chgData name="Sabina PETRASHOVA" userId="7d838aae-e6ab-4ec0-b04f-8f08a9482ebc" providerId="ADAL" clId="{C1847504-C51D-45E1-96BE-B0CE464851E6}" dt="2023-09-29T07:24:33.292" v="38972" actId="1036"/>
          <ac:spMkLst>
            <pc:docMk/>
            <pc:sldMk cId="216837020" sldId="2147471349"/>
            <ac:spMk id="10" creationId="{17D0BC2D-C90E-5AC7-41AA-588777B40D89}"/>
          </ac:spMkLst>
        </pc:spChg>
        <pc:spChg chg="add del mod">
          <ac:chgData name="Sabina PETRASHOVA" userId="7d838aae-e6ab-4ec0-b04f-8f08a9482ebc" providerId="ADAL" clId="{C1847504-C51D-45E1-96BE-B0CE464851E6}" dt="2023-09-29T07:13:32.621" v="38461" actId="478"/>
          <ac:spMkLst>
            <pc:docMk/>
            <pc:sldMk cId="216837020" sldId="2147471349"/>
            <ac:spMk id="11" creationId="{76FF6851-BACB-2F83-1BB5-FEAA63195004}"/>
          </ac:spMkLst>
        </pc:spChg>
        <pc:spChg chg="add del mod">
          <ac:chgData name="Sabina PETRASHOVA" userId="7d838aae-e6ab-4ec0-b04f-8f08a9482ebc" providerId="ADAL" clId="{C1847504-C51D-45E1-96BE-B0CE464851E6}" dt="2023-09-29T07:13:30.750" v="38460" actId="478"/>
          <ac:spMkLst>
            <pc:docMk/>
            <pc:sldMk cId="216837020" sldId="2147471349"/>
            <ac:spMk id="12" creationId="{219EA0C6-01ED-FC7D-7DB5-B99F51AD7054}"/>
          </ac:spMkLst>
        </pc:spChg>
        <pc:spChg chg="add mod">
          <ac:chgData name="Sabina PETRASHOVA" userId="7d838aae-e6ab-4ec0-b04f-8f08a9482ebc" providerId="ADAL" clId="{C1847504-C51D-45E1-96BE-B0CE464851E6}" dt="2023-09-29T07:37:12.780" v="39108" actId="20577"/>
          <ac:spMkLst>
            <pc:docMk/>
            <pc:sldMk cId="216837020" sldId="2147471349"/>
            <ac:spMk id="13" creationId="{E2A4B86A-CB69-F24C-3ED1-E03D44A6DB92}"/>
          </ac:spMkLst>
        </pc:spChg>
        <pc:spChg chg="add mod">
          <ac:chgData name="Sabina PETRASHOVA" userId="7d838aae-e6ab-4ec0-b04f-8f08a9482ebc" providerId="ADAL" clId="{C1847504-C51D-45E1-96BE-B0CE464851E6}" dt="2023-09-29T07:24:33.292" v="38972" actId="1036"/>
          <ac:spMkLst>
            <pc:docMk/>
            <pc:sldMk cId="216837020" sldId="2147471349"/>
            <ac:spMk id="14" creationId="{A5FFCDE0-9EF3-2A07-E288-4F34F8BC2B71}"/>
          </ac:spMkLst>
        </pc:spChg>
      </pc:sldChg>
      <pc:sldMasterChg chg="delSldLayout">
        <pc:chgData name="Sabina PETRASHOVA" userId="7d838aae-e6ab-4ec0-b04f-8f08a9482ebc" providerId="ADAL" clId="{C1847504-C51D-45E1-96BE-B0CE464851E6}" dt="2023-09-22T14:02:46.604" v="20961" actId="2696"/>
        <pc:sldMasterMkLst>
          <pc:docMk/>
          <pc:sldMasterMk cId="3605024799" sldId="2147484446"/>
        </pc:sldMasterMkLst>
        <pc:sldLayoutChg chg="del">
          <pc:chgData name="Sabina PETRASHOVA" userId="7d838aae-e6ab-4ec0-b04f-8f08a9482ebc" providerId="ADAL" clId="{C1847504-C51D-45E1-96BE-B0CE464851E6}" dt="2023-09-22T14:02:46.604" v="20961" actId="2696"/>
          <pc:sldLayoutMkLst>
            <pc:docMk/>
            <pc:sldMasterMk cId="3605024799" sldId="2147484446"/>
            <pc:sldLayoutMk cId="1649610770" sldId="2147484583"/>
          </pc:sldLayoutMkLst>
        </pc:sldLayoutChg>
      </pc:sldMasterChg>
    </pc:docChg>
  </pc:docChgLst>
  <pc:docChgLst>
    <pc:chgData name="Paul LEGEARD" userId="73b5704d-da1d-4b70-8e12-6d54d32b01a3" providerId="ADAL" clId="{7C3CA13B-C258-4FF6-9B64-A9AA50911EE2}"/>
    <pc:docChg chg="undo custSel addSld delSld modSld sldOrd">
      <pc:chgData name="Paul LEGEARD" userId="73b5704d-da1d-4b70-8e12-6d54d32b01a3" providerId="ADAL" clId="{7C3CA13B-C258-4FF6-9B64-A9AA50911EE2}" dt="2023-04-14T13:48:41.371" v="29"/>
      <pc:docMkLst>
        <pc:docMk/>
      </pc:docMkLst>
      <pc:sldChg chg="add del">
        <pc:chgData name="Paul LEGEARD" userId="73b5704d-da1d-4b70-8e12-6d54d32b01a3" providerId="ADAL" clId="{7C3CA13B-C258-4FF6-9B64-A9AA50911EE2}" dt="2023-04-14T13:48:16.159" v="19"/>
        <pc:sldMkLst>
          <pc:docMk/>
          <pc:sldMk cId="3001679096" sldId="258"/>
        </pc:sldMkLst>
      </pc:sldChg>
      <pc:sldChg chg="add del">
        <pc:chgData name="Paul LEGEARD" userId="73b5704d-da1d-4b70-8e12-6d54d32b01a3" providerId="ADAL" clId="{7C3CA13B-C258-4FF6-9B64-A9AA50911EE2}" dt="2023-04-14T13:48:16.159" v="19"/>
        <pc:sldMkLst>
          <pc:docMk/>
          <pc:sldMk cId="1635881331" sldId="259"/>
        </pc:sldMkLst>
      </pc:sldChg>
      <pc:sldChg chg="add del">
        <pc:chgData name="Paul LEGEARD" userId="73b5704d-da1d-4b70-8e12-6d54d32b01a3" providerId="ADAL" clId="{7C3CA13B-C258-4FF6-9B64-A9AA50911EE2}" dt="2023-04-14T13:48:16.159" v="19"/>
        <pc:sldMkLst>
          <pc:docMk/>
          <pc:sldMk cId="914707366" sldId="261"/>
        </pc:sldMkLst>
      </pc:sldChg>
      <pc:sldChg chg="add del">
        <pc:chgData name="Paul LEGEARD" userId="73b5704d-da1d-4b70-8e12-6d54d32b01a3" providerId="ADAL" clId="{7C3CA13B-C258-4FF6-9B64-A9AA50911EE2}" dt="2023-04-14T13:48:29.973" v="25" actId="47"/>
        <pc:sldMkLst>
          <pc:docMk/>
          <pc:sldMk cId="815473112" sldId="282"/>
        </pc:sldMkLst>
      </pc:sldChg>
      <pc:sldChg chg="add del">
        <pc:chgData name="Paul LEGEARD" userId="73b5704d-da1d-4b70-8e12-6d54d32b01a3" providerId="ADAL" clId="{7C3CA13B-C258-4FF6-9B64-A9AA50911EE2}" dt="2023-04-14T13:48:16.159" v="19"/>
        <pc:sldMkLst>
          <pc:docMk/>
          <pc:sldMk cId="2257479677" sldId="300"/>
        </pc:sldMkLst>
      </pc:sldChg>
      <pc:sldChg chg="add del">
        <pc:chgData name="Paul LEGEARD" userId="73b5704d-da1d-4b70-8e12-6d54d32b01a3" providerId="ADAL" clId="{7C3CA13B-C258-4FF6-9B64-A9AA50911EE2}" dt="2023-04-14T13:48:16.159" v="19"/>
        <pc:sldMkLst>
          <pc:docMk/>
          <pc:sldMk cId="2371040918" sldId="301"/>
        </pc:sldMkLst>
      </pc:sldChg>
      <pc:sldChg chg="add del">
        <pc:chgData name="Paul LEGEARD" userId="73b5704d-da1d-4b70-8e12-6d54d32b01a3" providerId="ADAL" clId="{7C3CA13B-C258-4FF6-9B64-A9AA50911EE2}" dt="2023-04-14T13:48:16.159" v="19"/>
        <pc:sldMkLst>
          <pc:docMk/>
          <pc:sldMk cId="1596807615" sldId="303"/>
        </pc:sldMkLst>
      </pc:sldChg>
      <pc:sldChg chg="add del">
        <pc:chgData name="Paul LEGEARD" userId="73b5704d-da1d-4b70-8e12-6d54d32b01a3" providerId="ADAL" clId="{7C3CA13B-C258-4FF6-9B64-A9AA50911EE2}" dt="2023-04-14T13:48:16.159" v="19"/>
        <pc:sldMkLst>
          <pc:docMk/>
          <pc:sldMk cId="2332633382" sldId="304"/>
        </pc:sldMkLst>
      </pc:sldChg>
      <pc:sldChg chg="add del">
        <pc:chgData name="Paul LEGEARD" userId="73b5704d-da1d-4b70-8e12-6d54d32b01a3" providerId="ADAL" clId="{7C3CA13B-C258-4FF6-9B64-A9AA50911EE2}" dt="2023-04-14T13:48:16.159" v="19"/>
        <pc:sldMkLst>
          <pc:docMk/>
          <pc:sldMk cId="3508893578" sldId="2076137333"/>
        </pc:sldMkLst>
      </pc:sldChg>
      <pc:sldChg chg="add del">
        <pc:chgData name="Paul LEGEARD" userId="73b5704d-da1d-4b70-8e12-6d54d32b01a3" providerId="ADAL" clId="{7C3CA13B-C258-4FF6-9B64-A9AA50911EE2}" dt="2023-04-14T13:48:23.158" v="20" actId="47"/>
        <pc:sldMkLst>
          <pc:docMk/>
          <pc:sldMk cId="363425827" sldId="2142532893"/>
        </pc:sldMkLst>
      </pc:sldChg>
      <pc:sldChg chg="add del">
        <pc:chgData name="Paul LEGEARD" userId="73b5704d-da1d-4b70-8e12-6d54d32b01a3" providerId="ADAL" clId="{7C3CA13B-C258-4FF6-9B64-A9AA50911EE2}" dt="2023-04-14T13:48:16.159" v="19"/>
        <pc:sldMkLst>
          <pc:docMk/>
          <pc:sldMk cId="3306201414" sldId="2145706657"/>
        </pc:sldMkLst>
      </pc:sldChg>
      <pc:sldChg chg="add del">
        <pc:chgData name="Paul LEGEARD" userId="73b5704d-da1d-4b70-8e12-6d54d32b01a3" providerId="ADAL" clId="{7C3CA13B-C258-4FF6-9B64-A9AA50911EE2}" dt="2023-04-14T13:48:16.159" v="19"/>
        <pc:sldMkLst>
          <pc:docMk/>
          <pc:sldMk cId="3246775602" sldId="2145706663"/>
        </pc:sldMkLst>
      </pc:sldChg>
      <pc:sldChg chg="modSp add del mod">
        <pc:chgData name="Paul LEGEARD" userId="73b5704d-da1d-4b70-8e12-6d54d32b01a3" providerId="ADAL" clId="{7C3CA13B-C258-4FF6-9B64-A9AA50911EE2}" dt="2023-04-14T13:48:16.159" v="19"/>
        <pc:sldMkLst>
          <pc:docMk/>
          <pc:sldMk cId="656782718" sldId="2145706664"/>
        </pc:sldMkLst>
        <pc:spChg chg="mod">
          <ac:chgData name="Paul LEGEARD" userId="73b5704d-da1d-4b70-8e12-6d54d32b01a3" providerId="ADAL" clId="{7C3CA13B-C258-4FF6-9B64-A9AA50911EE2}" dt="2023-04-14T13:48:12.965" v="18"/>
          <ac:spMkLst>
            <pc:docMk/>
            <pc:sldMk cId="656782718" sldId="2145706664"/>
            <ac:spMk id="2" creationId="{00000000-0000-0000-0000-000000000000}"/>
          </ac:spMkLst>
        </pc:spChg>
      </pc:sldChg>
      <pc:sldChg chg="add del">
        <pc:chgData name="Paul LEGEARD" userId="73b5704d-da1d-4b70-8e12-6d54d32b01a3" providerId="ADAL" clId="{7C3CA13B-C258-4FF6-9B64-A9AA50911EE2}" dt="2023-04-14T13:48:16.159" v="19"/>
        <pc:sldMkLst>
          <pc:docMk/>
          <pc:sldMk cId="3106551981" sldId="2145706672"/>
        </pc:sldMkLst>
      </pc:sldChg>
      <pc:sldChg chg="add del">
        <pc:chgData name="Paul LEGEARD" userId="73b5704d-da1d-4b70-8e12-6d54d32b01a3" providerId="ADAL" clId="{7C3CA13B-C258-4FF6-9B64-A9AA50911EE2}" dt="2023-04-14T13:48:16.159" v="19"/>
        <pc:sldMkLst>
          <pc:docMk/>
          <pc:sldMk cId="3494230772" sldId="2145706679"/>
        </pc:sldMkLst>
      </pc:sldChg>
      <pc:sldChg chg="add del">
        <pc:chgData name="Paul LEGEARD" userId="73b5704d-da1d-4b70-8e12-6d54d32b01a3" providerId="ADAL" clId="{7C3CA13B-C258-4FF6-9B64-A9AA50911EE2}" dt="2023-04-14T13:48:16.159" v="19"/>
        <pc:sldMkLst>
          <pc:docMk/>
          <pc:sldMk cId="3546084662" sldId="2145706680"/>
        </pc:sldMkLst>
      </pc:sldChg>
      <pc:sldChg chg="add del">
        <pc:chgData name="Paul LEGEARD" userId="73b5704d-da1d-4b70-8e12-6d54d32b01a3" providerId="ADAL" clId="{7C3CA13B-C258-4FF6-9B64-A9AA50911EE2}" dt="2023-04-14T13:48:16.159" v="19"/>
        <pc:sldMkLst>
          <pc:docMk/>
          <pc:sldMk cId="3972430632" sldId="2145706682"/>
        </pc:sldMkLst>
      </pc:sldChg>
      <pc:sldChg chg="add del">
        <pc:chgData name="Paul LEGEARD" userId="73b5704d-da1d-4b70-8e12-6d54d32b01a3" providerId="ADAL" clId="{7C3CA13B-C258-4FF6-9B64-A9AA50911EE2}" dt="2023-04-14T13:48:26.256" v="21" actId="47"/>
        <pc:sldMkLst>
          <pc:docMk/>
          <pc:sldMk cId="3702944290" sldId="2145706685"/>
        </pc:sldMkLst>
      </pc:sldChg>
      <pc:sldChg chg="add del">
        <pc:chgData name="Paul LEGEARD" userId="73b5704d-da1d-4b70-8e12-6d54d32b01a3" providerId="ADAL" clId="{7C3CA13B-C258-4FF6-9B64-A9AA50911EE2}" dt="2023-04-14T13:48:28.445" v="23" actId="47"/>
        <pc:sldMkLst>
          <pc:docMk/>
          <pc:sldMk cId="610561435" sldId="2145706686"/>
        </pc:sldMkLst>
      </pc:sldChg>
      <pc:sldChg chg="add del">
        <pc:chgData name="Paul LEGEARD" userId="73b5704d-da1d-4b70-8e12-6d54d32b01a3" providerId="ADAL" clId="{7C3CA13B-C258-4FF6-9B64-A9AA50911EE2}" dt="2023-04-14T13:48:28.021" v="22" actId="47"/>
        <pc:sldMkLst>
          <pc:docMk/>
          <pc:sldMk cId="3043692328" sldId="2145706687"/>
        </pc:sldMkLst>
      </pc:sldChg>
      <pc:sldChg chg="add del">
        <pc:chgData name="Paul LEGEARD" userId="73b5704d-da1d-4b70-8e12-6d54d32b01a3" providerId="ADAL" clId="{7C3CA13B-C258-4FF6-9B64-A9AA50911EE2}" dt="2023-04-14T13:48:28.933" v="24" actId="47"/>
        <pc:sldMkLst>
          <pc:docMk/>
          <pc:sldMk cId="3768129719" sldId="2145706688"/>
        </pc:sldMkLst>
      </pc:sldChg>
      <pc:sldChg chg="add del">
        <pc:chgData name="Paul LEGEARD" userId="73b5704d-da1d-4b70-8e12-6d54d32b01a3" providerId="ADAL" clId="{7C3CA13B-C258-4FF6-9B64-A9AA50911EE2}" dt="2023-04-14T13:48:16.159" v="19"/>
        <pc:sldMkLst>
          <pc:docMk/>
          <pc:sldMk cId="2038556993" sldId="2145706694"/>
        </pc:sldMkLst>
      </pc:sldChg>
      <pc:sldChg chg="add del">
        <pc:chgData name="Paul LEGEARD" userId="73b5704d-da1d-4b70-8e12-6d54d32b01a3" providerId="ADAL" clId="{7C3CA13B-C258-4FF6-9B64-A9AA50911EE2}" dt="2023-04-14T13:48:16.159" v="19"/>
        <pc:sldMkLst>
          <pc:docMk/>
          <pc:sldMk cId="2861809876" sldId="2145706695"/>
        </pc:sldMkLst>
      </pc:sldChg>
      <pc:sldChg chg="modSp add del mod">
        <pc:chgData name="Paul LEGEARD" userId="73b5704d-da1d-4b70-8e12-6d54d32b01a3" providerId="ADAL" clId="{7C3CA13B-C258-4FF6-9B64-A9AA50911EE2}" dt="2023-04-14T13:48:16.159" v="19"/>
        <pc:sldMkLst>
          <pc:docMk/>
          <pc:sldMk cId="1235266948" sldId="2145706697"/>
        </pc:sldMkLst>
        <pc:spChg chg="mod">
          <ac:chgData name="Paul LEGEARD" userId="73b5704d-da1d-4b70-8e12-6d54d32b01a3" providerId="ADAL" clId="{7C3CA13B-C258-4FF6-9B64-A9AA50911EE2}" dt="2023-04-14T13:48:12.965" v="18"/>
          <ac:spMkLst>
            <pc:docMk/>
            <pc:sldMk cId="1235266948" sldId="2145706697"/>
            <ac:spMk id="2" creationId="{00000000-0000-0000-0000-000000000000}"/>
          </ac:spMkLst>
        </pc:spChg>
      </pc:sldChg>
      <pc:sldChg chg="modSp add del mod ord">
        <pc:chgData name="Paul LEGEARD" userId="73b5704d-da1d-4b70-8e12-6d54d32b01a3" providerId="ADAL" clId="{7C3CA13B-C258-4FF6-9B64-A9AA50911EE2}" dt="2023-04-14T13:48:41.371" v="29"/>
        <pc:sldMkLst>
          <pc:docMk/>
          <pc:sldMk cId="1875023293" sldId="2145706715"/>
        </pc:sldMkLst>
        <pc:spChg chg="mod">
          <ac:chgData name="Paul LEGEARD" userId="73b5704d-da1d-4b70-8e12-6d54d32b01a3" providerId="ADAL" clId="{7C3CA13B-C258-4FF6-9B64-A9AA50911EE2}" dt="2023-04-14T13:48:12.965" v="18"/>
          <ac:spMkLst>
            <pc:docMk/>
            <pc:sldMk cId="1875023293" sldId="2145706715"/>
            <ac:spMk id="2" creationId="{00000000-0000-0000-0000-000000000000}"/>
          </ac:spMkLst>
        </pc:spChg>
      </pc:sldChg>
      <pc:sldChg chg="add del">
        <pc:chgData name="Paul LEGEARD" userId="73b5704d-da1d-4b70-8e12-6d54d32b01a3" providerId="ADAL" clId="{7C3CA13B-C258-4FF6-9B64-A9AA50911EE2}" dt="2023-04-14T13:48:16.159" v="19"/>
        <pc:sldMkLst>
          <pc:docMk/>
          <pc:sldMk cId="3285664514" sldId="2145706718"/>
        </pc:sldMkLst>
      </pc:sldChg>
      <pc:sldChg chg="modSp add del mod">
        <pc:chgData name="Paul LEGEARD" userId="73b5704d-da1d-4b70-8e12-6d54d32b01a3" providerId="ADAL" clId="{7C3CA13B-C258-4FF6-9B64-A9AA50911EE2}" dt="2023-04-14T13:48:16.159" v="19"/>
        <pc:sldMkLst>
          <pc:docMk/>
          <pc:sldMk cId="2899286123" sldId="2145706719"/>
        </pc:sldMkLst>
        <pc:spChg chg="mod">
          <ac:chgData name="Paul LEGEARD" userId="73b5704d-da1d-4b70-8e12-6d54d32b01a3" providerId="ADAL" clId="{7C3CA13B-C258-4FF6-9B64-A9AA50911EE2}" dt="2023-04-14T13:48:12.965" v="18"/>
          <ac:spMkLst>
            <pc:docMk/>
            <pc:sldMk cId="2899286123" sldId="2145706719"/>
            <ac:spMk id="2" creationId="{526E8783-F0BA-1153-30DF-4E6E7C0D7B80}"/>
          </ac:spMkLst>
        </pc:spChg>
      </pc:sldChg>
      <pc:sldChg chg="modSp mod">
        <pc:chgData name="Paul LEGEARD" userId="73b5704d-da1d-4b70-8e12-6d54d32b01a3" providerId="ADAL" clId="{7C3CA13B-C258-4FF6-9B64-A9AA50911EE2}" dt="2023-04-14T08:04:28.999" v="10" actId="20577"/>
        <pc:sldMkLst>
          <pc:docMk/>
          <pc:sldMk cId="3648747636" sldId="2147469794"/>
        </pc:sldMkLst>
        <pc:spChg chg="mod">
          <ac:chgData name="Paul LEGEARD" userId="73b5704d-da1d-4b70-8e12-6d54d32b01a3" providerId="ADAL" clId="{7C3CA13B-C258-4FF6-9B64-A9AA50911EE2}" dt="2023-04-14T08:04:28.999" v="10" actId="20577"/>
          <ac:spMkLst>
            <pc:docMk/>
            <pc:sldMk cId="3648747636" sldId="2147469794"/>
            <ac:spMk id="46" creationId="{DAEAF24F-0861-79C6-8511-05BFB63124D9}"/>
          </ac:spMkLst>
        </pc:spChg>
      </pc:sldChg>
      <pc:sldChg chg="ord">
        <pc:chgData name="Paul LEGEARD" userId="73b5704d-da1d-4b70-8e12-6d54d32b01a3" providerId="ADAL" clId="{7C3CA13B-C258-4FF6-9B64-A9AA50911EE2}" dt="2023-04-14T13:48:36.636" v="27"/>
        <pc:sldMkLst>
          <pc:docMk/>
          <pc:sldMk cId="2779891021" sldId="2147469800"/>
        </pc:sldMkLst>
      </pc:sldChg>
      <pc:sldChg chg="modSp mod">
        <pc:chgData name="Paul LEGEARD" userId="73b5704d-da1d-4b70-8e12-6d54d32b01a3" providerId="ADAL" clId="{7C3CA13B-C258-4FF6-9B64-A9AA50911EE2}" dt="2023-04-14T07:56:48.676" v="0" actId="6549"/>
        <pc:sldMkLst>
          <pc:docMk/>
          <pc:sldMk cId="276858959" sldId="2147469807"/>
        </pc:sldMkLst>
        <pc:spChg chg="mod">
          <ac:chgData name="Paul LEGEARD" userId="73b5704d-da1d-4b70-8e12-6d54d32b01a3" providerId="ADAL" clId="{7C3CA13B-C258-4FF6-9B64-A9AA50911EE2}" dt="2023-04-14T07:56:48.676" v="0" actId="6549"/>
          <ac:spMkLst>
            <pc:docMk/>
            <pc:sldMk cId="276858959" sldId="2147469807"/>
            <ac:spMk id="5" creationId="{E5368B24-78D7-3582-EBA1-2D70F35F4461}"/>
          </ac:spMkLst>
        </pc:spChg>
      </pc:sldChg>
      <pc:sldChg chg="modSp mod">
        <pc:chgData name="Paul LEGEARD" userId="73b5704d-da1d-4b70-8e12-6d54d32b01a3" providerId="ADAL" clId="{7C3CA13B-C258-4FF6-9B64-A9AA50911EE2}" dt="2023-04-14T07:57:18.183" v="8" actId="20577"/>
        <pc:sldMkLst>
          <pc:docMk/>
          <pc:sldMk cId="2230066738" sldId="2147469811"/>
        </pc:sldMkLst>
        <pc:spChg chg="mod">
          <ac:chgData name="Paul LEGEARD" userId="73b5704d-da1d-4b70-8e12-6d54d32b01a3" providerId="ADAL" clId="{7C3CA13B-C258-4FF6-9B64-A9AA50911EE2}" dt="2023-04-14T07:57:18.183" v="8" actId="20577"/>
          <ac:spMkLst>
            <pc:docMk/>
            <pc:sldMk cId="2230066738" sldId="2147469811"/>
            <ac:spMk id="2074" creationId="{29E962A9-5ADD-CF51-455C-E26975497C93}"/>
          </ac:spMkLst>
        </pc:spChg>
      </pc:sldChg>
      <pc:sldChg chg="modSp add del mod">
        <pc:chgData name="Paul LEGEARD" userId="73b5704d-da1d-4b70-8e12-6d54d32b01a3" providerId="ADAL" clId="{7C3CA13B-C258-4FF6-9B64-A9AA50911EE2}" dt="2023-04-14T13:48:16.159" v="19"/>
        <pc:sldMkLst>
          <pc:docMk/>
          <pc:sldMk cId="2181956486" sldId="2147469813"/>
        </pc:sldMkLst>
        <pc:spChg chg="mod">
          <ac:chgData name="Paul LEGEARD" userId="73b5704d-da1d-4b70-8e12-6d54d32b01a3" providerId="ADAL" clId="{7C3CA13B-C258-4FF6-9B64-A9AA50911EE2}" dt="2023-04-14T13:48:12.965" v="18"/>
          <ac:spMkLst>
            <pc:docMk/>
            <pc:sldMk cId="2181956486" sldId="2147469813"/>
            <ac:spMk id="6" creationId="{12808BD5-6BEE-4164-9264-E55A823F2E3D}"/>
          </ac:spMkLst>
        </pc:spChg>
      </pc:sldChg>
    </pc:docChg>
  </pc:docChgLst>
  <pc:docChgLst>
    <pc:chgData name="GATINOIS Laure (CA-GIP)" userId="S::laure.gatinois@ca-gip.fr::838c54ea-ee48-466c-b4f7-0d0937afa3c0" providerId="AD" clId="Web-{8D8581A0-F297-4338-93AF-0FBBDF9DFA57}"/>
    <pc:docChg chg="modSld">
      <pc:chgData name="GATINOIS Laure (CA-GIP)" userId="S::laure.gatinois@ca-gip.fr::838c54ea-ee48-466c-b4f7-0d0937afa3c0" providerId="AD" clId="Web-{8D8581A0-F297-4338-93AF-0FBBDF9DFA57}" dt="2023-04-24T09:51:04.152" v="18" actId="20577"/>
      <pc:docMkLst>
        <pc:docMk/>
      </pc:docMkLst>
      <pc:sldChg chg="modSp">
        <pc:chgData name="GATINOIS Laure (CA-GIP)" userId="S::laure.gatinois@ca-gip.fr::838c54ea-ee48-466c-b4f7-0d0937afa3c0" providerId="AD" clId="Web-{8D8581A0-F297-4338-93AF-0FBBDF9DFA57}" dt="2023-04-24T09:48:58.838" v="1" actId="20577"/>
        <pc:sldMkLst>
          <pc:docMk/>
          <pc:sldMk cId="3648747636" sldId="2147469794"/>
        </pc:sldMkLst>
        <pc:spChg chg="mod">
          <ac:chgData name="GATINOIS Laure (CA-GIP)" userId="S::laure.gatinois@ca-gip.fr::838c54ea-ee48-466c-b4f7-0d0937afa3c0" providerId="AD" clId="Web-{8D8581A0-F297-4338-93AF-0FBBDF9DFA57}" dt="2023-04-24T09:48:58.838" v="1" actId="20577"/>
          <ac:spMkLst>
            <pc:docMk/>
            <pc:sldMk cId="3648747636" sldId="2147469794"/>
            <ac:spMk id="27" creationId="{AE4CED06-9D57-E1AB-4A5E-91C8A444EEB8}"/>
          </ac:spMkLst>
        </pc:spChg>
      </pc:sldChg>
      <pc:sldChg chg="modSp">
        <pc:chgData name="GATINOIS Laure (CA-GIP)" userId="S::laure.gatinois@ca-gip.fr::838c54ea-ee48-466c-b4f7-0d0937afa3c0" providerId="AD" clId="Web-{8D8581A0-F297-4338-93AF-0FBBDF9DFA57}" dt="2023-04-24T09:51:04.152" v="18" actId="20577"/>
        <pc:sldMkLst>
          <pc:docMk/>
          <pc:sldMk cId="2686501270" sldId="2147469838"/>
        </pc:sldMkLst>
        <pc:spChg chg="mod">
          <ac:chgData name="GATINOIS Laure (CA-GIP)" userId="S::laure.gatinois@ca-gip.fr::838c54ea-ee48-466c-b4f7-0d0937afa3c0" providerId="AD" clId="Web-{8D8581A0-F297-4338-93AF-0FBBDF9DFA57}" dt="2023-04-24T09:51:04.152" v="18" actId="20577"/>
          <ac:spMkLst>
            <pc:docMk/>
            <pc:sldMk cId="2686501270" sldId="2147469838"/>
            <ac:spMk id="11" creationId="{EB36FA0A-875A-8BA4-9E1E-E70B73638EC6}"/>
          </ac:spMkLst>
        </pc:spChg>
        <pc:spChg chg="mod">
          <ac:chgData name="GATINOIS Laure (CA-GIP)" userId="S::laure.gatinois@ca-gip.fr::838c54ea-ee48-466c-b4f7-0d0937afa3c0" providerId="AD" clId="Web-{8D8581A0-F297-4338-93AF-0FBBDF9DFA57}" dt="2023-04-24T09:51:01.746" v="17" actId="20577"/>
          <ac:spMkLst>
            <pc:docMk/>
            <pc:sldMk cId="2686501270" sldId="2147469838"/>
            <ac:spMk id="21" creationId="{95DF4B14-75B9-2780-BCD5-0EFE6EFB5129}"/>
          </ac:spMkLst>
        </pc:spChg>
      </pc:sldChg>
      <pc:sldChg chg="modSp">
        <pc:chgData name="GATINOIS Laure (CA-GIP)" userId="S::laure.gatinois@ca-gip.fr::838c54ea-ee48-466c-b4f7-0d0937afa3c0" providerId="AD" clId="Web-{8D8581A0-F297-4338-93AF-0FBBDF9DFA57}" dt="2023-04-24T09:50:05.027" v="13" actId="20577"/>
        <pc:sldMkLst>
          <pc:docMk/>
          <pc:sldMk cId="1760373903" sldId="2147469841"/>
        </pc:sldMkLst>
        <pc:spChg chg="mod">
          <ac:chgData name="GATINOIS Laure (CA-GIP)" userId="S::laure.gatinois@ca-gip.fr::838c54ea-ee48-466c-b4f7-0d0937afa3c0" providerId="AD" clId="Web-{8D8581A0-F297-4338-93AF-0FBBDF9DFA57}" dt="2023-04-24T09:50:05.027" v="13" actId="20577"/>
          <ac:spMkLst>
            <pc:docMk/>
            <pc:sldMk cId="1760373903" sldId="2147469841"/>
            <ac:spMk id="16" creationId="{D3C71103-432D-A1B4-CFC5-95BAB846BD47}"/>
          </ac:spMkLst>
        </pc:spChg>
      </pc:sldChg>
    </pc:docChg>
  </pc:docChgLst>
  <pc:docChgLst>
    <pc:chgData name="Paul LEGEARD" userId="73b5704d-da1d-4b70-8e12-6d54d32b01a3" providerId="ADAL" clId="{9359C52D-B34D-4995-ABE4-FC580E9CBE74}"/>
    <pc:docChg chg="undo custSel modSld">
      <pc:chgData name="Paul LEGEARD" userId="73b5704d-da1d-4b70-8e12-6d54d32b01a3" providerId="ADAL" clId="{9359C52D-B34D-4995-ABE4-FC580E9CBE74}" dt="2023-04-18T08:06:46.040" v="497" actId="20577"/>
      <pc:docMkLst>
        <pc:docMk/>
      </pc:docMkLst>
      <pc:sldChg chg="modSp mod">
        <pc:chgData name="Paul LEGEARD" userId="73b5704d-da1d-4b70-8e12-6d54d32b01a3" providerId="ADAL" clId="{9359C52D-B34D-4995-ABE4-FC580E9CBE74}" dt="2023-04-18T08:06:46.040" v="497" actId="20577"/>
        <pc:sldMkLst>
          <pc:docMk/>
          <pc:sldMk cId="3648747636" sldId="2147469794"/>
        </pc:sldMkLst>
        <pc:spChg chg="mod">
          <ac:chgData name="Paul LEGEARD" userId="73b5704d-da1d-4b70-8e12-6d54d32b01a3" providerId="ADAL" clId="{9359C52D-B34D-4995-ABE4-FC580E9CBE74}" dt="2023-04-18T07:37:12.331" v="13" actId="20577"/>
          <ac:spMkLst>
            <pc:docMk/>
            <pc:sldMk cId="3648747636" sldId="2147469794"/>
            <ac:spMk id="4" creationId="{52AFB3F8-88A7-4D69-8A52-45D00774625C}"/>
          </ac:spMkLst>
        </pc:spChg>
        <pc:spChg chg="mod">
          <ac:chgData name="Paul LEGEARD" userId="73b5704d-da1d-4b70-8e12-6d54d32b01a3" providerId="ADAL" clId="{9359C52D-B34D-4995-ABE4-FC580E9CBE74}" dt="2023-04-18T08:06:46.040" v="497" actId="20577"/>
          <ac:spMkLst>
            <pc:docMk/>
            <pc:sldMk cId="3648747636" sldId="2147469794"/>
            <ac:spMk id="9" creationId="{F65CBBED-5224-5076-0C31-381AF14C3C68}"/>
          </ac:spMkLst>
        </pc:spChg>
      </pc:sldChg>
      <pc:sldChg chg="addSp modSp mod">
        <pc:chgData name="Paul LEGEARD" userId="73b5704d-da1d-4b70-8e12-6d54d32b01a3" providerId="ADAL" clId="{9359C52D-B34D-4995-ABE4-FC580E9CBE74}" dt="2023-04-18T07:41:39.071" v="468" actId="122"/>
        <pc:sldMkLst>
          <pc:docMk/>
          <pc:sldMk cId="276858959" sldId="2147469807"/>
        </pc:sldMkLst>
        <pc:spChg chg="mod">
          <ac:chgData name="Paul LEGEARD" userId="73b5704d-da1d-4b70-8e12-6d54d32b01a3" providerId="ADAL" clId="{9359C52D-B34D-4995-ABE4-FC580E9CBE74}" dt="2023-04-18T07:41:08.766" v="358" actId="14100"/>
          <ac:spMkLst>
            <pc:docMk/>
            <pc:sldMk cId="276858959" sldId="2147469807"/>
            <ac:spMk id="2" creationId="{00CEEEF3-2246-E5D2-DD01-F561912EAC27}"/>
          </ac:spMkLst>
        </pc:spChg>
        <pc:spChg chg="mod">
          <ac:chgData name="Paul LEGEARD" userId="73b5704d-da1d-4b70-8e12-6d54d32b01a3" providerId="ADAL" clId="{9359C52D-B34D-4995-ABE4-FC580E9CBE74}" dt="2023-04-18T07:41:08.766" v="358" actId="14100"/>
          <ac:spMkLst>
            <pc:docMk/>
            <pc:sldMk cId="276858959" sldId="2147469807"/>
            <ac:spMk id="4" creationId="{8CAF2117-B095-B3B0-DCEC-73677113971B}"/>
          </ac:spMkLst>
        </pc:spChg>
        <pc:spChg chg="add mod">
          <ac:chgData name="Paul LEGEARD" userId="73b5704d-da1d-4b70-8e12-6d54d32b01a3" providerId="ADAL" clId="{9359C52D-B34D-4995-ABE4-FC580E9CBE74}" dt="2023-04-18T07:41:39.071" v="468" actId="122"/>
          <ac:spMkLst>
            <pc:docMk/>
            <pc:sldMk cId="276858959" sldId="2147469807"/>
            <ac:spMk id="6" creationId="{569C487E-6FF1-4634-19D4-29627C738790}"/>
          </ac:spMkLst>
        </pc:spChg>
        <pc:spChg chg="mod">
          <ac:chgData name="Paul LEGEARD" userId="73b5704d-da1d-4b70-8e12-6d54d32b01a3" providerId="ADAL" clId="{9359C52D-B34D-4995-ABE4-FC580E9CBE74}" dt="2023-04-18T07:41:08.766" v="358" actId="14100"/>
          <ac:spMkLst>
            <pc:docMk/>
            <pc:sldMk cId="276858959" sldId="2147469807"/>
            <ac:spMk id="9" creationId="{E0CFFA10-F63A-45E1-7A41-A85E89A7E884}"/>
          </ac:spMkLst>
        </pc:spChg>
        <pc:spChg chg="mod">
          <ac:chgData name="Paul LEGEARD" userId="73b5704d-da1d-4b70-8e12-6d54d32b01a3" providerId="ADAL" clId="{9359C52D-B34D-4995-ABE4-FC580E9CBE74}" dt="2023-04-18T07:41:08.766" v="358" actId="14100"/>
          <ac:spMkLst>
            <pc:docMk/>
            <pc:sldMk cId="276858959" sldId="2147469807"/>
            <ac:spMk id="11" creationId="{2F6B705C-0FBB-5D22-81CB-93A8B988B2C1}"/>
          </ac:spMkLst>
        </pc:spChg>
        <pc:spChg chg="mod">
          <ac:chgData name="Paul LEGEARD" userId="73b5704d-da1d-4b70-8e12-6d54d32b01a3" providerId="ADAL" clId="{9359C52D-B34D-4995-ABE4-FC580E9CBE74}" dt="2023-04-18T07:41:08.766" v="358" actId="14100"/>
          <ac:spMkLst>
            <pc:docMk/>
            <pc:sldMk cId="276858959" sldId="2147469807"/>
            <ac:spMk id="21" creationId="{AB7305C9-46EB-C2B9-9FA9-586709091168}"/>
          </ac:spMkLst>
        </pc:spChg>
        <pc:picChg chg="mod">
          <ac:chgData name="Paul LEGEARD" userId="73b5704d-da1d-4b70-8e12-6d54d32b01a3" providerId="ADAL" clId="{9359C52D-B34D-4995-ABE4-FC580E9CBE74}" dt="2023-04-18T07:41:01.854" v="357" actId="1036"/>
          <ac:picMkLst>
            <pc:docMk/>
            <pc:sldMk cId="276858959" sldId="2147469807"/>
            <ac:picMk id="3" creationId="{E062434A-0C08-64C2-164A-C01B6A6E59E7}"/>
          </ac:picMkLst>
        </pc:picChg>
        <pc:picChg chg="mod">
          <ac:chgData name="Paul LEGEARD" userId="73b5704d-da1d-4b70-8e12-6d54d32b01a3" providerId="ADAL" clId="{9359C52D-B34D-4995-ABE4-FC580E9CBE74}" dt="2023-04-18T07:41:01.854" v="357" actId="1036"/>
          <ac:picMkLst>
            <pc:docMk/>
            <pc:sldMk cId="276858959" sldId="2147469807"/>
            <ac:picMk id="7" creationId="{36769575-5D13-8972-9EBD-B64EBFA197F7}"/>
          </ac:picMkLst>
        </pc:picChg>
        <pc:picChg chg="mod">
          <ac:chgData name="Paul LEGEARD" userId="73b5704d-da1d-4b70-8e12-6d54d32b01a3" providerId="ADAL" clId="{9359C52D-B34D-4995-ABE4-FC580E9CBE74}" dt="2023-04-18T07:41:01.854" v="357" actId="1036"/>
          <ac:picMkLst>
            <pc:docMk/>
            <pc:sldMk cId="276858959" sldId="2147469807"/>
            <ac:picMk id="13" creationId="{4DEE11CC-62A8-54B9-A18E-AD447A33AB5F}"/>
          </ac:picMkLst>
        </pc:picChg>
        <pc:picChg chg="mod">
          <ac:chgData name="Paul LEGEARD" userId="73b5704d-da1d-4b70-8e12-6d54d32b01a3" providerId="ADAL" clId="{9359C52D-B34D-4995-ABE4-FC580E9CBE74}" dt="2023-04-18T07:41:01.854" v="357" actId="1036"/>
          <ac:picMkLst>
            <pc:docMk/>
            <pc:sldMk cId="276858959" sldId="2147469807"/>
            <ac:picMk id="17" creationId="{3381F43B-3DA7-AA66-87C1-E2AA3ADD78CA}"/>
          </ac:picMkLst>
        </pc:picChg>
        <pc:picChg chg="mod">
          <ac:chgData name="Paul LEGEARD" userId="73b5704d-da1d-4b70-8e12-6d54d32b01a3" providerId="ADAL" clId="{9359C52D-B34D-4995-ABE4-FC580E9CBE74}" dt="2023-04-18T07:41:01.854" v="357" actId="1036"/>
          <ac:picMkLst>
            <pc:docMk/>
            <pc:sldMk cId="276858959" sldId="2147469807"/>
            <ac:picMk id="24" creationId="{4E63909A-2BFB-A606-DB5A-8CFFE0795EF3}"/>
          </ac:picMkLst>
        </pc:picChg>
      </pc:sldChg>
      <pc:sldChg chg="modSp mod">
        <pc:chgData name="Paul LEGEARD" userId="73b5704d-da1d-4b70-8e12-6d54d32b01a3" providerId="ADAL" clId="{9359C52D-B34D-4995-ABE4-FC580E9CBE74}" dt="2023-04-18T07:38:08.817" v="122" actId="20577"/>
        <pc:sldMkLst>
          <pc:docMk/>
          <pc:sldMk cId="3133005560" sldId="2147469814"/>
        </pc:sldMkLst>
        <pc:spChg chg="mod">
          <ac:chgData name="Paul LEGEARD" userId="73b5704d-da1d-4b70-8e12-6d54d32b01a3" providerId="ADAL" clId="{9359C52D-B34D-4995-ABE4-FC580E9CBE74}" dt="2023-04-18T07:38:08.817" v="122" actId="20577"/>
          <ac:spMkLst>
            <pc:docMk/>
            <pc:sldMk cId="3133005560" sldId="2147469814"/>
            <ac:spMk id="3" creationId="{676B996D-B220-A0DD-F132-EDB5118A092B}"/>
          </ac:spMkLst>
        </pc:spChg>
      </pc:sldChg>
      <pc:sldChg chg="modNotesTx">
        <pc:chgData name="Paul LEGEARD" userId="73b5704d-da1d-4b70-8e12-6d54d32b01a3" providerId="ADAL" clId="{9359C52D-B34D-4995-ABE4-FC580E9CBE74}" dt="2023-04-18T07:38:26.172" v="127"/>
        <pc:sldMkLst>
          <pc:docMk/>
          <pc:sldMk cId="1933743795" sldId="2147469816"/>
        </pc:sldMkLst>
      </pc:sldChg>
      <pc:sldChg chg="modSp mod">
        <pc:chgData name="Paul LEGEARD" userId="73b5704d-da1d-4b70-8e12-6d54d32b01a3" providerId="ADAL" clId="{9359C52D-B34D-4995-ABE4-FC580E9CBE74}" dt="2023-04-18T07:39:30.106" v="283" actId="113"/>
        <pc:sldMkLst>
          <pc:docMk/>
          <pc:sldMk cId="399927874" sldId="2147469818"/>
        </pc:sldMkLst>
        <pc:spChg chg="mod">
          <ac:chgData name="Paul LEGEARD" userId="73b5704d-da1d-4b70-8e12-6d54d32b01a3" providerId="ADAL" clId="{9359C52D-B34D-4995-ABE4-FC580E9CBE74}" dt="2023-04-18T07:39:30.106" v="283" actId="113"/>
          <ac:spMkLst>
            <pc:docMk/>
            <pc:sldMk cId="399927874" sldId="2147469818"/>
            <ac:spMk id="9" creationId="{8546DFD4-C5CE-A4DB-7C56-5C4D247D4BDC}"/>
          </ac:spMkLst>
        </pc:spChg>
        <pc:spChg chg="mod">
          <ac:chgData name="Paul LEGEARD" userId="73b5704d-da1d-4b70-8e12-6d54d32b01a3" providerId="ADAL" clId="{9359C52D-B34D-4995-ABE4-FC580E9CBE74}" dt="2023-04-18T07:38:46.150" v="135" actId="20577"/>
          <ac:spMkLst>
            <pc:docMk/>
            <pc:sldMk cId="399927874" sldId="2147469818"/>
            <ac:spMk id="12" creationId="{F8F524BD-4937-C28D-D745-682E5C8BCF76}"/>
          </ac:spMkLst>
        </pc:spChg>
      </pc:sldChg>
      <pc:sldChg chg="delSp">
        <pc:chgData name="Paul LEGEARD" userId="73b5704d-da1d-4b70-8e12-6d54d32b01a3" providerId="ADAL" clId="{9359C52D-B34D-4995-ABE4-FC580E9CBE74}" dt="2023-04-18T07:42:33.674" v="495" actId="478"/>
        <pc:sldMkLst>
          <pc:docMk/>
          <pc:sldMk cId="2214010875" sldId="2147469821"/>
        </pc:sldMkLst>
        <pc:picChg chg="del">
          <ac:chgData name="Paul LEGEARD" userId="73b5704d-da1d-4b70-8e12-6d54d32b01a3" providerId="ADAL" clId="{9359C52D-B34D-4995-ABE4-FC580E9CBE74}" dt="2023-04-18T07:42:33.674" v="495" actId="478"/>
          <ac:picMkLst>
            <pc:docMk/>
            <pc:sldMk cId="2214010875" sldId="2147469821"/>
            <ac:picMk id="3" creationId="{2917FA10-7BC9-E87E-8BE9-B0962988CD7E}"/>
          </ac:picMkLst>
        </pc:picChg>
      </pc:sldChg>
      <pc:sldChg chg="modSp mod">
        <pc:chgData name="Paul LEGEARD" userId="73b5704d-da1d-4b70-8e12-6d54d32b01a3" providerId="ADAL" clId="{9359C52D-B34D-4995-ABE4-FC580E9CBE74}" dt="2023-04-18T07:40:46.261" v="329" actId="20577"/>
        <pc:sldMkLst>
          <pc:docMk/>
          <pc:sldMk cId="2511989454" sldId="2147469827"/>
        </pc:sldMkLst>
        <pc:spChg chg="mod">
          <ac:chgData name="Paul LEGEARD" userId="73b5704d-da1d-4b70-8e12-6d54d32b01a3" providerId="ADAL" clId="{9359C52D-B34D-4995-ABE4-FC580E9CBE74}" dt="2023-04-18T07:40:17.191" v="320" actId="20577"/>
          <ac:spMkLst>
            <pc:docMk/>
            <pc:sldMk cId="2511989454" sldId="2147469827"/>
            <ac:spMk id="5" creationId="{CE31C728-87A6-3958-0E76-05833775DD9E}"/>
          </ac:spMkLst>
        </pc:spChg>
        <pc:spChg chg="mod">
          <ac:chgData name="Paul LEGEARD" userId="73b5704d-da1d-4b70-8e12-6d54d32b01a3" providerId="ADAL" clId="{9359C52D-B34D-4995-ABE4-FC580E9CBE74}" dt="2023-04-18T07:40:46.261" v="329" actId="20577"/>
          <ac:spMkLst>
            <pc:docMk/>
            <pc:sldMk cId="2511989454" sldId="2147469827"/>
            <ac:spMk id="16" creationId="{03F11543-D79C-5472-D9F1-A1DA38520F13}"/>
          </ac:spMkLst>
        </pc:spChg>
      </pc:sldChg>
      <pc:sldChg chg="modSp mod">
        <pc:chgData name="Paul LEGEARD" userId="73b5704d-da1d-4b70-8e12-6d54d32b01a3" providerId="ADAL" clId="{9359C52D-B34D-4995-ABE4-FC580E9CBE74}" dt="2023-04-18T07:41:56.238" v="494" actId="6549"/>
        <pc:sldMkLst>
          <pc:docMk/>
          <pc:sldMk cId="1900700534" sldId="2147469829"/>
        </pc:sldMkLst>
        <pc:spChg chg="mod">
          <ac:chgData name="Paul LEGEARD" userId="73b5704d-da1d-4b70-8e12-6d54d32b01a3" providerId="ADAL" clId="{9359C52D-B34D-4995-ABE4-FC580E9CBE74}" dt="2023-04-18T07:41:56.238" v="494" actId="6549"/>
          <ac:spMkLst>
            <pc:docMk/>
            <pc:sldMk cId="1900700534" sldId="2147469829"/>
            <ac:spMk id="4" creationId="{52AFB3F8-88A7-4D69-8A52-45D00774625C}"/>
          </ac:spMkLst>
        </pc:spChg>
      </pc:sldChg>
    </pc:docChg>
  </pc:docChgLst>
  <pc:docChgLst>
    <pc:chgData name="Sabina PETRASHOVA" userId="S::sabina.petrashova_tribu-conseil.com#ext#@cacommun.onmicrosoft.com::130c87d6-a9a5-4581-a97a-ed5fb9af8a0e" providerId="AD" clId="Web-{7179CD94-3F54-4FE2-B9FB-FB7270FDCEDF}"/>
    <pc:docChg chg="modSld">
      <pc:chgData name="Sabina PETRASHOVA" userId="S::sabina.petrashova_tribu-conseil.com#ext#@cacommun.onmicrosoft.com::130c87d6-a9a5-4581-a97a-ed5fb9af8a0e" providerId="AD" clId="Web-{7179CD94-3F54-4FE2-B9FB-FB7270FDCEDF}" dt="2023-09-15T12:50:21.969" v="1765"/>
      <pc:docMkLst>
        <pc:docMk/>
      </pc:docMkLst>
      <pc:sldChg chg="modSp">
        <pc:chgData name="Sabina PETRASHOVA" userId="S::sabina.petrashova_tribu-conseil.com#ext#@cacommun.onmicrosoft.com::130c87d6-a9a5-4581-a97a-ed5fb9af8a0e" providerId="AD" clId="Web-{7179CD94-3F54-4FE2-B9FB-FB7270FDCEDF}" dt="2023-09-15T11:36:38.428" v="165" actId="1076"/>
        <pc:sldMkLst>
          <pc:docMk/>
          <pc:sldMk cId="1546576851" sldId="2147471315"/>
        </pc:sldMkLst>
        <pc:spChg chg="mod">
          <ac:chgData name="Sabina PETRASHOVA" userId="S::sabina.petrashova_tribu-conseil.com#ext#@cacommun.onmicrosoft.com::130c87d6-a9a5-4581-a97a-ed5fb9af8a0e" providerId="AD" clId="Web-{7179CD94-3F54-4FE2-B9FB-FB7270FDCEDF}" dt="2023-09-15T11:36:38.428" v="165" actId="1076"/>
          <ac:spMkLst>
            <pc:docMk/>
            <pc:sldMk cId="1546576851" sldId="2147471315"/>
            <ac:spMk id="10" creationId="{8358D74C-4804-E26A-A663-A72EC1B44D29}"/>
          </ac:spMkLst>
        </pc:spChg>
      </pc:sldChg>
      <pc:sldChg chg="addSp delSp modSp">
        <pc:chgData name="Sabina PETRASHOVA" userId="S::sabina.petrashova_tribu-conseil.com#ext#@cacommun.onmicrosoft.com::130c87d6-a9a5-4581-a97a-ed5fb9af8a0e" providerId="AD" clId="Web-{7179CD94-3F54-4FE2-B9FB-FB7270FDCEDF}" dt="2023-09-15T12:50:21.969" v="1765"/>
        <pc:sldMkLst>
          <pc:docMk/>
          <pc:sldMk cId="1420692517" sldId="2147471316"/>
        </pc:sldMkLst>
        <pc:spChg chg="add del mod">
          <ac:chgData name="Sabina PETRASHOVA" userId="S::sabina.petrashova_tribu-conseil.com#ext#@cacommun.onmicrosoft.com::130c87d6-a9a5-4581-a97a-ed5fb9af8a0e" providerId="AD" clId="Web-{7179CD94-3F54-4FE2-B9FB-FB7270FDCEDF}" dt="2023-09-15T12:50:13.281" v="1763" actId="1076"/>
          <ac:spMkLst>
            <pc:docMk/>
            <pc:sldMk cId="1420692517" sldId="2147471316"/>
            <ac:spMk id="10" creationId="{8358D74C-4804-E26A-A663-A72EC1B44D29}"/>
          </ac:spMkLst>
        </pc:spChg>
        <pc:spChg chg="del mod">
          <ac:chgData name="Sabina PETRASHOVA" userId="S::sabina.petrashova_tribu-conseil.com#ext#@cacommun.onmicrosoft.com::130c87d6-a9a5-4581-a97a-ed5fb9af8a0e" providerId="AD" clId="Web-{7179CD94-3F54-4FE2-B9FB-FB7270FDCEDF}" dt="2023-09-15T12:50:21.969" v="1765"/>
          <ac:spMkLst>
            <pc:docMk/>
            <pc:sldMk cId="1420692517" sldId="2147471316"/>
            <ac:spMk id="20" creationId="{C938247E-1309-9124-223D-EB92A5F7BC4D}"/>
          </ac:spMkLst>
        </pc:spChg>
      </pc:sldChg>
    </pc:docChg>
  </pc:docChgLst>
  <pc:docChgLst>
    <pc:chgData name="Paul LEGEARD" userId="73b5704d-da1d-4b70-8e12-6d54d32b01a3" providerId="ADAL" clId="{EA82159E-D381-4D5B-859C-B40D1D4882A4}"/>
    <pc:docChg chg="custSel modSld">
      <pc:chgData name="Paul LEGEARD" userId="73b5704d-da1d-4b70-8e12-6d54d32b01a3" providerId="ADAL" clId="{EA82159E-D381-4D5B-859C-B40D1D4882A4}" dt="2023-07-21T09:39:39.588" v="151" actId="20577"/>
      <pc:docMkLst>
        <pc:docMk/>
      </pc:docMkLst>
      <pc:sldChg chg="modSp mod">
        <pc:chgData name="Paul LEGEARD" userId="73b5704d-da1d-4b70-8e12-6d54d32b01a3" providerId="ADAL" clId="{EA82159E-D381-4D5B-859C-B40D1D4882A4}" dt="2023-07-21T09:39:39.588" v="151" actId="20577"/>
        <pc:sldMkLst>
          <pc:docMk/>
          <pc:sldMk cId="2262956167" sldId="2147469844"/>
        </pc:sldMkLst>
        <pc:graphicFrameChg chg="modGraphic">
          <ac:chgData name="Paul LEGEARD" userId="73b5704d-da1d-4b70-8e12-6d54d32b01a3" providerId="ADAL" clId="{EA82159E-D381-4D5B-859C-B40D1D4882A4}" dt="2023-07-21T09:39:39.588" v="151" actId="20577"/>
          <ac:graphicFrameMkLst>
            <pc:docMk/>
            <pc:sldMk cId="2262956167" sldId="2147469844"/>
            <ac:graphicFrameMk id="10" creationId="{C6B30C97-CBAA-3C98-4F2A-BAEF0F990C49}"/>
          </ac:graphicFrameMkLst>
        </pc:graphicFrameChg>
      </pc:sldChg>
      <pc:sldChg chg="addSp modSp mod">
        <pc:chgData name="Paul LEGEARD" userId="73b5704d-da1d-4b70-8e12-6d54d32b01a3" providerId="ADAL" clId="{EA82159E-D381-4D5B-859C-B40D1D4882A4}" dt="2023-07-21T09:03:54.808" v="139" actId="403"/>
        <pc:sldMkLst>
          <pc:docMk/>
          <pc:sldMk cId="928953804" sldId="2147471288"/>
        </pc:sldMkLst>
        <pc:spChg chg="mod">
          <ac:chgData name="Paul LEGEARD" userId="73b5704d-da1d-4b70-8e12-6d54d32b01a3" providerId="ADAL" clId="{EA82159E-D381-4D5B-859C-B40D1D4882A4}" dt="2023-07-21T08:10:10.314" v="74" actId="1035"/>
          <ac:spMkLst>
            <pc:docMk/>
            <pc:sldMk cId="928953804" sldId="2147471288"/>
            <ac:spMk id="2" creationId="{06EF97C7-1F07-6C36-7312-005A6989303B}"/>
          </ac:spMkLst>
        </pc:spChg>
        <pc:spChg chg="mod">
          <ac:chgData name="Paul LEGEARD" userId="73b5704d-da1d-4b70-8e12-6d54d32b01a3" providerId="ADAL" clId="{EA82159E-D381-4D5B-859C-B40D1D4882A4}" dt="2023-07-21T08:10:23.311" v="85" actId="115"/>
          <ac:spMkLst>
            <pc:docMk/>
            <pc:sldMk cId="928953804" sldId="2147471288"/>
            <ac:spMk id="4" creationId="{A9E90669-ADF1-0205-02F9-4BC20DC5190D}"/>
          </ac:spMkLst>
        </pc:spChg>
        <pc:spChg chg="mod">
          <ac:chgData name="Paul LEGEARD" userId="73b5704d-da1d-4b70-8e12-6d54d32b01a3" providerId="ADAL" clId="{EA82159E-D381-4D5B-859C-B40D1D4882A4}" dt="2023-07-21T08:10:17.526" v="75" actId="14100"/>
          <ac:spMkLst>
            <pc:docMk/>
            <pc:sldMk cId="928953804" sldId="2147471288"/>
            <ac:spMk id="6" creationId="{15A99339-E321-38D9-66E3-48BA11A7D3BD}"/>
          </ac:spMkLst>
        </pc:spChg>
        <pc:spChg chg="mod">
          <ac:chgData name="Paul LEGEARD" userId="73b5704d-da1d-4b70-8e12-6d54d32b01a3" providerId="ADAL" clId="{EA82159E-D381-4D5B-859C-B40D1D4882A4}" dt="2023-07-21T08:10:27.614" v="95" actId="1035"/>
          <ac:spMkLst>
            <pc:docMk/>
            <pc:sldMk cId="928953804" sldId="2147471288"/>
            <ac:spMk id="7" creationId="{6EA2099D-9DC4-FD77-FB8A-60F896044513}"/>
          </ac:spMkLst>
        </pc:spChg>
        <pc:spChg chg="mod">
          <ac:chgData name="Paul LEGEARD" userId="73b5704d-da1d-4b70-8e12-6d54d32b01a3" providerId="ADAL" clId="{EA82159E-D381-4D5B-859C-B40D1D4882A4}" dt="2023-07-21T08:10:27.614" v="95" actId="1035"/>
          <ac:spMkLst>
            <pc:docMk/>
            <pc:sldMk cId="928953804" sldId="2147471288"/>
            <ac:spMk id="8" creationId="{05E0258E-15F9-B3FE-686A-2440AD1C9E58}"/>
          </ac:spMkLst>
        </pc:spChg>
        <pc:graphicFrameChg chg="mod">
          <ac:chgData name="Paul LEGEARD" userId="73b5704d-da1d-4b70-8e12-6d54d32b01a3" providerId="ADAL" clId="{EA82159E-D381-4D5B-859C-B40D1D4882A4}" dt="2023-07-21T08:10:10.314" v="74" actId="1035"/>
          <ac:graphicFrameMkLst>
            <pc:docMk/>
            <pc:sldMk cId="928953804" sldId="2147471288"/>
            <ac:graphicFrameMk id="3" creationId="{E135D884-CFEA-4DF7-6A62-3D29FC019CAE}"/>
          </ac:graphicFrameMkLst>
        </pc:graphicFrameChg>
        <pc:graphicFrameChg chg="mod modGraphic">
          <ac:chgData name="Paul LEGEARD" userId="73b5704d-da1d-4b70-8e12-6d54d32b01a3" providerId="ADAL" clId="{EA82159E-D381-4D5B-859C-B40D1D4882A4}" dt="2023-07-21T08:10:10.314" v="74" actId="1035"/>
          <ac:graphicFrameMkLst>
            <pc:docMk/>
            <pc:sldMk cId="928953804" sldId="2147471288"/>
            <ac:graphicFrameMk id="5" creationId="{7D8E5C88-0B5B-5061-4ACC-4F44631A7E82}"/>
          </ac:graphicFrameMkLst>
        </pc:graphicFrameChg>
        <pc:graphicFrameChg chg="mod modGraphic">
          <ac:chgData name="Paul LEGEARD" userId="73b5704d-da1d-4b70-8e12-6d54d32b01a3" providerId="ADAL" clId="{EA82159E-D381-4D5B-859C-B40D1D4882A4}" dt="2023-07-21T09:03:54.808" v="139" actId="403"/>
          <ac:graphicFrameMkLst>
            <pc:docMk/>
            <pc:sldMk cId="928953804" sldId="2147471288"/>
            <ac:graphicFrameMk id="9" creationId="{51239E48-7966-E664-CC13-42A971F8F844}"/>
          </ac:graphicFrameMkLst>
        </pc:graphicFrameChg>
        <pc:graphicFrameChg chg="add mod modGraphic">
          <ac:chgData name="Paul LEGEARD" userId="73b5704d-da1d-4b70-8e12-6d54d32b01a3" providerId="ADAL" clId="{EA82159E-D381-4D5B-859C-B40D1D4882A4}" dt="2023-07-21T08:10:32.497" v="96" actId="1076"/>
          <ac:graphicFrameMkLst>
            <pc:docMk/>
            <pc:sldMk cId="928953804" sldId="2147471288"/>
            <ac:graphicFrameMk id="10" creationId="{7A6B502B-54D5-6069-607A-2AEF2202B56A}"/>
          </ac:graphicFrameMkLst>
        </pc:graphicFrameChg>
        <pc:graphicFrameChg chg="add mod modGraphic">
          <ac:chgData name="Paul LEGEARD" userId="73b5704d-da1d-4b70-8e12-6d54d32b01a3" providerId="ADAL" clId="{EA82159E-D381-4D5B-859C-B40D1D4882A4}" dt="2023-07-21T08:40:43.601" v="136" actId="14734"/>
          <ac:graphicFrameMkLst>
            <pc:docMk/>
            <pc:sldMk cId="928953804" sldId="2147471288"/>
            <ac:graphicFrameMk id="11" creationId="{F87CDD1A-A6CC-13DE-2BB0-42967D969EAC}"/>
          </ac:graphicFrameMkLst>
        </pc:graphicFrameChg>
      </pc:sldChg>
    </pc:docChg>
  </pc:docChgLst>
  <pc:docChgLst>
    <pc:chgData name="Sabina PETRASHOVA" userId="S::sabina.petrashova_tribu-conseil.com#ext#@cacommun.onmicrosoft.com::130c87d6-a9a5-4581-a97a-ed5fb9af8a0e" providerId="AD" clId="Web-{F2F04729-4D05-4343-AC31-020E43202A9D}"/>
    <pc:docChg chg="modSld">
      <pc:chgData name="Sabina PETRASHOVA" userId="S::sabina.petrashova_tribu-conseil.com#ext#@cacommun.onmicrosoft.com::130c87d6-a9a5-4581-a97a-ed5fb9af8a0e" providerId="AD" clId="Web-{F2F04729-4D05-4343-AC31-020E43202A9D}" dt="2023-10-03T09:51:55.743" v="0" actId="20577"/>
      <pc:docMkLst>
        <pc:docMk/>
      </pc:docMkLst>
      <pc:sldChg chg="modSp">
        <pc:chgData name="Sabina PETRASHOVA" userId="S::sabina.petrashova_tribu-conseil.com#ext#@cacommun.onmicrosoft.com::130c87d6-a9a5-4581-a97a-ed5fb9af8a0e" providerId="AD" clId="Web-{F2F04729-4D05-4343-AC31-020E43202A9D}" dt="2023-10-03T09:51:55.743" v="0" actId="20577"/>
        <pc:sldMkLst>
          <pc:docMk/>
          <pc:sldMk cId="1428402382" sldId="2147471330"/>
        </pc:sldMkLst>
        <pc:spChg chg="mod">
          <ac:chgData name="Sabina PETRASHOVA" userId="S::sabina.petrashova_tribu-conseil.com#ext#@cacommun.onmicrosoft.com::130c87d6-a9a5-4581-a97a-ed5fb9af8a0e" providerId="AD" clId="Web-{F2F04729-4D05-4343-AC31-020E43202A9D}" dt="2023-10-03T09:51:55.743" v="0" actId="20577"/>
          <ac:spMkLst>
            <pc:docMk/>
            <pc:sldMk cId="1428402382" sldId="2147471330"/>
            <ac:spMk id="23" creationId="{9910EE84-5F08-1C3A-8DFF-33FACCEE4D10}"/>
          </ac:spMkLst>
        </pc:spChg>
      </pc:sldChg>
    </pc:docChg>
  </pc:docChgLst>
  <pc:docChgLst>
    <pc:chgData name="Sabina PETRASHOVA" userId="S::sabina.petrashova_tribu-conseil.com#ext#@cacommun.onmicrosoft.com::130c87d6-a9a5-4581-a97a-ed5fb9af8a0e" providerId="AD" clId="Web-{B493A8F5-3FDA-49E0-82C1-E1E35E9FFDC8}"/>
    <pc:docChg chg="modSld">
      <pc:chgData name="Sabina PETRASHOVA" userId="S::sabina.petrashova_tribu-conseil.com#ext#@cacommun.onmicrosoft.com::130c87d6-a9a5-4581-a97a-ed5fb9af8a0e" providerId="AD" clId="Web-{B493A8F5-3FDA-49E0-82C1-E1E35E9FFDC8}" dt="2023-09-27T07:17:17.365" v="0" actId="20577"/>
      <pc:docMkLst>
        <pc:docMk/>
      </pc:docMkLst>
      <pc:sldChg chg="modSp">
        <pc:chgData name="Sabina PETRASHOVA" userId="S::sabina.petrashova_tribu-conseil.com#ext#@cacommun.onmicrosoft.com::130c87d6-a9a5-4581-a97a-ed5fb9af8a0e" providerId="AD" clId="Web-{B493A8F5-3FDA-49E0-82C1-E1E35E9FFDC8}" dt="2023-09-27T07:17:17.365" v="0" actId="20577"/>
        <pc:sldMkLst>
          <pc:docMk/>
          <pc:sldMk cId="4049070616" sldId="2147471345"/>
        </pc:sldMkLst>
        <pc:spChg chg="mod">
          <ac:chgData name="Sabina PETRASHOVA" userId="S::sabina.petrashova_tribu-conseil.com#ext#@cacommun.onmicrosoft.com::130c87d6-a9a5-4581-a97a-ed5fb9af8a0e" providerId="AD" clId="Web-{B493A8F5-3FDA-49E0-82C1-E1E35E9FFDC8}" dt="2023-09-27T07:17:17.365" v="0" actId="20577"/>
          <ac:spMkLst>
            <pc:docMk/>
            <pc:sldMk cId="4049070616" sldId="2147471345"/>
            <ac:spMk id="43" creationId="{F597575F-8282-CBA9-55A5-8A05170C5865}"/>
          </ac:spMkLst>
        </pc:spChg>
      </pc:sldChg>
    </pc:docChg>
  </pc:docChgLst>
  <pc:docChgLst>
    <pc:chgData name="GATINOIS Laure (CA-GIP)" userId="838c54ea-ee48-466c-b4f7-0d0937afa3c0" providerId="ADAL" clId="{34DBCFCB-CC1A-467D-8BDE-0AE01028D0DA}"/>
    <pc:docChg chg="modSld">
      <pc:chgData name="GATINOIS Laure (CA-GIP)" userId="838c54ea-ee48-466c-b4f7-0d0937afa3c0" providerId="ADAL" clId="{34DBCFCB-CC1A-467D-8BDE-0AE01028D0DA}" dt="2023-04-13T09:03:20.532" v="0" actId="20577"/>
      <pc:docMkLst>
        <pc:docMk/>
      </pc:docMkLst>
      <pc:sldChg chg="modSp mod">
        <pc:chgData name="GATINOIS Laure (CA-GIP)" userId="838c54ea-ee48-466c-b4f7-0d0937afa3c0" providerId="ADAL" clId="{34DBCFCB-CC1A-467D-8BDE-0AE01028D0DA}" dt="2023-04-13T09:03:20.532" v="0" actId="20577"/>
        <pc:sldMkLst>
          <pc:docMk/>
          <pc:sldMk cId="1065887249" sldId="256"/>
        </pc:sldMkLst>
        <pc:spChg chg="mod">
          <ac:chgData name="GATINOIS Laure (CA-GIP)" userId="838c54ea-ee48-466c-b4f7-0d0937afa3c0" providerId="ADAL" clId="{34DBCFCB-CC1A-467D-8BDE-0AE01028D0DA}" dt="2023-04-13T09:03:20.532" v="0" actId="20577"/>
          <ac:spMkLst>
            <pc:docMk/>
            <pc:sldMk cId="1065887249" sldId="256"/>
            <ac:spMk id="3" creationId="{9E91F614-89FB-4354-B5E3-ECD766CDC165}"/>
          </ac:spMkLst>
        </pc:spChg>
      </pc:sldChg>
    </pc:docChg>
  </pc:docChgLst>
  <pc:docChgLst>
    <pc:chgData name="Paul LEGEARD" userId="73b5704d-da1d-4b70-8e12-6d54d32b01a3" providerId="ADAL" clId="{11E30BCA-5427-48A7-9089-5CE7CB5F003D}"/>
    <pc:docChg chg="undo redo custSel addSld delSld modSld sldOrd delMainMaster">
      <pc:chgData name="Paul LEGEARD" userId="73b5704d-da1d-4b70-8e12-6d54d32b01a3" providerId="ADAL" clId="{11E30BCA-5427-48A7-9089-5CE7CB5F003D}" dt="2023-04-24T08:41:42.411" v="16565" actId="123"/>
      <pc:docMkLst>
        <pc:docMk/>
      </pc:docMkLst>
      <pc:sldChg chg="modSp mod">
        <pc:chgData name="Paul LEGEARD" userId="73b5704d-da1d-4b70-8e12-6d54d32b01a3" providerId="ADAL" clId="{11E30BCA-5427-48A7-9089-5CE7CB5F003D}" dt="2023-04-24T05:57:40.861" v="9591" actId="20577"/>
        <pc:sldMkLst>
          <pc:docMk/>
          <pc:sldMk cId="1065887249" sldId="256"/>
        </pc:sldMkLst>
        <pc:spChg chg="mod">
          <ac:chgData name="Paul LEGEARD" userId="73b5704d-da1d-4b70-8e12-6d54d32b01a3" providerId="ADAL" clId="{11E30BCA-5427-48A7-9089-5CE7CB5F003D}" dt="2023-04-18T17:27:28.490" v="12" actId="20577"/>
          <ac:spMkLst>
            <pc:docMk/>
            <pc:sldMk cId="1065887249" sldId="256"/>
            <ac:spMk id="3" creationId="{9E91F614-89FB-4354-B5E3-ECD766CDC165}"/>
          </ac:spMkLst>
        </pc:spChg>
        <pc:spChg chg="mod">
          <ac:chgData name="Paul LEGEARD" userId="73b5704d-da1d-4b70-8e12-6d54d32b01a3" providerId="ADAL" clId="{11E30BCA-5427-48A7-9089-5CE7CB5F003D}" dt="2023-04-24T05:57:40.861" v="9591" actId="20577"/>
          <ac:spMkLst>
            <pc:docMk/>
            <pc:sldMk cId="1065887249" sldId="256"/>
            <ac:spMk id="7" creationId="{BF1A3B6F-14E8-4284-B1D9-EED8011BDF16}"/>
          </ac:spMkLst>
        </pc:spChg>
      </pc:sldChg>
      <pc:sldChg chg="modSp add mod">
        <pc:chgData name="Paul LEGEARD" userId="73b5704d-da1d-4b70-8e12-6d54d32b01a3" providerId="ADAL" clId="{11E30BCA-5427-48A7-9089-5CE7CB5F003D}" dt="2023-04-24T06:00:39.755" v="9780" actId="242"/>
        <pc:sldMkLst>
          <pc:docMk/>
          <pc:sldMk cId="447334412" sldId="2146849061"/>
        </pc:sldMkLst>
        <pc:spChg chg="mod">
          <ac:chgData name="Paul LEGEARD" userId="73b5704d-da1d-4b70-8e12-6d54d32b01a3" providerId="ADAL" clId="{11E30BCA-5427-48A7-9089-5CE7CB5F003D}" dt="2023-04-24T06:00:39.755" v="9780" actId="242"/>
          <ac:spMkLst>
            <pc:docMk/>
            <pc:sldMk cId="447334412" sldId="2146849061"/>
            <ac:spMk id="3" creationId="{5651475B-1860-4269-9502-E1ED8141E2C6}"/>
          </ac:spMkLst>
        </pc:spChg>
      </pc:sldChg>
      <pc:sldChg chg="add">
        <pc:chgData name="Paul LEGEARD" userId="73b5704d-da1d-4b70-8e12-6d54d32b01a3" providerId="ADAL" clId="{11E30BCA-5427-48A7-9089-5CE7CB5F003D}" dt="2023-04-24T06:08:27.112" v="10210"/>
        <pc:sldMkLst>
          <pc:docMk/>
          <pc:sldMk cId="3569893162" sldId="2147374865"/>
        </pc:sldMkLst>
      </pc:sldChg>
      <pc:sldChg chg="addSp modSp add mod ord">
        <pc:chgData name="Paul LEGEARD" userId="73b5704d-da1d-4b70-8e12-6d54d32b01a3" providerId="ADAL" clId="{11E30BCA-5427-48A7-9089-5CE7CB5F003D}" dt="2023-04-24T08:03:18.545" v="13897" actId="207"/>
        <pc:sldMkLst>
          <pc:docMk/>
          <pc:sldMk cId="144615472" sldId="2147374870"/>
        </pc:sldMkLst>
        <pc:spChg chg="mod">
          <ac:chgData name="Paul LEGEARD" userId="73b5704d-da1d-4b70-8e12-6d54d32b01a3" providerId="ADAL" clId="{11E30BCA-5427-48A7-9089-5CE7CB5F003D}" dt="2023-04-24T08:03:03.067" v="13872"/>
          <ac:spMkLst>
            <pc:docMk/>
            <pc:sldMk cId="144615472" sldId="2147374870"/>
            <ac:spMk id="8" creationId="{C9204D7E-D409-CAD0-AC8F-9DA295CBEF0C}"/>
          </ac:spMkLst>
        </pc:spChg>
        <pc:spChg chg="add mod">
          <ac:chgData name="Paul LEGEARD" userId="73b5704d-da1d-4b70-8e12-6d54d32b01a3" providerId="ADAL" clId="{11E30BCA-5427-48A7-9089-5CE7CB5F003D}" dt="2023-04-24T08:03:18.545" v="13897" actId="207"/>
          <ac:spMkLst>
            <pc:docMk/>
            <pc:sldMk cId="144615472" sldId="2147374870"/>
            <ac:spMk id="20" creationId="{EB3C6A66-78E8-7CD3-35E7-B91BB7142DB7}"/>
          </ac:spMkLst>
        </pc:spChg>
        <pc:spChg chg="mod">
          <ac:chgData name="Paul LEGEARD" userId="73b5704d-da1d-4b70-8e12-6d54d32b01a3" providerId="ADAL" clId="{11E30BCA-5427-48A7-9089-5CE7CB5F003D}" dt="2023-04-24T08:02:44.218" v="13867" actId="20577"/>
          <ac:spMkLst>
            <pc:docMk/>
            <pc:sldMk cId="144615472" sldId="2147374870"/>
            <ac:spMk id="79" creationId="{9007893F-DE3F-4277-8B72-135CF4773651}"/>
          </ac:spMkLst>
        </pc:spChg>
        <pc:cxnChg chg="add mod">
          <ac:chgData name="Paul LEGEARD" userId="73b5704d-da1d-4b70-8e12-6d54d32b01a3" providerId="ADAL" clId="{11E30BCA-5427-48A7-9089-5CE7CB5F003D}" dt="2023-04-24T08:03:13.764" v="13886" actId="1036"/>
          <ac:cxnSpMkLst>
            <pc:docMk/>
            <pc:sldMk cId="144615472" sldId="2147374870"/>
            <ac:cxnSpMk id="12" creationId="{8C22ABCD-9D1C-F2E9-655D-3314C9C32214}"/>
          </ac:cxnSpMkLst>
        </pc:cxnChg>
      </pc:sldChg>
      <pc:sldChg chg="modSp add del mod">
        <pc:chgData name="Paul LEGEARD" userId="73b5704d-da1d-4b70-8e12-6d54d32b01a3" providerId="ADAL" clId="{11E30BCA-5427-48A7-9089-5CE7CB5F003D}" dt="2023-04-24T08:20:28.507" v="14763" actId="47"/>
        <pc:sldMkLst>
          <pc:docMk/>
          <pc:sldMk cId="561478069" sldId="2147374871"/>
        </pc:sldMkLst>
        <pc:spChg chg="mod">
          <ac:chgData name="Paul LEGEARD" userId="73b5704d-da1d-4b70-8e12-6d54d32b01a3" providerId="ADAL" clId="{11E30BCA-5427-48A7-9089-5CE7CB5F003D}" dt="2023-04-24T06:09:20.728" v="10264" actId="20577"/>
          <ac:spMkLst>
            <pc:docMk/>
            <pc:sldMk cId="561478069" sldId="2147374871"/>
            <ac:spMk id="79" creationId="{9007893F-DE3F-4277-8B72-135CF4773651}"/>
          </ac:spMkLst>
        </pc:spChg>
      </pc:sldChg>
      <pc:sldChg chg="modSp add mod">
        <pc:chgData name="Paul LEGEARD" userId="73b5704d-da1d-4b70-8e12-6d54d32b01a3" providerId="ADAL" clId="{11E30BCA-5427-48A7-9089-5CE7CB5F003D}" dt="2023-04-24T08:21:27.470" v="14773" actId="20577"/>
        <pc:sldMkLst>
          <pc:docMk/>
          <pc:sldMk cId="1898269728" sldId="2147375048"/>
        </pc:sldMkLst>
        <pc:spChg chg="mod">
          <ac:chgData name="Paul LEGEARD" userId="73b5704d-da1d-4b70-8e12-6d54d32b01a3" providerId="ADAL" clId="{11E30BCA-5427-48A7-9089-5CE7CB5F003D}" dt="2023-04-24T08:21:27.470" v="14773" actId="20577"/>
          <ac:spMkLst>
            <pc:docMk/>
            <pc:sldMk cId="1898269728" sldId="2147375048"/>
            <ac:spMk id="2" creationId="{81BA7D8F-F811-489A-AC70-FD79EE27800F}"/>
          </ac:spMkLst>
        </pc:spChg>
      </pc:sldChg>
      <pc:sldChg chg="addSp delSp modSp mod">
        <pc:chgData name="Paul LEGEARD" userId="73b5704d-da1d-4b70-8e12-6d54d32b01a3" providerId="ADAL" clId="{11E30BCA-5427-48A7-9089-5CE7CB5F003D}" dt="2023-04-24T08:34:57.343" v="16132" actId="20577"/>
        <pc:sldMkLst>
          <pc:docMk/>
          <pc:sldMk cId="3648747636" sldId="2147469794"/>
        </pc:sldMkLst>
        <pc:spChg chg="add mod">
          <ac:chgData name="Paul LEGEARD" userId="73b5704d-da1d-4b70-8e12-6d54d32b01a3" providerId="ADAL" clId="{11E30BCA-5427-48A7-9089-5CE7CB5F003D}" dt="2023-04-24T06:06:27.023" v="10122" actId="6549"/>
          <ac:spMkLst>
            <pc:docMk/>
            <pc:sldMk cId="3648747636" sldId="2147469794"/>
            <ac:spMk id="2" creationId="{48B27D31-FF6E-DB60-8457-B021897C9A1E}"/>
          </ac:spMkLst>
        </pc:spChg>
        <pc:spChg chg="add del mod">
          <ac:chgData name="Paul LEGEARD" userId="73b5704d-da1d-4b70-8e12-6d54d32b01a3" providerId="ADAL" clId="{11E30BCA-5427-48A7-9089-5CE7CB5F003D}" dt="2023-04-18T17:38:13.082" v="931" actId="478"/>
          <ac:spMkLst>
            <pc:docMk/>
            <pc:sldMk cId="3648747636" sldId="2147469794"/>
            <ac:spMk id="3" creationId="{4080E8DD-3749-6092-2D65-9E423A5B3B53}"/>
          </ac:spMkLst>
        </pc:spChg>
        <pc:spChg chg="mod">
          <ac:chgData name="Paul LEGEARD" userId="73b5704d-da1d-4b70-8e12-6d54d32b01a3" providerId="ADAL" clId="{11E30BCA-5427-48A7-9089-5CE7CB5F003D}" dt="2023-04-24T08:34:57.343" v="16132" actId="20577"/>
          <ac:spMkLst>
            <pc:docMk/>
            <pc:sldMk cId="3648747636" sldId="2147469794"/>
            <ac:spMk id="4" creationId="{52AFB3F8-88A7-4D69-8A52-45D00774625C}"/>
          </ac:spMkLst>
        </pc:spChg>
        <pc:spChg chg="add del mod">
          <ac:chgData name="Paul LEGEARD" userId="73b5704d-da1d-4b70-8e12-6d54d32b01a3" providerId="ADAL" clId="{11E30BCA-5427-48A7-9089-5CE7CB5F003D}" dt="2023-04-18T17:29:15.209" v="294"/>
          <ac:spMkLst>
            <pc:docMk/>
            <pc:sldMk cId="3648747636" sldId="2147469794"/>
            <ac:spMk id="5" creationId="{0863FF3B-2F3A-35DB-37C8-E91108A4D8AD}"/>
          </ac:spMkLst>
        </pc:spChg>
        <pc:spChg chg="add mod">
          <ac:chgData name="Paul LEGEARD" userId="73b5704d-da1d-4b70-8e12-6d54d32b01a3" providerId="ADAL" clId="{11E30BCA-5427-48A7-9089-5CE7CB5F003D}" dt="2023-04-24T06:06:44.586" v="10138" actId="1076"/>
          <ac:spMkLst>
            <pc:docMk/>
            <pc:sldMk cId="3648747636" sldId="2147469794"/>
            <ac:spMk id="6" creationId="{19F7E7EE-88BA-0FCB-688D-1D202C9136CC}"/>
          </ac:spMkLst>
        </pc:spChg>
        <pc:spChg chg="del">
          <ac:chgData name="Paul LEGEARD" userId="73b5704d-da1d-4b70-8e12-6d54d32b01a3" providerId="ADAL" clId="{11E30BCA-5427-48A7-9089-5CE7CB5F003D}" dt="2023-04-18T17:32:09.665" v="576" actId="478"/>
          <ac:spMkLst>
            <pc:docMk/>
            <pc:sldMk cId="3648747636" sldId="2147469794"/>
            <ac:spMk id="6" creationId="{85218550-C2C3-3ABA-C265-3AEB8EA15533}"/>
          </ac:spMkLst>
        </pc:spChg>
        <pc:spChg chg="add del mod">
          <ac:chgData name="Paul LEGEARD" userId="73b5704d-da1d-4b70-8e12-6d54d32b01a3" providerId="ADAL" clId="{11E30BCA-5427-48A7-9089-5CE7CB5F003D}" dt="2023-04-18T17:38:13.082" v="931" actId="478"/>
          <ac:spMkLst>
            <pc:docMk/>
            <pc:sldMk cId="3648747636" sldId="2147469794"/>
            <ac:spMk id="7" creationId="{9FC81717-CE06-B275-506A-3C6F000ED598}"/>
          </ac:spMkLst>
        </pc:spChg>
        <pc:spChg chg="add del mod">
          <ac:chgData name="Paul LEGEARD" userId="73b5704d-da1d-4b70-8e12-6d54d32b01a3" providerId="ADAL" clId="{11E30BCA-5427-48A7-9089-5CE7CB5F003D}" dt="2023-04-24T06:07:40.154" v="10149"/>
          <ac:spMkLst>
            <pc:docMk/>
            <pc:sldMk cId="3648747636" sldId="2147469794"/>
            <ac:spMk id="9" creationId="{7FB69A40-7B40-1D40-3A81-8BC7CE57A1FD}"/>
          </ac:spMkLst>
        </pc:spChg>
        <pc:spChg chg="del">
          <ac:chgData name="Paul LEGEARD" userId="73b5704d-da1d-4b70-8e12-6d54d32b01a3" providerId="ADAL" clId="{11E30BCA-5427-48A7-9089-5CE7CB5F003D}" dt="2023-04-18T17:32:09.665" v="576" actId="478"/>
          <ac:spMkLst>
            <pc:docMk/>
            <pc:sldMk cId="3648747636" sldId="2147469794"/>
            <ac:spMk id="9" creationId="{F65CBBED-5224-5076-0C31-381AF14C3C68}"/>
          </ac:spMkLst>
        </pc:spChg>
        <pc:spChg chg="del mod">
          <ac:chgData name="Paul LEGEARD" userId="73b5704d-da1d-4b70-8e12-6d54d32b01a3" providerId="ADAL" clId="{11E30BCA-5427-48A7-9089-5CE7CB5F003D}" dt="2023-04-18T17:38:13.082" v="931" actId="478"/>
          <ac:spMkLst>
            <pc:docMk/>
            <pc:sldMk cId="3648747636" sldId="2147469794"/>
            <ac:spMk id="10" creationId="{9EB876A4-742E-1318-8591-C31EE779B321}"/>
          </ac:spMkLst>
        </pc:spChg>
        <pc:spChg chg="add mod">
          <ac:chgData name="Paul LEGEARD" userId="73b5704d-da1d-4b70-8e12-6d54d32b01a3" providerId="ADAL" clId="{11E30BCA-5427-48A7-9089-5CE7CB5F003D}" dt="2023-04-24T06:12:01.190" v="10305" actId="14100"/>
          <ac:spMkLst>
            <pc:docMk/>
            <pc:sldMk cId="3648747636" sldId="2147469794"/>
            <ac:spMk id="11" creationId="{C5E9AE5C-92E8-F2E6-B9DB-DDE3D2CFBC5D}"/>
          </ac:spMkLst>
        </pc:spChg>
        <pc:spChg chg="add del mod">
          <ac:chgData name="Paul LEGEARD" userId="73b5704d-da1d-4b70-8e12-6d54d32b01a3" providerId="ADAL" clId="{11E30BCA-5427-48A7-9089-5CE7CB5F003D}" dt="2023-04-18T17:38:13.082" v="931" actId="478"/>
          <ac:spMkLst>
            <pc:docMk/>
            <pc:sldMk cId="3648747636" sldId="2147469794"/>
            <ac:spMk id="12" creationId="{3C6E1070-EEB6-9EB2-2847-63E4A02CB500}"/>
          </ac:spMkLst>
        </pc:spChg>
        <pc:spChg chg="add del mod">
          <ac:chgData name="Paul LEGEARD" userId="73b5704d-da1d-4b70-8e12-6d54d32b01a3" providerId="ADAL" clId="{11E30BCA-5427-48A7-9089-5CE7CB5F003D}" dt="2023-04-18T17:38:13.082" v="931" actId="478"/>
          <ac:spMkLst>
            <pc:docMk/>
            <pc:sldMk cId="3648747636" sldId="2147469794"/>
            <ac:spMk id="13" creationId="{9A0F6772-7DAD-6681-C37D-DD328BA2C7C6}"/>
          </ac:spMkLst>
        </pc:spChg>
        <pc:spChg chg="add del mod">
          <ac:chgData name="Paul LEGEARD" userId="73b5704d-da1d-4b70-8e12-6d54d32b01a3" providerId="ADAL" clId="{11E30BCA-5427-48A7-9089-5CE7CB5F003D}" dt="2023-04-24T06:11:36.694" v="10282"/>
          <ac:spMkLst>
            <pc:docMk/>
            <pc:sldMk cId="3648747636" sldId="2147469794"/>
            <ac:spMk id="13" creationId="{FB17E9ED-698F-8E9F-55D2-89DBB85000CA}"/>
          </ac:spMkLst>
        </pc:spChg>
        <pc:spChg chg="add del mod">
          <ac:chgData name="Paul LEGEARD" userId="73b5704d-da1d-4b70-8e12-6d54d32b01a3" providerId="ADAL" clId="{11E30BCA-5427-48A7-9089-5CE7CB5F003D}" dt="2023-04-18T17:38:13.082" v="931" actId="478"/>
          <ac:spMkLst>
            <pc:docMk/>
            <pc:sldMk cId="3648747636" sldId="2147469794"/>
            <ac:spMk id="14" creationId="{2B732E9A-3DB7-4E84-CEAB-79839F0C9006}"/>
          </ac:spMkLst>
        </pc:spChg>
        <pc:spChg chg="add mod">
          <ac:chgData name="Paul LEGEARD" userId="73b5704d-da1d-4b70-8e12-6d54d32b01a3" providerId="ADAL" clId="{11E30BCA-5427-48A7-9089-5CE7CB5F003D}" dt="2023-04-24T06:11:55.310" v="10303" actId="20577"/>
          <ac:spMkLst>
            <pc:docMk/>
            <pc:sldMk cId="3648747636" sldId="2147469794"/>
            <ac:spMk id="15" creationId="{67F25EA4-CE9C-42D2-F4E4-A816978C6305}"/>
          </ac:spMkLst>
        </pc:spChg>
        <pc:spChg chg="add del mod">
          <ac:chgData name="Paul LEGEARD" userId="73b5704d-da1d-4b70-8e12-6d54d32b01a3" providerId="ADAL" clId="{11E30BCA-5427-48A7-9089-5CE7CB5F003D}" dt="2023-04-18T17:38:13.082" v="931" actId="478"/>
          <ac:spMkLst>
            <pc:docMk/>
            <pc:sldMk cId="3648747636" sldId="2147469794"/>
            <ac:spMk id="15" creationId="{D4B2BB5D-F8C7-64F2-0658-747619A46E80}"/>
          </ac:spMkLst>
        </pc:spChg>
        <pc:spChg chg="add del mod">
          <ac:chgData name="Paul LEGEARD" userId="73b5704d-da1d-4b70-8e12-6d54d32b01a3" providerId="ADAL" clId="{11E30BCA-5427-48A7-9089-5CE7CB5F003D}" dt="2023-04-18T17:38:13.082" v="931" actId="478"/>
          <ac:spMkLst>
            <pc:docMk/>
            <pc:sldMk cId="3648747636" sldId="2147469794"/>
            <ac:spMk id="16" creationId="{660D5D3F-66F0-D71A-F2D7-CCCC9BD25C8F}"/>
          </ac:spMkLst>
        </pc:spChg>
        <pc:spChg chg="del">
          <ac:chgData name="Paul LEGEARD" userId="73b5704d-da1d-4b70-8e12-6d54d32b01a3" providerId="ADAL" clId="{11E30BCA-5427-48A7-9089-5CE7CB5F003D}" dt="2023-04-18T17:32:09.665" v="576" actId="478"/>
          <ac:spMkLst>
            <pc:docMk/>
            <pc:sldMk cId="3648747636" sldId="2147469794"/>
            <ac:spMk id="17" creationId="{813F333F-BB36-886D-0017-80A1BA89C807}"/>
          </ac:spMkLst>
        </pc:spChg>
        <pc:spChg chg="add del mod">
          <ac:chgData name="Paul LEGEARD" userId="73b5704d-da1d-4b70-8e12-6d54d32b01a3" providerId="ADAL" clId="{11E30BCA-5427-48A7-9089-5CE7CB5F003D}" dt="2023-04-18T17:38:13.082" v="931" actId="478"/>
          <ac:spMkLst>
            <pc:docMk/>
            <pc:sldMk cId="3648747636" sldId="2147469794"/>
            <ac:spMk id="18" creationId="{5A5CC926-61B0-5333-0399-458AB465E288}"/>
          </ac:spMkLst>
        </pc:spChg>
        <pc:spChg chg="add del mod">
          <ac:chgData name="Paul LEGEARD" userId="73b5704d-da1d-4b70-8e12-6d54d32b01a3" providerId="ADAL" clId="{11E30BCA-5427-48A7-9089-5CE7CB5F003D}" dt="2023-04-18T17:38:13.082" v="931" actId="478"/>
          <ac:spMkLst>
            <pc:docMk/>
            <pc:sldMk cId="3648747636" sldId="2147469794"/>
            <ac:spMk id="19" creationId="{DEC404F7-6456-ACF2-617F-C0D4F460844B}"/>
          </ac:spMkLst>
        </pc:spChg>
        <pc:spChg chg="del mod">
          <ac:chgData name="Paul LEGEARD" userId="73b5704d-da1d-4b70-8e12-6d54d32b01a3" providerId="ADAL" clId="{11E30BCA-5427-48A7-9089-5CE7CB5F003D}" dt="2023-04-18T17:30:27.694" v="501" actId="478"/>
          <ac:spMkLst>
            <pc:docMk/>
            <pc:sldMk cId="3648747636" sldId="2147469794"/>
            <ac:spMk id="22" creationId="{47C475A5-710A-FDBA-369A-6AC8B9941F71}"/>
          </ac:spMkLst>
        </pc:spChg>
        <pc:spChg chg="del mod">
          <ac:chgData name="Paul LEGEARD" userId="73b5704d-da1d-4b70-8e12-6d54d32b01a3" providerId="ADAL" clId="{11E30BCA-5427-48A7-9089-5CE7CB5F003D}" dt="2023-04-18T17:38:13.082" v="931" actId="478"/>
          <ac:spMkLst>
            <pc:docMk/>
            <pc:sldMk cId="3648747636" sldId="2147469794"/>
            <ac:spMk id="25" creationId="{0BA4A829-7A48-2E54-1F8A-DE46A12634A3}"/>
          </ac:spMkLst>
        </pc:spChg>
        <pc:spChg chg="del mod">
          <ac:chgData name="Paul LEGEARD" userId="73b5704d-da1d-4b70-8e12-6d54d32b01a3" providerId="ADAL" clId="{11E30BCA-5427-48A7-9089-5CE7CB5F003D}" dt="2023-04-18T17:38:13.082" v="931" actId="478"/>
          <ac:spMkLst>
            <pc:docMk/>
            <pc:sldMk cId="3648747636" sldId="2147469794"/>
            <ac:spMk id="26" creationId="{47528C7D-1BD8-1D0B-290B-65F9975458AD}"/>
          </ac:spMkLst>
        </pc:spChg>
        <pc:spChg chg="add mod ord">
          <ac:chgData name="Paul LEGEARD" userId="73b5704d-da1d-4b70-8e12-6d54d32b01a3" providerId="ADAL" clId="{11E30BCA-5427-48A7-9089-5CE7CB5F003D}" dt="2023-04-24T06:08:09.584" v="10209" actId="20577"/>
          <ac:spMkLst>
            <pc:docMk/>
            <pc:sldMk cId="3648747636" sldId="2147469794"/>
            <ac:spMk id="27" creationId="{AE4CED06-9D57-E1AB-4A5E-91C8A444EEB8}"/>
          </ac:spMkLst>
        </pc:spChg>
        <pc:spChg chg="add del mod ord">
          <ac:chgData name="Paul LEGEARD" userId="73b5704d-da1d-4b70-8e12-6d54d32b01a3" providerId="ADAL" clId="{11E30BCA-5427-48A7-9089-5CE7CB5F003D}" dt="2023-04-18T17:45:23.025" v="1510"/>
          <ac:spMkLst>
            <pc:docMk/>
            <pc:sldMk cId="3648747636" sldId="2147469794"/>
            <ac:spMk id="28" creationId="{704280B4-1BAB-EAF9-C4F8-61D4C7979063}"/>
          </ac:spMkLst>
        </pc:spChg>
        <pc:spChg chg="add mod">
          <ac:chgData name="Paul LEGEARD" userId="73b5704d-da1d-4b70-8e12-6d54d32b01a3" providerId="ADAL" clId="{11E30BCA-5427-48A7-9089-5CE7CB5F003D}" dt="2023-04-24T06:02:45.982" v="9890" actId="14100"/>
          <ac:spMkLst>
            <pc:docMk/>
            <pc:sldMk cId="3648747636" sldId="2147469794"/>
            <ac:spMk id="29" creationId="{5BAF18CC-9345-6B9E-7B40-37E259D5599F}"/>
          </ac:spMkLst>
        </pc:spChg>
        <pc:spChg chg="add mod">
          <ac:chgData name="Paul LEGEARD" userId="73b5704d-da1d-4b70-8e12-6d54d32b01a3" providerId="ADAL" clId="{11E30BCA-5427-48A7-9089-5CE7CB5F003D}" dt="2023-04-24T06:05:42.704" v="10094" actId="20577"/>
          <ac:spMkLst>
            <pc:docMk/>
            <pc:sldMk cId="3648747636" sldId="2147469794"/>
            <ac:spMk id="31" creationId="{5ABF90E5-53CB-9CB7-9688-7B3A1C0DC277}"/>
          </ac:spMkLst>
        </pc:spChg>
        <pc:spChg chg="del mod">
          <ac:chgData name="Paul LEGEARD" userId="73b5704d-da1d-4b70-8e12-6d54d32b01a3" providerId="ADAL" clId="{11E30BCA-5427-48A7-9089-5CE7CB5F003D}" dt="2023-04-18T17:38:13.082" v="931" actId="478"/>
          <ac:spMkLst>
            <pc:docMk/>
            <pc:sldMk cId="3648747636" sldId="2147469794"/>
            <ac:spMk id="36" creationId="{2CCD79DA-D087-7117-092A-1ED114774991}"/>
          </ac:spMkLst>
        </pc:spChg>
        <pc:spChg chg="del mod">
          <ac:chgData name="Paul LEGEARD" userId="73b5704d-da1d-4b70-8e12-6d54d32b01a3" providerId="ADAL" clId="{11E30BCA-5427-48A7-9089-5CE7CB5F003D}" dt="2023-04-18T17:38:13.082" v="931" actId="478"/>
          <ac:spMkLst>
            <pc:docMk/>
            <pc:sldMk cId="3648747636" sldId="2147469794"/>
            <ac:spMk id="43" creationId="{E236D620-3491-897A-01D4-AE29622018FC}"/>
          </ac:spMkLst>
        </pc:spChg>
        <pc:spChg chg="del mod">
          <ac:chgData name="Paul LEGEARD" userId="73b5704d-da1d-4b70-8e12-6d54d32b01a3" providerId="ADAL" clId="{11E30BCA-5427-48A7-9089-5CE7CB5F003D}" dt="2023-04-18T17:38:13.082" v="931" actId="478"/>
          <ac:spMkLst>
            <pc:docMk/>
            <pc:sldMk cId="3648747636" sldId="2147469794"/>
            <ac:spMk id="44" creationId="{7DC99D69-5170-D330-6E5E-6D2792787C35}"/>
          </ac:spMkLst>
        </pc:spChg>
        <pc:spChg chg="del mod">
          <ac:chgData name="Paul LEGEARD" userId="73b5704d-da1d-4b70-8e12-6d54d32b01a3" providerId="ADAL" clId="{11E30BCA-5427-48A7-9089-5CE7CB5F003D}" dt="2023-04-18T17:38:13.082" v="931" actId="478"/>
          <ac:spMkLst>
            <pc:docMk/>
            <pc:sldMk cId="3648747636" sldId="2147469794"/>
            <ac:spMk id="45" creationId="{A1FED9C3-C256-B7A6-4FB7-6F727676AEC1}"/>
          </ac:spMkLst>
        </pc:spChg>
        <pc:spChg chg="del mod">
          <ac:chgData name="Paul LEGEARD" userId="73b5704d-da1d-4b70-8e12-6d54d32b01a3" providerId="ADAL" clId="{11E30BCA-5427-48A7-9089-5CE7CB5F003D}" dt="2023-04-18T17:38:13.082" v="931" actId="478"/>
          <ac:spMkLst>
            <pc:docMk/>
            <pc:sldMk cId="3648747636" sldId="2147469794"/>
            <ac:spMk id="46" creationId="{DAEAF24F-0861-79C6-8511-05BFB63124D9}"/>
          </ac:spMkLst>
        </pc:spChg>
        <pc:spChg chg="del mod">
          <ac:chgData name="Paul LEGEARD" userId="73b5704d-da1d-4b70-8e12-6d54d32b01a3" providerId="ADAL" clId="{11E30BCA-5427-48A7-9089-5CE7CB5F003D}" dt="2023-04-18T17:38:13.082" v="931" actId="478"/>
          <ac:spMkLst>
            <pc:docMk/>
            <pc:sldMk cId="3648747636" sldId="2147469794"/>
            <ac:spMk id="47" creationId="{43938DDB-7FA7-A527-CFDB-620CD7FABAEB}"/>
          </ac:spMkLst>
        </pc:spChg>
        <pc:picChg chg="add del mod">
          <ac:chgData name="Paul LEGEARD" userId="73b5704d-da1d-4b70-8e12-6d54d32b01a3" providerId="ADAL" clId="{11E30BCA-5427-48A7-9089-5CE7CB5F003D}" dt="2023-04-24T06:03:02.748" v="9894" actId="478"/>
          <ac:picMkLst>
            <pc:docMk/>
            <pc:sldMk cId="3648747636" sldId="2147469794"/>
            <ac:picMk id="3" creationId="{D8D7A202-4BE8-6567-BD62-EBC1ED273411}"/>
          </ac:picMkLst>
        </pc:picChg>
        <pc:picChg chg="add mod">
          <ac:chgData name="Paul LEGEARD" userId="73b5704d-da1d-4b70-8e12-6d54d32b01a3" providerId="ADAL" clId="{11E30BCA-5427-48A7-9089-5CE7CB5F003D}" dt="2023-04-24T06:07:30.348" v="10147" actId="1076"/>
          <ac:picMkLst>
            <pc:docMk/>
            <pc:sldMk cId="3648747636" sldId="2147469794"/>
            <ac:picMk id="5" creationId="{ED939BE9-77DC-5050-A07C-777C5FDE9970}"/>
          </ac:picMkLst>
        </pc:picChg>
        <pc:picChg chg="add del mod">
          <ac:chgData name="Paul LEGEARD" userId="73b5704d-da1d-4b70-8e12-6d54d32b01a3" providerId="ADAL" clId="{11E30BCA-5427-48A7-9089-5CE7CB5F003D}" dt="2023-04-24T06:07:23.592" v="10144" actId="478"/>
          <ac:picMkLst>
            <pc:docMk/>
            <pc:sldMk cId="3648747636" sldId="2147469794"/>
            <ac:picMk id="7" creationId="{6A7018D8-E2B8-6A8C-E4DF-A4EA8D84306C}"/>
          </ac:picMkLst>
        </pc:picChg>
        <pc:picChg chg="add del mod">
          <ac:chgData name="Paul LEGEARD" userId="73b5704d-da1d-4b70-8e12-6d54d32b01a3" providerId="ADAL" clId="{11E30BCA-5427-48A7-9089-5CE7CB5F003D}" dt="2023-04-24T06:07:40.154" v="10149"/>
          <ac:picMkLst>
            <pc:docMk/>
            <pc:sldMk cId="3648747636" sldId="2147469794"/>
            <ac:picMk id="10" creationId="{D5733A40-102A-2518-0E14-7C965CBA2AA4}"/>
          </ac:picMkLst>
        </pc:picChg>
        <pc:picChg chg="del">
          <ac:chgData name="Paul LEGEARD" userId="73b5704d-da1d-4b70-8e12-6d54d32b01a3" providerId="ADAL" clId="{11E30BCA-5427-48A7-9089-5CE7CB5F003D}" dt="2023-04-18T17:32:09.665" v="576" actId="478"/>
          <ac:picMkLst>
            <pc:docMk/>
            <pc:sldMk cId="3648747636" sldId="2147469794"/>
            <ac:picMk id="11" creationId="{9E93D060-E1B1-8134-C289-6713DD64C315}"/>
          </ac:picMkLst>
        </pc:picChg>
        <pc:picChg chg="add del mod">
          <ac:chgData name="Paul LEGEARD" userId="73b5704d-da1d-4b70-8e12-6d54d32b01a3" providerId="ADAL" clId="{11E30BCA-5427-48A7-9089-5CE7CB5F003D}" dt="2023-04-24T06:10:54.016" v="10271" actId="478"/>
          <ac:picMkLst>
            <pc:docMk/>
            <pc:sldMk cId="3648747636" sldId="2147469794"/>
            <ac:picMk id="12" creationId="{3A9374E7-EC8C-AB01-194A-3EBC5D89AD38}"/>
          </ac:picMkLst>
        </pc:picChg>
        <pc:picChg chg="add del mod">
          <ac:chgData name="Paul LEGEARD" userId="73b5704d-da1d-4b70-8e12-6d54d32b01a3" providerId="ADAL" clId="{11E30BCA-5427-48A7-9089-5CE7CB5F003D}" dt="2023-04-24T06:11:36.694" v="10282"/>
          <ac:picMkLst>
            <pc:docMk/>
            <pc:sldMk cId="3648747636" sldId="2147469794"/>
            <ac:picMk id="14" creationId="{C99EC789-6E5C-0780-3A96-5FA08D5EE92D}"/>
          </ac:picMkLst>
        </pc:picChg>
        <pc:picChg chg="add mod">
          <ac:chgData name="Paul LEGEARD" userId="73b5704d-da1d-4b70-8e12-6d54d32b01a3" providerId="ADAL" clId="{11E30BCA-5427-48A7-9089-5CE7CB5F003D}" dt="2023-04-24T06:02:06.671" v="9887" actId="1076"/>
          <ac:picMkLst>
            <pc:docMk/>
            <pc:sldMk cId="3648747636" sldId="2147469794"/>
            <ac:picMk id="20" creationId="{C54B6A39-BCB2-1808-5D9B-96ACC08BF7E5}"/>
          </ac:picMkLst>
        </pc:picChg>
        <pc:picChg chg="add mod">
          <ac:chgData name="Paul LEGEARD" userId="73b5704d-da1d-4b70-8e12-6d54d32b01a3" providerId="ADAL" clId="{11E30BCA-5427-48A7-9089-5CE7CB5F003D}" dt="2023-04-24T06:02:11.292" v="9888" actId="1076"/>
          <ac:picMkLst>
            <pc:docMk/>
            <pc:sldMk cId="3648747636" sldId="2147469794"/>
            <ac:picMk id="21" creationId="{AE59EB7E-E191-1262-4391-983B9FF2B935}"/>
          </ac:picMkLst>
        </pc:picChg>
        <pc:picChg chg="add mod">
          <ac:chgData name="Paul LEGEARD" userId="73b5704d-da1d-4b70-8e12-6d54d32b01a3" providerId="ADAL" clId="{11E30BCA-5427-48A7-9089-5CE7CB5F003D}" dt="2023-04-24T06:02:43.401" v="9889" actId="1076"/>
          <ac:picMkLst>
            <pc:docMk/>
            <pc:sldMk cId="3648747636" sldId="2147469794"/>
            <ac:picMk id="23" creationId="{51A95395-3F30-015E-1ED2-A29536B821F7}"/>
          </ac:picMkLst>
        </pc:picChg>
        <pc:picChg chg="del">
          <ac:chgData name="Paul LEGEARD" userId="73b5704d-da1d-4b70-8e12-6d54d32b01a3" providerId="ADAL" clId="{11E30BCA-5427-48A7-9089-5CE7CB5F003D}" dt="2023-04-18T17:32:28.663" v="585" actId="478"/>
          <ac:picMkLst>
            <pc:docMk/>
            <pc:sldMk cId="3648747636" sldId="2147469794"/>
            <ac:picMk id="24" creationId="{6D551F6A-DDEB-AD8B-07EC-28358D62A54C}"/>
          </ac:picMkLst>
        </pc:picChg>
        <pc:picChg chg="add del mod">
          <ac:chgData name="Paul LEGEARD" userId="73b5704d-da1d-4b70-8e12-6d54d32b01a3" providerId="ADAL" clId="{11E30BCA-5427-48A7-9089-5CE7CB5F003D}" dt="2023-04-18T17:49:29.358" v="1676" actId="478"/>
          <ac:picMkLst>
            <pc:docMk/>
            <pc:sldMk cId="3648747636" sldId="2147469794"/>
            <ac:picMk id="30" creationId="{52CD4E81-5E05-170F-2F63-A0A544247772}"/>
          </ac:picMkLst>
        </pc:picChg>
        <pc:picChg chg="del mod">
          <ac:chgData name="Paul LEGEARD" userId="73b5704d-da1d-4b70-8e12-6d54d32b01a3" providerId="ADAL" clId="{11E30BCA-5427-48A7-9089-5CE7CB5F003D}" dt="2023-04-18T17:38:13.082" v="931" actId="478"/>
          <ac:picMkLst>
            <pc:docMk/>
            <pc:sldMk cId="3648747636" sldId="2147469794"/>
            <ac:picMk id="38" creationId="{83C722D3-DE5D-1345-9435-E2AE811CF099}"/>
          </ac:picMkLst>
        </pc:picChg>
        <pc:picChg chg="add mod">
          <ac:chgData name="Paul LEGEARD" userId="73b5704d-da1d-4b70-8e12-6d54d32b01a3" providerId="ADAL" clId="{11E30BCA-5427-48A7-9089-5CE7CB5F003D}" dt="2023-04-24T06:11:31.475" v="10280" actId="1076"/>
          <ac:picMkLst>
            <pc:docMk/>
            <pc:sldMk cId="3648747636" sldId="2147469794"/>
            <ac:picMk id="1026" creationId="{F29677F2-4CA7-9C8E-5EE0-48B81EFEB04D}"/>
          </ac:picMkLst>
        </pc:picChg>
        <pc:picChg chg="add mod">
          <ac:chgData name="Paul LEGEARD" userId="73b5704d-da1d-4b70-8e12-6d54d32b01a3" providerId="ADAL" clId="{11E30BCA-5427-48A7-9089-5CE7CB5F003D}" dt="2023-04-24T06:11:51.013" v="10287" actId="166"/>
          <ac:picMkLst>
            <pc:docMk/>
            <pc:sldMk cId="3648747636" sldId="2147469794"/>
            <ac:picMk id="1028" creationId="{55DF913C-954B-6682-F65A-43BFDEFBE7BE}"/>
          </ac:picMkLst>
        </pc:picChg>
        <pc:picChg chg="add mod">
          <ac:chgData name="Paul LEGEARD" userId="73b5704d-da1d-4b70-8e12-6d54d32b01a3" providerId="ADAL" clId="{11E30BCA-5427-48A7-9089-5CE7CB5F003D}" dt="2023-04-24T06:12:07.059" v="10307" actId="1076"/>
          <ac:picMkLst>
            <pc:docMk/>
            <pc:sldMk cId="3648747636" sldId="2147469794"/>
            <ac:picMk id="1030" creationId="{0143437A-EBDC-3822-55A6-8721EC9A19D1}"/>
          </ac:picMkLst>
        </pc:picChg>
        <pc:cxnChg chg="del mod">
          <ac:chgData name="Paul LEGEARD" userId="73b5704d-da1d-4b70-8e12-6d54d32b01a3" providerId="ADAL" clId="{11E30BCA-5427-48A7-9089-5CE7CB5F003D}" dt="2023-04-18T17:38:13.082" v="931" actId="478"/>
          <ac:cxnSpMkLst>
            <pc:docMk/>
            <pc:sldMk cId="3648747636" sldId="2147469794"/>
            <ac:cxnSpMk id="2" creationId="{14765310-8D7B-00FF-E6FA-22E661861B87}"/>
          </ac:cxnSpMkLst>
        </pc:cxnChg>
        <pc:cxnChg chg="add del mod">
          <ac:chgData name="Paul LEGEARD" userId="73b5704d-da1d-4b70-8e12-6d54d32b01a3" providerId="ADAL" clId="{11E30BCA-5427-48A7-9089-5CE7CB5F003D}" dt="2023-04-18T17:38:13.082" v="931" actId="478"/>
          <ac:cxnSpMkLst>
            <pc:docMk/>
            <pc:sldMk cId="3648747636" sldId="2147469794"/>
            <ac:cxnSpMk id="32" creationId="{E2036FF3-4F86-5495-A37A-799B6E070C3D}"/>
          </ac:cxnSpMkLst>
        </pc:cxnChg>
        <pc:cxnChg chg="del mod">
          <ac:chgData name="Paul LEGEARD" userId="73b5704d-da1d-4b70-8e12-6d54d32b01a3" providerId="ADAL" clId="{11E30BCA-5427-48A7-9089-5CE7CB5F003D}" dt="2023-04-18T17:32:07.550" v="575" actId="478"/>
          <ac:cxnSpMkLst>
            <pc:docMk/>
            <pc:sldMk cId="3648747636" sldId="2147469794"/>
            <ac:cxnSpMk id="41" creationId="{B69364FF-74BF-81F8-8CC9-BF00A61C260D}"/>
          </ac:cxnSpMkLst>
        </pc:cxnChg>
      </pc:sldChg>
      <pc:sldChg chg="del">
        <pc:chgData name="Paul LEGEARD" userId="73b5704d-da1d-4b70-8e12-6d54d32b01a3" providerId="ADAL" clId="{11E30BCA-5427-48A7-9089-5CE7CB5F003D}" dt="2023-04-18T17:38:42.017" v="955" actId="47"/>
        <pc:sldMkLst>
          <pc:docMk/>
          <pc:sldMk cId="1883560432" sldId="2147469799"/>
        </pc:sldMkLst>
      </pc:sldChg>
      <pc:sldChg chg="del">
        <pc:chgData name="Paul LEGEARD" userId="73b5704d-da1d-4b70-8e12-6d54d32b01a3" providerId="ADAL" clId="{11E30BCA-5427-48A7-9089-5CE7CB5F003D}" dt="2023-04-18T17:58:16.111" v="2129" actId="47"/>
        <pc:sldMkLst>
          <pc:docMk/>
          <pc:sldMk cId="720060185" sldId="2147469801"/>
        </pc:sldMkLst>
      </pc:sldChg>
      <pc:sldChg chg="del">
        <pc:chgData name="Paul LEGEARD" userId="73b5704d-da1d-4b70-8e12-6d54d32b01a3" providerId="ADAL" clId="{11E30BCA-5427-48A7-9089-5CE7CB5F003D}" dt="2023-04-18T17:40:11.644" v="1044" actId="47"/>
        <pc:sldMkLst>
          <pc:docMk/>
          <pc:sldMk cId="276858959" sldId="2147469807"/>
        </pc:sldMkLst>
      </pc:sldChg>
      <pc:sldChg chg="del">
        <pc:chgData name="Paul LEGEARD" userId="73b5704d-da1d-4b70-8e12-6d54d32b01a3" providerId="ADAL" clId="{11E30BCA-5427-48A7-9089-5CE7CB5F003D}" dt="2023-04-18T17:38:16.629" v="932" actId="47"/>
        <pc:sldMkLst>
          <pc:docMk/>
          <pc:sldMk cId="3133005560" sldId="2147469814"/>
        </pc:sldMkLst>
      </pc:sldChg>
      <pc:sldChg chg="del">
        <pc:chgData name="Paul LEGEARD" userId="73b5704d-da1d-4b70-8e12-6d54d32b01a3" providerId="ADAL" clId="{11E30BCA-5427-48A7-9089-5CE7CB5F003D}" dt="2023-04-18T17:39:48.089" v="997" actId="47"/>
        <pc:sldMkLst>
          <pc:docMk/>
          <pc:sldMk cId="1579305907" sldId="2147469815"/>
        </pc:sldMkLst>
      </pc:sldChg>
      <pc:sldChg chg="del">
        <pc:chgData name="Paul LEGEARD" userId="73b5704d-da1d-4b70-8e12-6d54d32b01a3" providerId="ADAL" clId="{11E30BCA-5427-48A7-9089-5CE7CB5F003D}" dt="2023-04-18T17:38:17.559" v="933" actId="47"/>
        <pc:sldMkLst>
          <pc:docMk/>
          <pc:sldMk cId="1933743795" sldId="2147469816"/>
        </pc:sldMkLst>
      </pc:sldChg>
      <pc:sldChg chg="modSp del mod">
        <pc:chgData name="Paul LEGEARD" userId="73b5704d-da1d-4b70-8e12-6d54d32b01a3" providerId="ADAL" clId="{11E30BCA-5427-48A7-9089-5CE7CB5F003D}" dt="2023-04-24T05:57:54.350" v="9592" actId="47"/>
        <pc:sldMkLst>
          <pc:docMk/>
          <pc:sldMk cId="399927874" sldId="2147469818"/>
        </pc:sldMkLst>
        <pc:spChg chg="mod">
          <ac:chgData name="Paul LEGEARD" userId="73b5704d-da1d-4b70-8e12-6d54d32b01a3" providerId="ADAL" clId="{11E30BCA-5427-48A7-9089-5CE7CB5F003D}" dt="2023-04-18T17:38:36.309" v="954" actId="20577"/>
          <ac:spMkLst>
            <pc:docMk/>
            <pc:sldMk cId="399927874" sldId="2147469818"/>
            <ac:spMk id="4" creationId="{52AFB3F8-88A7-4D69-8A52-45D00774625C}"/>
          </ac:spMkLst>
        </pc:spChg>
      </pc:sldChg>
      <pc:sldChg chg="del">
        <pc:chgData name="Paul LEGEARD" userId="73b5704d-da1d-4b70-8e12-6d54d32b01a3" providerId="ADAL" clId="{11E30BCA-5427-48A7-9089-5CE7CB5F003D}" dt="2023-04-18T17:40:22.664" v="1074" actId="47"/>
        <pc:sldMkLst>
          <pc:docMk/>
          <pc:sldMk cId="4174105161" sldId="2147469819"/>
        </pc:sldMkLst>
      </pc:sldChg>
      <pc:sldChg chg="del">
        <pc:chgData name="Paul LEGEARD" userId="73b5704d-da1d-4b70-8e12-6d54d32b01a3" providerId="ADAL" clId="{11E30BCA-5427-48A7-9089-5CE7CB5F003D}" dt="2023-04-18T17:40:23.271" v="1075" actId="47"/>
        <pc:sldMkLst>
          <pc:docMk/>
          <pc:sldMk cId="2732896695" sldId="2147469820"/>
        </pc:sldMkLst>
      </pc:sldChg>
      <pc:sldChg chg="addSp delSp modSp del mod">
        <pc:chgData name="Paul LEGEARD" userId="73b5704d-da1d-4b70-8e12-6d54d32b01a3" providerId="ADAL" clId="{11E30BCA-5427-48A7-9089-5CE7CB5F003D}" dt="2023-04-24T06:28:53.659" v="11320" actId="47"/>
        <pc:sldMkLst>
          <pc:docMk/>
          <pc:sldMk cId="2214010875" sldId="2147469821"/>
        </pc:sldMkLst>
        <pc:spChg chg="del">
          <ac:chgData name="Paul LEGEARD" userId="73b5704d-da1d-4b70-8e12-6d54d32b01a3" providerId="ADAL" clId="{11E30BCA-5427-48A7-9089-5CE7CB5F003D}" dt="2023-04-18T17:40:42.966" v="1151" actId="478"/>
          <ac:spMkLst>
            <pc:docMk/>
            <pc:sldMk cId="2214010875" sldId="2147469821"/>
            <ac:spMk id="2" creationId="{476DBF04-A1D6-B4EB-38D7-C87B666A73E3}"/>
          </ac:spMkLst>
        </pc:spChg>
        <pc:spChg chg="add del">
          <ac:chgData name="Paul LEGEARD" userId="73b5704d-da1d-4b70-8e12-6d54d32b01a3" providerId="ADAL" clId="{11E30BCA-5427-48A7-9089-5CE7CB5F003D}" dt="2023-04-24T06:12:50.073" v="10381" actId="478"/>
          <ac:spMkLst>
            <pc:docMk/>
            <pc:sldMk cId="2214010875" sldId="2147469821"/>
            <ac:spMk id="2" creationId="{98089DB7-CE2C-D734-D826-03514CC18615}"/>
          </ac:spMkLst>
        </pc:spChg>
        <pc:spChg chg="add mod">
          <ac:chgData name="Paul LEGEARD" userId="73b5704d-da1d-4b70-8e12-6d54d32b01a3" providerId="ADAL" clId="{11E30BCA-5427-48A7-9089-5CE7CB5F003D}" dt="2023-04-21T15:20:49.054" v="9132" actId="20577"/>
          <ac:spMkLst>
            <pc:docMk/>
            <pc:sldMk cId="2214010875" sldId="2147469821"/>
            <ac:spMk id="3" creationId="{868D8618-14FB-16D5-024A-4010A2700A05}"/>
          </ac:spMkLst>
        </pc:spChg>
        <pc:spChg chg="mod">
          <ac:chgData name="Paul LEGEARD" userId="73b5704d-da1d-4b70-8e12-6d54d32b01a3" providerId="ADAL" clId="{11E30BCA-5427-48A7-9089-5CE7CB5F003D}" dt="2023-04-24T06:12:44.332" v="10379" actId="20577"/>
          <ac:spMkLst>
            <pc:docMk/>
            <pc:sldMk cId="2214010875" sldId="2147469821"/>
            <ac:spMk id="4" creationId="{52AFB3F8-88A7-4D69-8A52-45D00774625C}"/>
          </ac:spMkLst>
        </pc:spChg>
        <pc:spChg chg="add del mod">
          <ac:chgData name="Paul LEGEARD" userId="73b5704d-da1d-4b70-8e12-6d54d32b01a3" providerId="ADAL" clId="{11E30BCA-5427-48A7-9089-5CE7CB5F003D}" dt="2023-04-18T18:03:38.657" v="2646"/>
          <ac:spMkLst>
            <pc:docMk/>
            <pc:sldMk cId="2214010875" sldId="2147469821"/>
            <ac:spMk id="5" creationId="{EC7A574E-2133-36EC-4DDF-466C9BD35DF9}"/>
          </ac:spMkLst>
        </pc:spChg>
        <pc:spChg chg="del">
          <ac:chgData name="Paul LEGEARD" userId="73b5704d-da1d-4b70-8e12-6d54d32b01a3" providerId="ADAL" clId="{11E30BCA-5427-48A7-9089-5CE7CB5F003D}" dt="2023-04-18T17:40:42.966" v="1151" actId="478"/>
          <ac:spMkLst>
            <pc:docMk/>
            <pc:sldMk cId="2214010875" sldId="2147469821"/>
            <ac:spMk id="6" creationId="{9B9F62AA-4322-0782-A247-9916050CFFF7}"/>
          </ac:spMkLst>
        </pc:spChg>
        <pc:spChg chg="add mod ord">
          <ac:chgData name="Paul LEGEARD" userId="73b5704d-da1d-4b70-8e12-6d54d32b01a3" providerId="ADAL" clId="{11E30BCA-5427-48A7-9089-5CE7CB5F003D}" dt="2023-04-21T15:19:05.945" v="8884" actId="1076"/>
          <ac:spMkLst>
            <pc:docMk/>
            <pc:sldMk cId="2214010875" sldId="2147469821"/>
            <ac:spMk id="6" creationId="{A7578390-7AC2-C6E6-266B-734D01898DEF}"/>
          </ac:spMkLst>
        </pc:spChg>
        <pc:spChg chg="del">
          <ac:chgData name="Paul LEGEARD" userId="73b5704d-da1d-4b70-8e12-6d54d32b01a3" providerId="ADAL" clId="{11E30BCA-5427-48A7-9089-5CE7CB5F003D}" dt="2023-04-18T17:40:42.966" v="1151" actId="478"/>
          <ac:spMkLst>
            <pc:docMk/>
            <pc:sldMk cId="2214010875" sldId="2147469821"/>
            <ac:spMk id="7" creationId="{C6D509DD-764C-44D3-ACB5-7C117960B46B}"/>
          </ac:spMkLst>
        </pc:spChg>
        <pc:spChg chg="add mod">
          <ac:chgData name="Paul LEGEARD" userId="73b5704d-da1d-4b70-8e12-6d54d32b01a3" providerId="ADAL" clId="{11E30BCA-5427-48A7-9089-5CE7CB5F003D}" dt="2023-04-21T15:16:15.175" v="8723" actId="20577"/>
          <ac:spMkLst>
            <pc:docMk/>
            <pc:sldMk cId="2214010875" sldId="2147469821"/>
            <ac:spMk id="7" creationId="{F0391F6B-112E-9954-FD87-3E4A9580A547}"/>
          </ac:spMkLst>
        </pc:spChg>
        <pc:spChg chg="del">
          <ac:chgData name="Paul LEGEARD" userId="73b5704d-da1d-4b70-8e12-6d54d32b01a3" providerId="ADAL" clId="{11E30BCA-5427-48A7-9089-5CE7CB5F003D}" dt="2023-04-18T17:40:42.966" v="1151" actId="478"/>
          <ac:spMkLst>
            <pc:docMk/>
            <pc:sldMk cId="2214010875" sldId="2147469821"/>
            <ac:spMk id="9" creationId="{414CD880-89CD-EC13-BE04-75A0EB0F3452}"/>
          </ac:spMkLst>
        </pc:spChg>
        <pc:spChg chg="add mod">
          <ac:chgData name="Paul LEGEARD" userId="73b5704d-da1d-4b70-8e12-6d54d32b01a3" providerId="ADAL" clId="{11E30BCA-5427-48A7-9089-5CE7CB5F003D}" dt="2023-04-21T15:19:05.945" v="8884" actId="1076"/>
          <ac:spMkLst>
            <pc:docMk/>
            <pc:sldMk cId="2214010875" sldId="2147469821"/>
            <ac:spMk id="9" creationId="{8C4E97D3-D5AF-5AE9-8A78-A63E688D691B}"/>
          </ac:spMkLst>
        </pc:spChg>
        <pc:spChg chg="del">
          <ac:chgData name="Paul LEGEARD" userId="73b5704d-da1d-4b70-8e12-6d54d32b01a3" providerId="ADAL" clId="{11E30BCA-5427-48A7-9089-5CE7CB5F003D}" dt="2023-04-18T17:40:42.966" v="1151" actId="478"/>
          <ac:spMkLst>
            <pc:docMk/>
            <pc:sldMk cId="2214010875" sldId="2147469821"/>
            <ac:spMk id="10" creationId="{4709671A-0C4E-DD74-97C2-9FD1C5B2EFD0}"/>
          </ac:spMkLst>
        </pc:spChg>
        <pc:spChg chg="add mod">
          <ac:chgData name="Paul LEGEARD" userId="73b5704d-da1d-4b70-8e12-6d54d32b01a3" providerId="ADAL" clId="{11E30BCA-5427-48A7-9089-5CE7CB5F003D}" dt="2023-04-21T15:19:05.945" v="8884" actId="1076"/>
          <ac:spMkLst>
            <pc:docMk/>
            <pc:sldMk cId="2214010875" sldId="2147469821"/>
            <ac:spMk id="10" creationId="{FB7F69FF-C6B5-2760-96AD-233A0A46CD24}"/>
          </ac:spMkLst>
        </pc:spChg>
        <pc:spChg chg="add del mod">
          <ac:chgData name="Paul LEGEARD" userId="73b5704d-da1d-4b70-8e12-6d54d32b01a3" providerId="ADAL" clId="{11E30BCA-5427-48A7-9089-5CE7CB5F003D}" dt="2023-04-18T18:02:48.107" v="2557" actId="478"/>
          <ac:spMkLst>
            <pc:docMk/>
            <pc:sldMk cId="2214010875" sldId="2147469821"/>
            <ac:spMk id="11" creationId="{5514A205-67D6-6DB0-8D77-F3FBF88FFDE1}"/>
          </ac:spMkLst>
        </pc:spChg>
        <pc:spChg chg="add mod ord">
          <ac:chgData name="Paul LEGEARD" userId="73b5704d-da1d-4b70-8e12-6d54d32b01a3" providerId="ADAL" clId="{11E30BCA-5427-48A7-9089-5CE7CB5F003D}" dt="2023-04-21T15:19:05.945" v="8884" actId="1076"/>
          <ac:spMkLst>
            <pc:docMk/>
            <pc:sldMk cId="2214010875" sldId="2147469821"/>
            <ac:spMk id="12" creationId="{3963AA16-B62E-F4B6-81D3-0ADB309EC472}"/>
          </ac:spMkLst>
        </pc:spChg>
        <pc:spChg chg="add mod">
          <ac:chgData name="Paul LEGEARD" userId="73b5704d-da1d-4b70-8e12-6d54d32b01a3" providerId="ADAL" clId="{11E30BCA-5427-48A7-9089-5CE7CB5F003D}" dt="2023-04-21T15:17:54.548" v="8877" actId="1076"/>
          <ac:spMkLst>
            <pc:docMk/>
            <pc:sldMk cId="2214010875" sldId="2147469821"/>
            <ac:spMk id="14" creationId="{B66A1D62-CAF4-FC08-0664-A4C977496351}"/>
          </ac:spMkLst>
        </pc:spChg>
        <pc:spChg chg="add del mod">
          <ac:chgData name="Paul LEGEARD" userId="73b5704d-da1d-4b70-8e12-6d54d32b01a3" providerId="ADAL" clId="{11E30BCA-5427-48A7-9089-5CE7CB5F003D}" dt="2023-04-18T18:12:49.463" v="3640" actId="478"/>
          <ac:spMkLst>
            <pc:docMk/>
            <pc:sldMk cId="2214010875" sldId="2147469821"/>
            <ac:spMk id="15" creationId="{0C3E16D9-AA32-240D-3171-64BD97962F82}"/>
          </ac:spMkLst>
        </pc:spChg>
        <pc:spChg chg="add mod">
          <ac:chgData name="Paul LEGEARD" userId="73b5704d-da1d-4b70-8e12-6d54d32b01a3" providerId="ADAL" clId="{11E30BCA-5427-48A7-9089-5CE7CB5F003D}" dt="2023-04-24T06:16:35.695" v="10714" actId="207"/>
          <ac:spMkLst>
            <pc:docMk/>
            <pc:sldMk cId="2214010875" sldId="2147469821"/>
            <ac:spMk id="16" creationId="{D3C71103-432D-A1B4-CFC5-95BAB846BD47}"/>
          </ac:spMkLst>
        </pc:spChg>
        <pc:spChg chg="add del mod">
          <ac:chgData name="Paul LEGEARD" userId="73b5704d-da1d-4b70-8e12-6d54d32b01a3" providerId="ADAL" clId="{11E30BCA-5427-48A7-9089-5CE7CB5F003D}" dt="2023-04-18T18:12:42.318" v="3637" actId="478"/>
          <ac:spMkLst>
            <pc:docMk/>
            <pc:sldMk cId="2214010875" sldId="2147469821"/>
            <ac:spMk id="17" creationId="{AFD9824F-A1B7-6C64-DE9F-D67154ADAA05}"/>
          </ac:spMkLst>
        </pc:spChg>
        <pc:spChg chg="add mod ord">
          <ac:chgData name="Paul LEGEARD" userId="73b5704d-da1d-4b70-8e12-6d54d32b01a3" providerId="ADAL" clId="{11E30BCA-5427-48A7-9089-5CE7CB5F003D}" dt="2023-04-21T15:19:05.945" v="8884" actId="1076"/>
          <ac:spMkLst>
            <pc:docMk/>
            <pc:sldMk cId="2214010875" sldId="2147469821"/>
            <ac:spMk id="18" creationId="{B9712D27-07C5-8D2A-522D-5BA66588959C}"/>
          </ac:spMkLst>
        </pc:spChg>
        <pc:spChg chg="add mod ord">
          <ac:chgData name="Paul LEGEARD" userId="73b5704d-da1d-4b70-8e12-6d54d32b01a3" providerId="ADAL" clId="{11E30BCA-5427-48A7-9089-5CE7CB5F003D}" dt="2023-04-21T15:19:05.945" v="8884" actId="1076"/>
          <ac:spMkLst>
            <pc:docMk/>
            <pc:sldMk cId="2214010875" sldId="2147469821"/>
            <ac:spMk id="20" creationId="{9F2F71DC-F464-E5FF-BD08-AA48F1B79C4E}"/>
          </ac:spMkLst>
        </pc:spChg>
        <pc:spChg chg="add mod">
          <ac:chgData name="Paul LEGEARD" userId="73b5704d-da1d-4b70-8e12-6d54d32b01a3" providerId="ADAL" clId="{11E30BCA-5427-48A7-9089-5CE7CB5F003D}" dt="2023-04-21T15:17:46.544" v="8876" actId="14100"/>
          <ac:spMkLst>
            <pc:docMk/>
            <pc:sldMk cId="2214010875" sldId="2147469821"/>
            <ac:spMk id="21" creationId="{FC63B32E-1BA9-2FB0-C5BA-0892F51E1074}"/>
          </ac:spMkLst>
        </pc:spChg>
        <pc:spChg chg="add mod">
          <ac:chgData name="Paul LEGEARD" userId="73b5704d-da1d-4b70-8e12-6d54d32b01a3" providerId="ADAL" clId="{11E30BCA-5427-48A7-9089-5CE7CB5F003D}" dt="2023-04-18T18:14:34.629" v="3903" actId="1076"/>
          <ac:spMkLst>
            <pc:docMk/>
            <pc:sldMk cId="2214010875" sldId="2147469821"/>
            <ac:spMk id="22" creationId="{AE8AD87D-6C05-F005-68E1-2FB53895F505}"/>
          </ac:spMkLst>
        </pc:spChg>
        <pc:spChg chg="add mod">
          <ac:chgData name="Paul LEGEARD" userId="73b5704d-da1d-4b70-8e12-6d54d32b01a3" providerId="ADAL" clId="{11E30BCA-5427-48A7-9089-5CE7CB5F003D}" dt="2023-04-21T15:17:30.240" v="8875" actId="6549"/>
          <ac:spMkLst>
            <pc:docMk/>
            <pc:sldMk cId="2214010875" sldId="2147469821"/>
            <ac:spMk id="23" creationId="{A9003C91-F92A-42B8-C89B-9A3153CCFFD5}"/>
          </ac:spMkLst>
        </pc:spChg>
        <pc:picChg chg="add mod">
          <ac:chgData name="Paul LEGEARD" userId="73b5704d-da1d-4b70-8e12-6d54d32b01a3" providerId="ADAL" clId="{11E30BCA-5427-48A7-9089-5CE7CB5F003D}" dt="2023-04-24T06:17:23.528" v="10717" actId="1076"/>
          <ac:picMkLst>
            <pc:docMk/>
            <pc:sldMk cId="2214010875" sldId="2147469821"/>
            <ac:picMk id="13" creationId="{0EB5BF46-D5C2-39BE-A57B-BBCF9E2CA004}"/>
          </ac:picMkLst>
        </pc:picChg>
        <pc:picChg chg="del">
          <ac:chgData name="Paul LEGEARD" userId="73b5704d-da1d-4b70-8e12-6d54d32b01a3" providerId="ADAL" clId="{11E30BCA-5427-48A7-9089-5CE7CB5F003D}" dt="2023-04-18T17:40:42.966" v="1151" actId="478"/>
          <ac:picMkLst>
            <pc:docMk/>
            <pc:sldMk cId="2214010875" sldId="2147469821"/>
            <ac:picMk id="13" creationId="{61FC3C3B-D86B-3200-C915-FB64C8FFFDE3}"/>
          </ac:picMkLst>
        </pc:picChg>
        <pc:picChg chg="del">
          <ac:chgData name="Paul LEGEARD" userId="73b5704d-da1d-4b70-8e12-6d54d32b01a3" providerId="ADAL" clId="{11E30BCA-5427-48A7-9089-5CE7CB5F003D}" dt="2023-04-18T17:40:42.966" v="1151" actId="478"/>
          <ac:picMkLst>
            <pc:docMk/>
            <pc:sldMk cId="2214010875" sldId="2147469821"/>
            <ac:picMk id="19" creationId="{216DB936-C55B-A492-0F24-09D5E95A3088}"/>
          </ac:picMkLst>
        </pc:picChg>
        <pc:cxnChg chg="add mod ord">
          <ac:chgData name="Paul LEGEARD" userId="73b5704d-da1d-4b70-8e12-6d54d32b01a3" providerId="ADAL" clId="{11E30BCA-5427-48A7-9089-5CE7CB5F003D}" dt="2023-04-21T15:19:05.945" v="8884" actId="1076"/>
          <ac:cxnSpMkLst>
            <pc:docMk/>
            <pc:sldMk cId="2214010875" sldId="2147469821"/>
            <ac:cxnSpMk id="5" creationId="{91D40EEE-09A8-9E34-E39C-AFE52E7F876A}"/>
          </ac:cxnSpMkLst>
        </pc:cxnChg>
      </pc:sldChg>
      <pc:sldChg chg="del">
        <pc:chgData name="Paul LEGEARD" userId="73b5704d-da1d-4b70-8e12-6d54d32b01a3" providerId="ADAL" clId="{11E30BCA-5427-48A7-9089-5CE7CB5F003D}" dt="2023-04-18T17:40:11.358" v="1043" actId="47"/>
        <pc:sldMkLst>
          <pc:docMk/>
          <pc:sldMk cId="1580115843" sldId="2147469822"/>
        </pc:sldMkLst>
      </pc:sldChg>
      <pc:sldChg chg="del">
        <pc:chgData name="Paul LEGEARD" userId="73b5704d-da1d-4b70-8e12-6d54d32b01a3" providerId="ADAL" clId="{11E30BCA-5427-48A7-9089-5CE7CB5F003D}" dt="2023-04-18T17:40:22.115" v="1073" actId="47"/>
        <pc:sldMkLst>
          <pc:docMk/>
          <pc:sldMk cId="1572892087" sldId="2147469823"/>
        </pc:sldMkLst>
      </pc:sldChg>
      <pc:sldChg chg="del">
        <pc:chgData name="Paul LEGEARD" userId="73b5704d-da1d-4b70-8e12-6d54d32b01a3" providerId="ADAL" clId="{11E30BCA-5427-48A7-9089-5CE7CB5F003D}" dt="2023-04-18T17:58:15.656" v="2128" actId="47"/>
        <pc:sldMkLst>
          <pc:docMk/>
          <pc:sldMk cId="2418690875" sldId="2147469824"/>
        </pc:sldMkLst>
      </pc:sldChg>
      <pc:sldChg chg="del">
        <pc:chgData name="Paul LEGEARD" userId="73b5704d-da1d-4b70-8e12-6d54d32b01a3" providerId="ADAL" clId="{11E30BCA-5427-48A7-9089-5CE7CB5F003D}" dt="2023-04-18T17:39:48.817" v="998" actId="47"/>
        <pc:sldMkLst>
          <pc:docMk/>
          <pc:sldMk cId="2511989454" sldId="2147469827"/>
        </pc:sldMkLst>
      </pc:sldChg>
      <pc:sldChg chg="del">
        <pc:chgData name="Paul LEGEARD" userId="73b5704d-da1d-4b70-8e12-6d54d32b01a3" providerId="ADAL" clId="{11E30BCA-5427-48A7-9089-5CE7CB5F003D}" dt="2023-04-18T17:40:12.159" v="1045" actId="47"/>
        <pc:sldMkLst>
          <pc:docMk/>
          <pc:sldMk cId="1900700534" sldId="2147469829"/>
        </pc:sldMkLst>
      </pc:sldChg>
      <pc:sldChg chg="addSp delSp modSp add mod ord">
        <pc:chgData name="Paul LEGEARD" userId="73b5704d-da1d-4b70-8e12-6d54d32b01a3" providerId="ADAL" clId="{11E30BCA-5427-48A7-9089-5CE7CB5F003D}" dt="2023-04-24T08:34:41.910" v="16130" actId="20577"/>
        <pc:sldMkLst>
          <pc:docMk/>
          <pc:sldMk cId="4184053876" sldId="2147469830"/>
        </pc:sldMkLst>
        <pc:spChg chg="mod">
          <ac:chgData name="Paul LEGEARD" userId="73b5704d-da1d-4b70-8e12-6d54d32b01a3" providerId="ADAL" clId="{11E30BCA-5427-48A7-9089-5CE7CB5F003D}" dt="2023-04-24T08:34:41.910" v="16130" actId="20577"/>
          <ac:spMkLst>
            <pc:docMk/>
            <pc:sldMk cId="4184053876" sldId="2147469830"/>
            <ac:spMk id="3" creationId="{4080E8DD-3749-6092-2D65-9E423A5B3B53}"/>
          </ac:spMkLst>
        </pc:spChg>
        <pc:spChg chg="mod">
          <ac:chgData name="Paul LEGEARD" userId="73b5704d-da1d-4b70-8e12-6d54d32b01a3" providerId="ADAL" clId="{11E30BCA-5427-48A7-9089-5CE7CB5F003D}" dt="2023-04-18T17:37:20.718" v="867" actId="20577"/>
          <ac:spMkLst>
            <pc:docMk/>
            <pc:sldMk cId="4184053876" sldId="2147469830"/>
            <ac:spMk id="4" creationId="{52AFB3F8-88A7-4D69-8A52-45D00774625C}"/>
          </ac:spMkLst>
        </pc:spChg>
        <pc:spChg chg="add mod ord">
          <ac:chgData name="Paul LEGEARD" userId="73b5704d-da1d-4b70-8e12-6d54d32b01a3" providerId="ADAL" clId="{11E30BCA-5427-48A7-9089-5CE7CB5F003D}" dt="2023-04-18T17:36:26.566" v="802" actId="1076"/>
          <ac:spMkLst>
            <pc:docMk/>
            <pc:sldMk cId="4184053876" sldId="2147469830"/>
            <ac:spMk id="5" creationId="{9569DF38-570B-1104-9214-78E66FBD97C2}"/>
          </ac:spMkLst>
        </pc:spChg>
        <pc:spChg chg="add del mod">
          <ac:chgData name="Paul LEGEARD" userId="73b5704d-da1d-4b70-8e12-6d54d32b01a3" providerId="ADAL" clId="{11E30BCA-5427-48A7-9089-5CE7CB5F003D}" dt="2023-04-24T06:00:50.944" v="9781" actId="478"/>
          <ac:spMkLst>
            <pc:docMk/>
            <pc:sldMk cId="4184053876" sldId="2147469830"/>
            <ac:spMk id="6" creationId="{73CAA4BD-8F4F-974D-3362-E503E75BA6E0}"/>
          </ac:spMkLst>
        </pc:spChg>
        <pc:spChg chg="mod">
          <ac:chgData name="Paul LEGEARD" userId="73b5704d-da1d-4b70-8e12-6d54d32b01a3" providerId="ADAL" clId="{11E30BCA-5427-48A7-9089-5CE7CB5F003D}" dt="2023-04-18T17:37:52.929" v="868" actId="20577"/>
          <ac:spMkLst>
            <pc:docMk/>
            <pc:sldMk cId="4184053876" sldId="2147469830"/>
            <ac:spMk id="15" creationId="{D4B2BB5D-F8C7-64F2-0658-747619A46E80}"/>
          </ac:spMkLst>
        </pc:spChg>
        <pc:spChg chg="mod">
          <ac:chgData name="Paul LEGEARD" userId="73b5704d-da1d-4b70-8e12-6d54d32b01a3" providerId="ADAL" clId="{11E30BCA-5427-48A7-9089-5CE7CB5F003D}" dt="2023-04-18T17:36:51.218" v="829" actId="20577"/>
          <ac:spMkLst>
            <pc:docMk/>
            <pc:sldMk cId="4184053876" sldId="2147469830"/>
            <ac:spMk id="19" creationId="{DEC404F7-6456-ACF2-617F-C0D4F460844B}"/>
          </ac:spMkLst>
        </pc:spChg>
        <pc:spChg chg="mod">
          <ac:chgData name="Paul LEGEARD" userId="73b5704d-da1d-4b70-8e12-6d54d32b01a3" providerId="ADAL" clId="{11E30BCA-5427-48A7-9089-5CE7CB5F003D}" dt="2023-04-18T17:36:30.865" v="803" actId="1076"/>
          <ac:spMkLst>
            <pc:docMk/>
            <pc:sldMk cId="4184053876" sldId="2147469830"/>
            <ac:spMk id="46" creationId="{DAEAF24F-0861-79C6-8511-05BFB63124D9}"/>
          </ac:spMkLst>
        </pc:spChg>
        <pc:spChg chg="mod">
          <ac:chgData name="Paul LEGEARD" userId="73b5704d-da1d-4b70-8e12-6d54d32b01a3" providerId="ADAL" clId="{11E30BCA-5427-48A7-9089-5CE7CB5F003D}" dt="2023-04-18T17:36:30.865" v="803" actId="1076"/>
          <ac:spMkLst>
            <pc:docMk/>
            <pc:sldMk cId="4184053876" sldId="2147469830"/>
            <ac:spMk id="47" creationId="{43938DDB-7FA7-A527-CFDB-620CD7FABAEB}"/>
          </ac:spMkLst>
        </pc:spChg>
        <pc:picChg chg="mod">
          <ac:chgData name="Paul LEGEARD" userId="73b5704d-da1d-4b70-8e12-6d54d32b01a3" providerId="ADAL" clId="{11E30BCA-5427-48A7-9089-5CE7CB5F003D}" dt="2023-04-18T17:36:30.865" v="803" actId="1076"/>
          <ac:picMkLst>
            <pc:docMk/>
            <pc:sldMk cId="4184053876" sldId="2147469830"/>
            <ac:picMk id="38" creationId="{83C722D3-DE5D-1345-9435-E2AE811CF099}"/>
          </ac:picMkLst>
        </pc:picChg>
        <pc:cxnChg chg="mod">
          <ac:chgData name="Paul LEGEARD" userId="73b5704d-da1d-4b70-8e12-6d54d32b01a3" providerId="ADAL" clId="{11E30BCA-5427-48A7-9089-5CE7CB5F003D}" dt="2023-04-18T17:36:38.072" v="804" actId="14100"/>
          <ac:cxnSpMkLst>
            <pc:docMk/>
            <pc:sldMk cId="4184053876" sldId="2147469830"/>
            <ac:cxnSpMk id="2" creationId="{14765310-8D7B-00FF-E6FA-22E661861B87}"/>
          </ac:cxnSpMkLst>
        </pc:cxnChg>
        <pc:cxnChg chg="mod">
          <ac:chgData name="Paul LEGEARD" userId="73b5704d-da1d-4b70-8e12-6d54d32b01a3" providerId="ADAL" clId="{11E30BCA-5427-48A7-9089-5CE7CB5F003D}" dt="2023-04-18T17:35:57.016" v="785" actId="208"/>
          <ac:cxnSpMkLst>
            <pc:docMk/>
            <pc:sldMk cId="4184053876" sldId="2147469830"/>
            <ac:cxnSpMk id="32" creationId="{E2036FF3-4F86-5495-A37A-799B6E070C3D}"/>
          </ac:cxnSpMkLst>
        </pc:cxnChg>
      </pc:sldChg>
      <pc:sldChg chg="addSp delSp modSp add del mod">
        <pc:chgData name="Paul LEGEARD" userId="73b5704d-da1d-4b70-8e12-6d54d32b01a3" providerId="ADAL" clId="{11E30BCA-5427-48A7-9089-5CE7CB5F003D}" dt="2023-04-24T05:57:55.072" v="9593" actId="47"/>
        <pc:sldMkLst>
          <pc:docMk/>
          <pc:sldMk cId="3175195576" sldId="2147469831"/>
        </pc:sldMkLst>
        <pc:spChg chg="add mod">
          <ac:chgData name="Paul LEGEARD" userId="73b5704d-da1d-4b70-8e12-6d54d32b01a3" providerId="ADAL" clId="{11E30BCA-5427-48A7-9089-5CE7CB5F003D}" dt="2023-04-19T05:48:19.813" v="3944" actId="688"/>
          <ac:spMkLst>
            <pc:docMk/>
            <pc:sldMk cId="3175195576" sldId="2147469831"/>
            <ac:spMk id="2" creationId="{738826DE-956C-A5B3-9AFE-CACA0805CC84}"/>
          </ac:spMkLst>
        </pc:spChg>
        <pc:spChg chg="del">
          <ac:chgData name="Paul LEGEARD" userId="73b5704d-da1d-4b70-8e12-6d54d32b01a3" providerId="ADAL" clId="{11E30BCA-5427-48A7-9089-5CE7CB5F003D}" dt="2023-04-18T17:39:34.369" v="993" actId="478"/>
          <ac:spMkLst>
            <pc:docMk/>
            <pc:sldMk cId="3175195576" sldId="2147469831"/>
            <ac:spMk id="2" creationId="{ACBE3AF1-D819-0799-6CC6-DDA2CD644A31}"/>
          </ac:spMkLst>
        </pc:spChg>
        <pc:spChg chg="add mod">
          <ac:chgData name="Paul LEGEARD" userId="73b5704d-da1d-4b70-8e12-6d54d32b01a3" providerId="ADAL" clId="{11E30BCA-5427-48A7-9089-5CE7CB5F003D}" dt="2023-04-18T17:39:27.506" v="981" actId="1076"/>
          <ac:spMkLst>
            <pc:docMk/>
            <pc:sldMk cId="3175195576" sldId="2147469831"/>
            <ac:spMk id="3" creationId="{70FE67D6-23E8-9D23-44CF-2579D8189812}"/>
          </ac:spMkLst>
        </pc:spChg>
        <pc:spChg chg="mod">
          <ac:chgData name="Paul LEGEARD" userId="73b5704d-da1d-4b70-8e12-6d54d32b01a3" providerId="ADAL" clId="{11E30BCA-5427-48A7-9089-5CE7CB5F003D}" dt="2023-04-18T17:38:58.261" v="966" actId="20577"/>
          <ac:spMkLst>
            <pc:docMk/>
            <pc:sldMk cId="3175195576" sldId="2147469831"/>
            <ac:spMk id="4" creationId="{52AFB3F8-88A7-4D69-8A52-45D00774625C}"/>
          </ac:spMkLst>
        </pc:spChg>
        <pc:spChg chg="del">
          <ac:chgData name="Paul LEGEARD" userId="73b5704d-da1d-4b70-8e12-6d54d32b01a3" providerId="ADAL" clId="{11E30BCA-5427-48A7-9089-5CE7CB5F003D}" dt="2023-04-18T17:39:34.369" v="993" actId="478"/>
          <ac:spMkLst>
            <pc:docMk/>
            <pc:sldMk cId="3175195576" sldId="2147469831"/>
            <ac:spMk id="5" creationId="{3FDB415F-CD83-DB07-6E1A-56FDECB792F5}"/>
          </ac:spMkLst>
        </pc:spChg>
        <pc:spChg chg="del">
          <ac:chgData name="Paul LEGEARD" userId="73b5704d-da1d-4b70-8e12-6d54d32b01a3" providerId="ADAL" clId="{11E30BCA-5427-48A7-9089-5CE7CB5F003D}" dt="2023-04-18T17:39:34.369" v="993" actId="478"/>
          <ac:spMkLst>
            <pc:docMk/>
            <pc:sldMk cId="3175195576" sldId="2147469831"/>
            <ac:spMk id="9" creationId="{8546DFD4-C5CE-A4DB-7C56-5C4D247D4BDC}"/>
          </ac:spMkLst>
        </pc:spChg>
        <pc:spChg chg="mod">
          <ac:chgData name="Paul LEGEARD" userId="73b5704d-da1d-4b70-8e12-6d54d32b01a3" providerId="ADAL" clId="{11E30BCA-5427-48A7-9089-5CE7CB5F003D}" dt="2023-04-18T17:39:32.764" v="992" actId="1035"/>
          <ac:spMkLst>
            <pc:docMk/>
            <pc:sldMk cId="3175195576" sldId="2147469831"/>
            <ac:spMk id="10" creationId="{86E586DA-C2D2-2A38-D620-EB7DE13F74C5}"/>
          </ac:spMkLst>
        </pc:spChg>
        <pc:spChg chg="del">
          <ac:chgData name="Paul LEGEARD" userId="73b5704d-da1d-4b70-8e12-6d54d32b01a3" providerId="ADAL" clId="{11E30BCA-5427-48A7-9089-5CE7CB5F003D}" dt="2023-04-18T17:39:06.286" v="971" actId="478"/>
          <ac:spMkLst>
            <pc:docMk/>
            <pc:sldMk cId="3175195576" sldId="2147469831"/>
            <ac:spMk id="11" creationId="{E174BA27-84F9-922B-4981-56D2A7E96567}"/>
          </ac:spMkLst>
        </pc:spChg>
        <pc:spChg chg="del mod">
          <ac:chgData name="Paul LEGEARD" userId="73b5704d-da1d-4b70-8e12-6d54d32b01a3" providerId="ADAL" clId="{11E30BCA-5427-48A7-9089-5CE7CB5F003D}" dt="2023-04-18T17:39:03.057" v="969" actId="478"/>
          <ac:spMkLst>
            <pc:docMk/>
            <pc:sldMk cId="3175195576" sldId="2147469831"/>
            <ac:spMk id="12" creationId="{F8F524BD-4937-C28D-D745-682E5C8BCF76}"/>
          </ac:spMkLst>
        </pc:spChg>
        <pc:spChg chg="add mod">
          <ac:chgData name="Paul LEGEARD" userId="73b5704d-da1d-4b70-8e12-6d54d32b01a3" providerId="ADAL" clId="{11E30BCA-5427-48A7-9089-5CE7CB5F003D}" dt="2023-04-18T17:53:52.113" v="1908" actId="1076"/>
          <ac:spMkLst>
            <pc:docMk/>
            <pc:sldMk cId="3175195576" sldId="2147469831"/>
            <ac:spMk id="16" creationId="{BA5DD9F8-E85C-55CE-1DCA-431D8DEB35F6}"/>
          </ac:spMkLst>
        </pc:spChg>
        <pc:spChg chg="del">
          <ac:chgData name="Paul LEGEARD" userId="73b5704d-da1d-4b70-8e12-6d54d32b01a3" providerId="ADAL" clId="{11E30BCA-5427-48A7-9089-5CE7CB5F003D}" dt="2023-04-18T17:39:34.369" v="993" actId="478"/>
          <ac:spMkLst>
            <pc:docMk/>
            <pc:sldMk cId="3175195576" sldId="2147469831"/>
            <ac:spMk id="17" creationId="{F86C5B3B-754F-BA97-DE47-A09073B87E52}"/>
          </ac:spMkLst>
        </pc:spChg>
        <pc:spChg chg="del">
          <ac:chgData name="Paul LEGEARD" userId="73b5704d-da1d-4b70-8e12-6d54d32b01a3" providerId="ADAL" clId="{11E30BCA-5427-48A7-9089-5CE7CB5F003D}" dt="2023-04-18T17:39:34.369" v="993" actId="478"/>
          <ac:spMkLst>
            <pc:docMk/>
            <pc:sldMk cId="3175195576" sldId="2147469831"/>
            <ac:spMk id="18" creationId="{F7DBF74F-6A7C-EB55-B0C2-FE98A129FEF5}"/>
          </ac:spMkLst>
        </pc:spChg>
        <pc:spChg chg="del">
          <ac:chgData name="Paul LEGEARD" userId="73b5704d-da1d-4b70-8e12-6d54d32b01a3" providerId="ADAL" clId="{11E30BCA-5427-48A7-9089-5CE7CB5F003D}" dt="2023-04-18T17:39:34.369" v="993" actId="478"/>
          <ac:spMkLst>
            <pc:docMk/>
            <pc:sldMk cId="3175195576" sldId="2147469831"/>
            <ac:spMk id="19" creationId="{99F2D78C-C7C1-3793-4674-0A15937AB4FA}"/>
          </ac:spMkLst>
        </pc:spChg>
        <pc:spChg chg="del">
          <ac:chgData name="Paul LEGEARD" userId="73b5704d-da1d-4b70-8e12-6d54d32b01a3" providerId="ADAL" clId="{11E30BCA-5427-48A7-9089-5CE7CB5F003D}" dt="2023-04-18T17:39:04.955" v="970" actId="478"/>
          <ac:spMkLst>
            <pc:docMk/>
            <pc:sldMk cId="3175195576" sldId="2147469831"/>
            <ac:spMk id="21" creationId="{EDFB8289-6E79-D4C7-A663-91E05AF402CA}"/>
          </ac:spMkLst>
        </pc:spChg>
        <pc:spChg chg="del">
          <ac:chgData name="Paul LEGEARD" userId="73b5704d-da1d-4b70-8e12-6d54d32b01a3" providerId="ADAL" clId="{11E30BCA-5427-48A7-9089-5CE7CB5F003D}" dt="2023-04-18T17:39:04.955" v="970" actId="478"/>
          <ac:spMkLst>
            <pc:docMk/>
            <pc:sldMk cId="3175195576" sldId="2147469831"/>
            <ac:spMk id="22" creationId="{22917534-4C1B-9974-793A-5EBC3AB7F483}"/>
          </ac:spMkLst>
        </pc:spChg>
        <pc:spChg chg="del">
          <ac:chgData name="Paul LEGEARD" userId="73b5704d-da1d-4b70-8e12-6d54d32b01a3" providerId="ADAL" clId="{11E30BCA-5427-48A7-9089-5CE7CB5F003D}" dt="2023-04-18T17:39:04.955" v="970" actId="478"/>
          <ac:spMkLst>
            <pc:docMk/>
            <pc:sldMk cId="3175195576" sldId="2147469831"/>
            <ac:spMk id="23" creationId="{196BB7EA-3DD1-4853-E236-2C43B65BCC6D}"/>
          </ac:spMkLst>
        </pc:spChg>
        <pc:spChg chg="add mod ord">
          <ac:chgData name="Paul LEGEARD" userId="73b5704d-da1d-4b70-8e12-6d54d32b01a3" providerId="ADAL" clId="{11E30BCA-5427-48A7-9089-5CE7CB5F003D}" dt="2023-04-19T05:48:16.301" v="3942" actId="170"/>
          <ac:spMkLst>
            <pc:docMk/>
            <pc:sldMk cId="3175195576" sldId="2147469831"/>
            <ac:spMk id="24" creationId="{B60CB285-0446-5F3D-DF9D-9AE4B4A1BFFF}"/>
          </ac:spMkLst>
        </pc:spChg>
        <pc:spChg chg="add mod ord">
          <ac:chgData name="Paul LEGEARD" userId="73b5704d-da1d-4b70-8e12-6d54d32b01a3" providerId="ADAL" clId="{11E30BCA-5427-48A7-9089-5CE7CB5F003D}" dt="2023-04-18T17:54:23.575" v="1967" actId="167"/>
          <ac:spMkLst>
            <pc:docMk/>
            <pc:sldMk cId="3175195576" sldId="2147469831"/>
            <ac:spMk id="25" creationId="{16FE8607-2A7B-8E94-CF79-CB168A31BB08}"/>
          </ac:spMkLst>
        </pc:spChg>
        <pc:spChg chg="add mod">
          <ac:chgData name="Paul LEGEARD" userId="73b5704d-da1d-4b70-8e12-6d54d32b01a3" providerId="ADAL" clId="{11E30BCA-5427-48A7-9089-5CE7CB5F003D}" dt="2023-04-18T17:54:30.259" v="1970" actId="14100"/>
          <ac:spMkLst>
            <pc:docMk/>
            <pc:sldMk cId="3175195576" sldId="2147469831"/>
            <ac:spMk id="26" creationId="{79C6BCEA-348F-1D5E-46CE-98B40A4F5CB6}"/>
          </ac:spMkLst>
        </pc:spChg>
        <pc:spChg chg="add mod">
          <ac:chgData name="Paul LEGEARD" userId="73b5704d-da1d-4b70-8e12-6d54d32b01a3" providerId="ADAL" clId="{11E30BCA-5427-48A7-9089-5CE7CB5F003D}" dt="2023-04-18T17:54:59.550" v="2012" actId="404"/>
          <ac:spMkLst>
            <pc:docMk/>
            <pc:sldMk cId="3175195576" sldId="2147469831"/>
            <ac:spMk id="28" creationId="{95F31FD5-A53D-34A3-FB1F-43B725348868}"/>
          </ac:spMkLst>
        </pc:spChg>
        <pc:picChg chg="add del mod">
          <ac:chgData name="Paul LEGEARD" userId="73b5704d-da1d-4b70-8e12-6d54d32b01a3" providerId="ADAL" clId="{11E30BCA-5427-48A7-9089-5CE7CB5F003D}" dt="2023-04-18T17:53:03.172" v="1863" actId="478"/>
          <ac:picMkLst>
            <pc:docMk/>
            <pc:sldMk cId="3175195576" sldId="2147469831"/>
            <ac:picMk id="13" creationId="{DA30D64D-2B68-FB6C-115C-600F0C7BCB9F}"/>
          </ac:picMkLst>
        </pc:picChg>
        <pc:picChg chg="add mod">
          <ac:chgData name="Paul LEGEARD" userId="73b5704d-da1d-4b70-8e12-6d54d32b01a3" providerId="ADAL" clId="{11E30BCA-5427-48A7-9089-5CE7CB5F003D}" dt="2023-04-18T17:53:29.141" v="1867" actId="1076"/>
          <ac:picMkLst>
            <pc:docMk/>
            <pc:sldMk cId="3175195576" sldId="2147469831"/>
            <ac:picMk id="15" creationId="{FAA35801-8E70-B287-A0CC-0881CB44F002}"/>
          </ac:picMkLst>
        </pc:picChg>
        <pc:picChg chg="del">
          <ac:chgData name="Paul LEGEARD" userId="73b5704d-da1d-4b70-8e12-6d54d32b01a3" providerId="ADAL" clId="{11E30BCA-5427-48A7-9089-5CE7CB5F003D}" dt="2023-04-18T17:39:04.955" v="970" actId="478"/>
          <ac:picMkLst>
            <pc:docMk/>
            <pc:sldMk cId="3175195576" sldId="2147469831"/>
            <ac:picMk id="20" creationId="{B4D18A56-9D72-821E-BAAD-E702649F1726}"/>
          </ac:picMkLst>
        </pc:picChg>
        <pc:cxnChg chg="del">
          <ac:chgData name="Paul LEGEARD" userId="73b5704d-da1d-4b70-8e12-6d54d32b01a3" providerId="ADAL" clId="{11E30BCA-5427-48A7-9089-5CE7CB5F003D}" dt="2023-04-18T17:39:07.125" v="972" actId="478"/>
          <ac:cxnSpMkLst>
            <pc:docMk/>
            <pc:sldMk cId="3175195576" sldId="2147469831"/>
            <ac:cxnSpMk id="6" creationId="{54320455-DFA4-1B8C-A169-3378B6B10E01}"/>
          </ac:cxnSpMkLst>
        </pc:cxnChg>
      </pc:sldChg>
      <pc:sldChg chg="addSp delSp modSp add del mod">
        <pc:chgData name="Paul LEGEARD" userId="73b5704d-da1d-4b70-8e12-6d54d32b01a3" providerId="ADAL" clId="{11E30BCA-5427-48A7-9089-5CE7CB5F003D}" dt="2023-04-24T05:57:55.433" v="9594" actId="47"/>
        <pc:sldMkLst>
          <pc:docMk/>
          <pc:sldMk cId="376505380" sldId="2147469832"/>
        </pc:sldMkLst>
        <pc:spChg chg="add mod">
          <ac:chgData name="Paul LEGEARD" userId="73b5704d-da1d-4b70-8e12-6d54d32b01a3" providerId="ADAL" clId="{11E30BCA-5427-48A7-9089-5CE7CB5F003D}" dt="2023-04-19T05:48:23.158" v="3945"/>
          <ac:spMkLst>
            <pc:docMk/>
            <pc:sldMk cId="376505380" sldId="2147469832"/>
            <ac:spMk id="2" creationId="{A10EA729-92AC-5384-59E2-533B2832F4C2}"/>
          </ac:spMkLst>
        </pc:spChg>
        <pc:spChg chg="mod">
          <ac:chgData name="Paul LEGEARD" userId="73b5704d-da1d-4b70-8e12-6d54d32b01a3" providerId="ADAL" clId="{11E30BCA-5427-48A7-9089-5CE7CB5F003D}" dt="2023-04-18T17:39:43.076" v="996" actId="20577"/>
          <ac:spMkLst>
            <pc:docMk/>
            <pc:sldMk cId="376505380" sldId="2147469832"/>
            <ac:spMk id="3" creationId="{70FE67D6-23E8-9D23-44CF-2579D8189812}"/>
          </ac:spMkLst>
        </pc:spChg>
        <pc:spChg chg="add del">
          <ac:chgData name="Paul LEGEARD" userId="73b5704d-da1d-4b70-8e12-6d54d32b01a3" providerId="ADAL" clId="{11E30BCA-5427-48A7-9089-5CE7CB5F003D}" dt="2023-04-18T17:40:04.211" v="1039" actId="478"/>
          <ac:spMkLst>
            <pc:docMk/>
            <pc:sldMk cId="376505380" sldId="2147469832"/>
            <ac:spMk id="4" creationId="{52AFB3F8-88A7-4D69-8A52-45D00774625C}"/>
          </ac:spMkLst>
        </pc:spChg>
        <pc:spChg chg="add del mod">
          <ac:chgData name="Paul LEGEARD" userId="73b5704d-da1d-4b70-8e12-6d54d32b01a3" providerId="ADAL" clId="{11E30BCA-5427-48A7-9089-5CE7CB5F003D}" dt="2023-04-18T17:40:04.211" v="1039" actId="478"/>
          <ac:spMkLst>
            <pc:docMk/>
            <pc:sldMk cId="376505380" sldId="2147469832"/>
            <ac:spMk id="5" creationId="{5A5FA83C-0130-D516-F2D7-C2034DF81E15}"/>
          </ac:spMkLst>
        </pc:spChg>
        <pc:spChg chg="add mod">
          <ac:chgData name="Paul LEGEARD" userId="73b5704d-da1d-4b70-8e12-6d54d32b01a3" providerId="ADAL" clId="{11E30BCA-5427-48A7-9089-5CE7CB5F003D}" dt="2023-04-18T17:55:04.521" v="2013"/>
          <ac:spMkLst>
            <pc:docMk/>
            <pc:sldMk cId="376505380" sldId="2147469832"/>
            <ac:spMk id="6" creationId="{6E6F2493-B514-4D70-F4BE-0BBA78570459}"/>
          </ac:spMkLst>
        </pc:spChg>
        <pc:spChg chg="add mod">
          <ac:chgData name="Paul LEGEARD" userId="73b5704d-da1d-4b70-8e12-6d54d32b01a3" providerId="ADAL" clId="{11E30BCA-5427-48A7-9089-5CE7CB5F003D}" dt="2023-04-18T17:55:04.521" v="2013"/>
          <ac:spMkLst>
            <pc:docMk/>
            <pc:sldMk cId="376505380" sldId="2147469832"/>
            <ac:spMk id="9" creationId="{9A7FD046-8F5C-6CA8-57C2-EA21EF8E4B29}"/>
          </ac:spMkLst>
        </pc:spChg>
        <pc:spChg chg="mod">
          <ac:chgData name="Paul LEGEARD" userId="73b5704d-da1d-4b70-8e12-6d54d32b01a3" providerId="ADAL" clId="{11E30BCA-5427-48A7-9089-5CE7CB5F003D}" dt="2023-04-18T17:39:59.796" v="1035" actId="20577"/>
          <ac:spMkLst>
            <pc:docMk/>
            <pc:sldMk cId="376505380" sldId="2147469832"/>
            <ac:spMk id="10" creationId="{86E586DA-C2D2-2A38-D620-EB7DE13F74C5}"/>
          </ac:spMkLst>
        </pc:spChg>
        <pc:spChg chg="add mod ord">
          <ac:chgData name="Paul LEGEARD" userId="73b5704d-da1d-4b70-8e12-6d54d32b01a3" providerId="ADAL" clId="{11E30BCA-5427-48A7-9089-5CE7CB5F003D}" dt="2023-04-19T05:48:26.359" v="3946" actId="166"/>
          <ac:spMkLst>
            <pc:docMk/>
            <pc:sldMk cId="376505380" sldId="2147469832"/>
            <ac:spMk id="11" creationId="{1401AC75-103A-3ED9-1D81-0B06F806B2F3}"/>
          </ac:spMkLst>
        </pc:spChg>
        <pc:spChg chg="add mod">
          <ac:chgData name="Paul LEGEARD" userId="73b5704d-da1d-4b70-8e12-6d54d32b01a3" providerId="ADAL" clId="{11E30BCA-5427-48A7-9089-5CE7CB5F003D}" dt="2023-04-18T17:55:04.521" v="2013"/>
          <ac:spMkLst>
            <pc:docMk/>
            <pc:sldMk cId="376505380" sldId="2147469832"/>
            <ac:spMk id="12" creationId="{9C3AEC4B-FE5B-833F-DD09-E2FE94CFEA9F}"/>
          </ac:spMkLst>
        </pc:spChg>
        <pc:spChg chg="add mod">
          <ac:chgData name="Paul LEGEARD" userId="73b5704d-da1d-4b70-8e12-6d54d32b01a3" providerId="ADAL" clId="{11E30BCA-5427-48A7-9089-5CE7CB5F003D}" dt="2023-04-18T17:55:48.499" v="2117" actId="20577"/>
          <ac:spMkLst>
            <pc:docMk/>
            <pc:sldMk cId="376505380" sldId="2147469832"/>
            <ac:spMk id="13" creationId="{6F69D152-1FD0-A873-D9E1-E9B0D14B7200}"/>
          </ac:spMkLst>
        </pc:spChg>
        <pc:picChg chg="add del mod">
          <ac:chgData name="Paul LEGEARD" userId="73b5704d-da1d-4b70-8e12-6d54d32b01a3" providerId="ADAL" clId="{11E30BCA-5427-48A7-9089-5CE7CB5F003D}" dt="2023-04-18T17:55:08.157" v="2015" actId="478"/>
          <ac:picMkLst>
            <pc:docMk/>
            <pc:sldMk cId="376505380" sldId="2147469832"/>
            <ac:picMk id="7" creationId="{F6ABF028-3E5F-97A3-D3BB-FF86A4ACBA89}"/>
          </ac:picMkLst>
        </pc:picChg>
        <pc:picChg chg="add mod">
          <ac:chgData name="Paul LEGEARD" userId="73b5704d-da1d-4b70-8e12-6d54d32b01a3" providerId="ADAL" clId="{11E30BCA-5427-48A7-9089-5CE7CB5F003D}" dt="2023-04-18T17:56:19.081" v="2127" actId="1038"/>
          <ac:picMkLst>
            <pc:docMk/>
            <pc:sldMk cId="376505380" sldId="2147469832"/>
            <ac:picMk id="15" creationId="{ABFD3BB5-7B34-AC56-2EC2-117DE2C56F2C}"/>
          </ac:picMkLst>
        </pc:picChg>
      </pc:sldChg>
      <pc:sldChg chg="addSp delSp modSp add del mod">
        <pc:chgData name="Paul LEGEARD" userId="73b5704d-da1d-4b70-8e12-6d54d32b01a3" providerId="ADAL" clId="{11E30BCA-5427-48A7-9089-5CE7CB5F003D}" dt="2023-04-24T05:57:55.842" v="9595" actId="47"/>
        <pc:sldMkLst>
          <pc:docMk/>
          <pc:sldMk cId="3179217933" sldId="2147469833"/>
        </pc:sldMkLst>
        <pc:spChg chg="add mod">
          <ac:chgData name="Paul LEGEARD" userId="73b5704d-da1d-4b70-8e12-6d54d32b01a3" providerId="ADAL" clId="{11E30BCA-5427-48A7-9089-5CE7CB5F003D}" dt="2023-04-18T17:55:06.108" v="2014"/>
          <ac:spMkLst>
            <pc:docMk/>
            <pc:sldMk cId="3179217933" sldId="2147469833"/>
            <ac:spMk id="2" creationId="{5FE55E04-0361-B027-621E-C5E884A8493B}"/>
          </ac:spMkLst>
        </pc:spChg>
        <pc:spChg chg="mod">
          <ac:chgData name="Paul LEGEARD" userId="73b5704d-da1d-4b70-8e12-6d54d32b01a3" providerId="ADAL" clId="{11E30BCA-5427-48A7-9089-5CE7CB5F003D}" dt="2023-04-18T17:40:08.898" v="1042" actId="20577"/>
          <ac:spMkLst>
            <pc:docMk/>
            <pc:sldMk cId="3179217933" sldId="2147469833"/>
            <ac:spMk id="3" creationId="{70FE67D6-23E8-9D23-44CF-2579D8189812}"/>
          </ac:spMkLst>
        </pc:spChg>
        <pc:spChg chg="add mod">
          <ac:chgData name="Paul LEGEARD" userId="73b5704d-da1d-4b70-8e12-6d54d32b01a3" providerId="ADAL" clId="{11E30BCA-5427-48A7-9089-5CE7CB5F003D}" dt="2023-04-19T05:48:31.112" v="3948"/>
          <ac:spMkLst>
            <pc:docMk/>
            <pc:sldMk cId="3179217933" sldId="2147469833"/>
            <ac:spMk id="5" creationId="{67447F37-EC28-323E-E225-5400BA5CBA60}"/>
          </ac:spMkLst>
        </pc:spChg>
        <pc:spChg chg="add mod">
          <ac:chgData name="Paul LEGEARD" userId="73b5704d-da1d-4b70-8e12-6d54d32b01a3" providerId="ADAL" clId="{11E30BCA-5427-48A7-9089-5CE7CB5F003D}" dt="2023-04-18T17:55:06.108" v="2014"/>
          <ac:spMkLst>
            <pc:docMk/>
            <pc:sldMk cId="3179217933" sldId="2147469833"/>
            <ac:spMk id="6" creationId="{0B50A0D8-6924-7EA8-A7EA-F860DAEE5FC6}"/>
          </ac:spMkLst>
        </pc:spChg>
        <pc:spChg chg="add mod ord">
          <ac:chgData name="Paul LEGEARD" userId="73b5704d-da1d-4b70-8e12-6d54d32b01a3" providerId="ADAL" clId="{11E30BCA-5427-48A7-9089-5CE7CB5F003D}" dt="2023-04-19T05:48:30.374" v="3947" actId="166"/>
          <ac:spMkLst>
            <pc:docMk/>
            <pc:sldMk cId="3179217933" sldId="2147469833"/>
            <ac:spMk id="7" creationId="{FCD59A39-2641-922D-33D6-D43CA04A4598}"/>
          </ac:spMkLst>
        </pc:spChg>
        <pc:spChg chg="add mod">
          <ac:chgData name="Paul LEGEARD" userId="73b5704d-da1d-4b70-8e12-6d54d32b01a3" providerId="ADAL" clId="{11E30BCA-5427-48A7-9089-5CE7CB5F003D}" dt="2023-04-18T17:55:06.108" v="2014"/>
          <ac:spMkLst>
            <pc:docMk/>
            <pc:sldMk cId="3179217933" sldId="2147469833"/>
            <ac:spMk id="9" creationId="{7FFF0DA0-13CD-F413-E4FC-8FDE7DA5CAB3}"/>
          </ac:spMkLst>
        </pc:spChg>
        <pc:spChg chg="mod">
          <ac:chgData name="Paul LEGEARD" userId="73b5704d-da1d-4b70-8e12-6d54d32b01a3" providerId="ADAL" clId="{11E30BCA-5427-48A7-9089-5CE7CB5F003D}" dt="2023-04-18T17:40:19.077" v="1072" actId="20577"/>
          <ac:spMkLst>
            <pc:docMk/>
            <pc:sldMk cId="3179217933" sldId="2147469833"/>
            <ac:spMk id="10" creationId="{86E586DA-C2D2-2A38-D620-EB7DE13F74C5}"/>
          </ac:spMkLst>
        </pc:spChg>
        <pc:spChg chg="add mod">
          <ac:chgData name="Paul LEGEARD" userId="73b5704d-da1d-4b70-8e12-6d54d32b01a3" providerId="ADAL" clId="{11E30BCA-5427-48A7-9089-5CE7CB5F003D}" dt="2023-04-18T17:55:06.108" v="2014"/>
          <ac:spMkLst>
            <pc:docMk/>
            <pc:sldMk cId="3179217933" sldId="2147469833"/>
            <ac:spMk id="11" creationId="{9A769965-AA28-9E1E-FDF1-0E4A1054E997}"/>
          </ac:spMkLst>
        </pc:spChg>
        <pc:picChg chg="add del mod">
          <ac:chgData name="Paul LEGEARD" userId="73b5704d-da1d-4b70-8e12-6d54d32b01a3" providerId="ADAL" clId="{11E30BCA-5427-48A7-9089-5CE7CB5F003D}" dt="2023-04-18T17:55:09.928" v="2016" actId="478"/>
          <ac:picMkLst>
            <pc:docMk/>
            <pc:sldMk cId="3179217933" sldId="2147469833"/>
            <ac:picMk id="5" creationId="{3E7DEF98-34F6-7251-8248-1CFE6A2B4DDB}"/>
          </ac:picMkLst>
        </pc:picChg>
        <pc:picChg chg="add mod">
          <ac:chgData name="Paul LEGEARD" userId="73b5704d-da1d-4b70-8e12-6d54d32b01a3" providerId="ADAL" clId="{11E30BCA-5427-48A7-9089-5CE7CB5F003D}" dt="2023-04-18T17:56:15.871" v="2122" actId="14100"/>
          <ac:picMkLst>
            <pc:docMk/>
            <pc:sldMk cId="3179217933" sldId="2147469833"/>
            <ac:picMk id="13" creationId="{9B36F474-AB6B-3BFC-61D6-96F4FDE85F53}"/>
          </ac:picMkLst>
        </pc:picChg>
      </pc:sldChg>
      <pc:sldChg chg="addSp delSp modSp add del mod">
        <pc:chgData name="Paul LEGEARD" userId="73b5704d-da1d-4b70-8e12-6d54d32b01a3" providerId="ADAL" clId="{11E30BCA-5427-48A7-9089-5CE7CB5F003D}" dt="2023-04-24T07:00:12.580" v="13651" actId="47"/>
        <pc:sldMkLst>
          <pc:docMk/>
          <pc:sldMk cId="3202130224" sldId="2147469834"/>
        </pc:sldMkLst>
        <pc:spChg chg="add mod">
          <ac:chgData name="Paul LEGEARD" userId="73b5704d-da1d-4b70-8e12-6d54d32b01a3" providerId="ADAL" clId="{11E30BCA-5427-48A7-9089-5CE7CB5F003D}" dt="2023-04-19T06:38:40.991" v="7695" actId="1076"/>
          <ac:spMkLst>
            <pc:docMk/>
            <pc:sldMk cId="3202130224" sldId="2147469834"/>
            <ac:spMk id="2" creationId="{64468933-2AEF-E51D-AEB5-FA308DC638B8}"/>
          </ac:spMkLst>
        </pc:spChg>
        <pc:spChg chg="add mod">
          <ac:chgData name="Paul LEGEARD" userId="73b5704d-da1d-4b70-8e12-6d54d32b01a3" providerId="ADAL" clId="{11E30BCA-5427-48A7-9089-5CE7CB5F003D}" dt="2023-04-19T06:38:40.991" v="7695" actId="1076"/>
          <ac:spMkLst>
            <pc:docMk/>
            <pc:sldMk cId="3202130224" sldId="2147469834"/>
            <ac:spMk id="3" creationId="{07710C2F-2D70-09C0-01C9-6C5570D40A0A}"/>
          </ac:spMkLst>
        </pc:spChg>
        <pc:spChg chg="mod">
          <ac:chgData name="Paul LEGEARD" userId="73b5704d-da1d-4b70-8e12-6d54d32b01a3" providerId="ADAL" clId="{11E30BCA-5427-48A7-9089-5CE7CB5F003D}" dt="2023-04-21T15:28:00.147" v="9398" actId="20578"/>
          <ac:spMkLst>
            <pc:docMk/>
            <pc:sldMk cId="3202130224" sldId="2147469834"/>
            <ac:spMk id="4" creationId="{52AFB3F8-88A7-4D69-8A52-45D00774625C}"/>
          </ac:spMkLst>
        </pc:spChg>
        <pc:spChg chg="add del mod">
          <ac:chgData name="Paul LEGEARD" userId="73b5704d-da1d-4b70-8e12-6d54d32b01a3" providerId="ADAL" clId="{11E30BCA-5427-48A7-9089-5CE7CB5F003D}" dt="2023-04-21T15:29:21.113" v="9448" actId="21"/>
          <ac:spMkLst>
            <pc:docMk/>
            <pc:sldMk cId="3202130224" sldId="2147469834"/>
            <ac:spMk id="5" creationId="{302CD722-74F1-45DE-82FD-893073D9AC6B}"/>
          </ac:spMkLst>
        </pc:spChg>
        <pc:spChg chg="add del mod">
          <ac:chgData name="Paul LEGEARD" userId="73b5704d-da1d-4b70-8e12-6d54d32b01a3" providerId="ADAL" clId="{11E30BCA-5427-48A7-9089-5CE7CB5F003D}" dt="2023-04-19T05:55:02.395" v="4247" actId="478"/>
          <ac:spMkLst>
            <pc:docMk/>
            <pc:sldMk cId="3202130224" sldId="2147469834"/>
            <ac:spMk id="5" creationId="{E09EDCE3-5F20-C49E-DFF0-1F2F0002437A}"/>
          </ac:spMkLst>
        </pc:spChg>
        <pc:spChg chg="add mod">
          <ac:chgData name="Paul LEGEARD" userId="73b5704d-da1d-4b70-8e12-6d54d32b01a3" providerId="ADAL" clId="{11E30BCA-5427-48A7-9089-5CE7CB5F003D}" dt="2023-04-19T06:38:40.991" v="7695" actId="1076"/>
          <ac:spMkLst>
            <pc:docMk/>
            <pc:sldMk cId="3202130224" sldId="2147469834"/>
            <ac:spMk id="6" creationId="{6125B512-6AD8-EC6E-B089-83A817A034F8}"/>
          </ac:spMkLst>
        </pc:spChg>
        <pc:spChg chg="add mod">
          <ac:chgData name="Paul LEGEARD" userId="73b5704d-da1d-4b70-8e12-6d54d32b01a3" providerId="ADAL" clId="{11E30BCA-5427-48A7-9089-5CE7CB5F003D}" dt="2023-04-21T15:28:25.816" v="9438" actId="20577"/>
          <ac:spMkLst>
            <pc:docMk/>
            <pc:sldMk cId="3202130224" sldId="2147469834"/>
            <ac:spMk id="7" creationId="{7573905D-82E1-1C87-6FDE-8A83220F794D}"/>
          </ac:spMkLst>
        </pc:spChg>
        <pc:spChg chg="add mod ord">
          <ac:chgData name="Paul LEGEARD" userId="73b5704d-da1d-4b70-8e12-6d54d32b01a3" providerId="ADAL" clId="{11E30BCA-5427-48A7-9089-5CE7CB5F003D}" dt="2023-04-19T06:38:40.991" v="7695" actId="1076"/>
          <ac:spMkLst>
            <pc:docMk/>
            <pc:sldMk cId="3202130224" sldId="2147469834"/>
            <ac:spMk id="9" creationId="{A1DD60F8-848E-7F55-A059-886846DE84CD}"/>
          </ac:spMkLst>
        </pc:spChg>
        <pc:spChg chg="add mod">
          <ac:chgData name="Paul LEGEARD" userId="73b5704d-da1d-4b70-8e12-6d54d32b01a3" providerId="ADAL" clId="{11E30BCA-5427-48A7-9089-5CE7CB5F003D}" dt="2023-04-21T15:28:17.264" v="9406" actId="404"/>
          <ac:spMkLst>
            <pc:docMk/>
            <pc:sldMk cId="3202130224" sldId="2147469834"/>
            <ac:spMk id="10" creationId="{AA91E9F4-8954-8C37-DAE6-D3F4F6F46EFD}"/>
          </ac:spMkLst>
        </pc:spChg>
        <pc:spChg chg="add mod">
          <ac:chgData name="Paul LEGEARD" userId="73b5704d-da1d-4b70-8e12-6d54d32b01a3" providerId="ADAL" clId="{11E30BCA-5427-48A7-9089-5CE7CB5F003D}" dt="2023-04-19T06:38:40.991" v="7695" actId="1076"/>
          <ac:spMkLst>
            <pc:docMk/>
            <pc:sldMk cId="3202130224" sldId="2147469834"/>
            <ac:spMk id="11" creationId="{40BEC453-507B-6662-79AE-60E011F518B8}"/>
          </ac:spMkLst>
        </pc:spChg>
        <pc:spChg chg="add mod">
          <ac:chgData name="Paul LEGEARD" userId="73b5704d-da1d-4b70-8e12-6d54d32b01a3" providerId="ADAL" clId="{11E30BCA-5427-48A7-9089-5CE7CB5F003D}" dt="2023-04-19T06:38:40.991" v="7695" actId="1076"/>
          <ac:spMkLst>
            <pc:docMk/>
            <pc:sldMk cId="3202130224" sldId="2147469834"/>
            <ac:spMk id="12" creationId="{022EEA7E-8E27-E949-950F-F59918BAE3CE}"/>
          </ac:spMkLst>
        </pc:spChg>
        <pc:spChg chg="add mod">
          <ac:chgData name="Paul LEGEARD" userId="73b5704d-da1d-4b70-8e12-6d54d32b01a3" providerId="ADAL" clId="{11E30BCA-5427-48A7-9089-5CE7CB5F003D}" dt="2023-04-19T06:38:40.991" v="7695" actId="1076"/>
          <ac:spMkLst>
            <pc:docMk/>
            <pc:sldMk cId="3202130224" sldId="2147469834"/>
            <ac:spMk id="13" creationId="{DAAD9F3B-0012-DE3A-1B33-F8DC6B66B411}"/>
          </ac:spMkLst>
        </pc:spChg>
        <pc:spChg chg="add mod">
          <ac:chgData name="Paul LEGEARD" userId="73b5704d-da1d-4b70-8e12-6d54d32b01a3" providerId="ADAL" clId="{11E30BCA-5427-48A7-9089-5CE7CB5F003D}" dt="2023-04-19T06:38:40.991" v="7695" actId="1076"/>
          <ac:spMkLst>
            <pc:docMk/>
            <pc:sldMk cId="3202130224" sldId="2147469834"/>
            <ac:spMk id="14" creationId="{70F18CE3-5E1A-0B77-FF22-9C737AE8203C}"/>
          </ac:spMkLst>
        </pc:spChg>
        <pc:spChg chg="add mod">
          <ac:chgData name="Paul LEGEARD" userId="73b5704d-da1d-4b70-8e12-6d54d32b01a3" providerId="ADAL" clId="{11E30BCA-5427-48A7-9089-5CE7CB5F003D}" dt="2023-04-21T15:28:03.945" v="9400" actId="1076"/>
          <ac:spMkLst>
            <pc:docMk/>
            <pc:sldMk cId="3202130224" sldId="2147469834"/>
            <ac:spMk id="15" creationId="{A5D4A16D-41EB-756E-83D4-8C1A2120D4DC}"/>
          </ac:spMkLst>
        </pc:spChg>
        <pc:spChg chg="add mod">
          <ac:chgData name="Paul LEGEARD" userId="73b5704d-da1d-4b70-8e12-6d54d32b01a3" providerId="ADAL" clId="{11E30BCA-5427-48A7-9089-5CE7CB5F003D}" dt="2023-04-19T06:38:40.991" v="7695" actId="1076"/>
          <ac:spMkLst>
            <pc:docMk/>
            <pc:sldMk cId="3202130224" sldId="2147469834"/>
            <ac:spMk id="17" creationId="{12C3B98A-D44A-D2D9-14BC-6FFAE0BC39E4}"/>
          </ac:spMkLst>
        </pc:spChg>
        <pc:spChg chg="add mod">
          <ac:chgData name="Paul LEGEARD" userId="73b5704d-da1d-4b70-8e12-6d54d32b01a3" providerId="ADAL" clId="{11E30BCA-5427-48A7-9089-5CE7CB5F003D}" dt="2023-04-19T06:38:40.991" v="7695" actId="1076"/>
          <ac:spMkLst>
            <pc:docMk/>
            <pc:sldMk cId="3202130224" sldId="2147469834"/>
            <ac:spMk id="19" creationId="{35E4CF41-7244-1D62-F974-8A26116BF200}"/>
          </ac:spMkLst>
        </pc:spChg>
        <pc:spChg chg="add del mod">
          <ac:chgData name="Paul LEGEARD" userId="73b5704d-da1d-4b70-8e12-6d54d32b01a3" providerId="ADAL" clId="{11E30BCA-5427-48A7-9089-5CE7CB5F003D}" dt="2023-04-19T06:04:37.128" v="5581"/>
          <ac:spMkLst>
            <pc:docMk/>
            <pc:sldMk cId="3202130224" sldId="2147469834"/>
            <ac:spMk id="20" creationId="{C916B3B4-4AE8-8249-D058-B3F9CADF22B6}"/>
          </ac:spMkLst>
        </pc:spChg>
        <pc:spChg chg="add del mod">
          <ac:chgData name="Paul LEGEARD" userId="73b5704d-da1d-4b70-8e12-6d54d32b01a3" providerId="ADAL" clId="{11E30BCA-5427-48A7-9089-5CE7CB5F003D}" dt="2023-04-21T15:29:24.769" v="9450"/>
          <ac:spMkLst>
            <pc:docMk/>
            <pc:sldMk cId="3202130224" sldId="2147469834"/>
            <ac:spMk id="20" creationId="{E4957219-B456-F22C-DDCE-958CBF628D05}"/>
          </ac:spMkLst>
        </pc:spChg>
        <pc:spChg chg="add del mod">
          <ac:chgData name="Paul LEGEARD" userId="73b5704d-da1d-4b70-8e12-6d54d32b01a3" providerId="ADAL" clId="{11E30BCA-5427-48A7-9089-5CE7CB5F003D}" dt="2023-04-19T06:04:37.128" v="5581"/>
          <ac:spMkLst>
            <pc:docMk/>
            <pc:sldMk cId="3202130224" sldId="2147469834"/>
            <ac:spMk id="21" creationId="{63F7BB62-5FA7-9514-8D68-3F28D334336E}"/>
          </ac:spMkLst>
        </pc:spChg>
        <pc:spChg chg="add del mod">
          <ac:chgData name="Paul LEGEARD" userId="73b5704d-da1d-4b70-8e12-6d54d32b01a3" providerId="ADAL" clId="{11E30BCA-5427-48A7-9089-5CE7CB5F003D}" dt="2023-04-19T06:04:37.128" v="5581"/>
          <ac:spMkLst>
            <pc:docMk/>
            <pc:sldMk cId="3202130224" sldId="2147469834"/>
            <ac:spMk id="22" creationId="{272F0A6B-6C53-0927-CC8E-C5009E3909CC}"/>
          </ac:spMkLst>
        </pc:spChg>
        <pc:spChg chg="add del mod">
          <ac:chgData name="Paul LEGEARD" userId="73b5704d-da1d-4b70-8e12-6d54d32b01a3" providerId="ADAL" clId="{11E30BCA-5427-48A7-9089-5CE7CB5F003D}" dt="2023-04-19T06:04:37.128" v="5581"/>
          <ac:spMkLst>
            <pc:docMk/>
            <pc:sldMk cId="3202130224" sldId="2147469834"/>
            <ac:spMk id="23" creationId="{B5855AC4-7A43-37AA-FD0E-DE65C510AFBE}"/>
          </ac:spMkLst>
        </pc:spChg>
        <pc:spChg chg="add del mod">
          <ac:chgData name="Paul LEGEARD" userId="73b5704d-da1d-4b70-8e12-6d54d32b01a3" providerId="ADAL" clId="{11E30BCA-5427-48A7-9089-5CE7CB5F003D}" dt="2023-04-19T06:04:37.128" v="5581"/>
          <ac:spMkLst>
            <pc:docMk/>
            <pc:sldMk cId="3202130224" sldId="2147469834"/>
            <ac:spMk id="24" creationId="{1DAF41EF-F8C2-BE6B-3D9A-89F189A7F3BB}"/>
          </ac:spMkLst>
        </pc:spChg>
        <pc:spChg chg="add del mod">
          <ac:chgData name="Paul LEGEARD" userId="73b5704d-da1d-4b70-8e12-6d54d32b01a3" providerId="ADAL" clId="{11E30BCA-5427-48A7-9089-5CE7CB5F003D}" dt="2023-04-19T06:04:37.128" v="5581"/>
          <ac:spMkLst>
            <pc:docMk/>
            <pc:sldMk cId="3202130224" sldId="2147469834"/>
            <ac:spMk id="25" creationId="{254A0BEF-937F-CF4F-73E1-5F205877E1E3}"/>
          </ac:spMkLst>
        </pc:spChg>
        <pc:spChg chg="add del mod">
          <ac:chgData name="Paul LEGEARD" userId="73b5704d-da1d-4b70-8e12-6d54d32b01a3" providerId="ADAL" clId="{11E30BCA-5427-48A7-9089-5CE7CB5F003D}" dt="2023-04-19T06:04:37.128" v="5581"/>
          <ac:spMkLst>
            <pc:docMk/>
            <pc:sldMk cId="3202130224" sldId="2147469834"/>
            <ac:spMk id="26" creationId="{E3152F5F-210F-F9D2-250D-09F1B9DCF6E1}"/>
          </ac:spMkLst>
        </pc:spChg>
        <pc:spChg chg="add del mod">
          <ac:chgData name="Paul LEGEARD" userId="73b5704d-da1d-4b70-8e12-6d54d32b01a3" providerId="ADAL" clId="{11E30BCA-5427-48A7-9089-5CE7CB5F003D}" dt="2023-04-19T06:04:37.128" v="5581"/>
          <ac:spMkLst>
            <pc:docMk/>
            <pc:sldMk cId="3202130224" sldId="2147469834"/>
            <ac:spMk id="27" creationId="{4616912B-EBB5-22A1-48AD-0CB2DF16FB32}"/>
          </ac:spMkLst>
        </pc:spChg>
        <pc:spChg chg="add del mod">
          <ac:chgData name="Paul LEGEARD" userId="73b5704d-da1d-4b70-8e12-6d54d32b01a3" providerId="ADAL" clId="{11E30BCA-5427-48A7-9089-5CE7CB5F003D}" dt="2023-04-19T06:04:37.128" v="5581"/>
          <ac:spMkLst>
            <pc:docMk/>
            <pc:sldMk cId="3202130224" sldId="2147469834"/>
            <ac:spMk id="28" creationId="{2E49E8CF-310A-F213-D200-BB783132286B}"/>
          </ac:spMkLst>
        </pc:spChg>
        <pc:spChg chg="add del mod">
          <ac:chgData name="Paul LEGEARD" userId="73b5704d-da1d-4b70-8e12-6d54d32b01a3" providerId="ADAL" clId="{11E30BCA-5427-48A7-9089-5CE7CB5F003D}" dt="2023-04-19T06:04:37.128" v="5581"/>
          <ac:spMkLst>
            <pc:docMk/>
            <pc:sldMk cId="3202130224" sldId="2147469834"/>
            <ac:spMk id="30" creationId="{BBA99A28-9F52-C72F-BA2A-D29A8BFE601B}"/>
          </ac:spMkLst>
        </pc:spChg>
        <pc:spChg chg="add del mod">
          <ac:chgData name="Paul LEGEARD" userId="73b5704d-da1d-4b70-8e12-6d54d32b01a3" providerId="ADAL" clId="{11E30BCA-5427-48A7-9089-5CE7CB5F003D}" dt="2023-04-19T06:04:43.666" v="5583"/>
          <ac:spMkLst>
            <pc:docMk/>
            <pc:sldMk cId="3202130224" sldId="2147469834"/>
            <ac:spMk id="32" creationId="{20AFA01F-E67F-7A06-74DB-920D9D8BAD2B}"/>
          </ac:spMkLst>
        </pc:spChg>
        <pc:spChg chg="add del mod">
          <ac:chgData name="Paul LEGEARD" userId="73b5704d-da1d-4b70-8e12-6d54d32b01a3" providerId="ADAL" clId="{11E30BCA-5427-48A7-9089-5CE7CB5F003D}" dt="2023-04-19T06:04:43.666" v="5583"/>
          <ac:spMkLst>
            <pc:docMk/>
            <pc:sldMk cId="3202130224" sldId="2147469834"/>
            <ac:spMk id="33" creationId="{AC742BFB-9095-075C-6B19-788D16AE819D}"/>
          </ac:spMkLst>
        </pc:spChg>
        <pc:spChg chg="add del mod">
          <ac:chgData name="Paul LEGEARD" userId="73b5704d-da1d-4b70-8e12-6d54d32b01a3" providerId="ADAL" clId="{11E30BCA-5427-48A7-9089-5CE7CB5F003D}" dt="2023-04-19T06:04:43.666" v="5583"/>
          <ac:spMkLst>
            <pc:docMk/>
            <pc:sldMk cId="3202130224" sldId="2147469834"/>
            <ac:spMk id="34" creationId="{0B7D4B4E-0E3F-93FF-9BBF-EEAE60A62E0D}"/>
          </ac:spMkLst>
        </pc:spChg>
        <pc:spChg chg="add del mod">
          <ac:chgData name="Paul LEGEARD" userId="73b5704d-da1d-4b70-8e12-6d54d32b01a3" providerId="ADAL" clId="{11E30BCA-5427-48A7-9089-5CE7CB5F003D}" dt="2023-04-19T06:04:43.666" v="5583"/>
          <ac:spMkLst>
            <pc:docMk/>
            <pc:sldMk cId="3202130224" sldId="2147469834"/>
            <ac:spMk id="35" creationId="{97AADBB0-C74C-BBD9-271E-BF23D6B558D2}"/>
          </ac:spMkLst>
        </pc:spChg>
        <pc:spChg chg="add del mod">
          <ac:chgData name="Paul LEGEARD" userId="73b5704d-da1d-4b70-8e12-6d54d32b01a3" providerId="ADAL" clId="{11E30BCA-5427-48A7-9089-5CE7CB5F003D}" dt="2023-04-19T06:04:43.666" v="5583"/>
          <ac:spMkLst>
            <pc:docMk/>
            <pc:sldMk cId="3202130224" sldId="2147469834"/>
            <ac:spMk id="36" creationId="{000C9731-3470-A0DD-41C6-227F92A5A7B4}"/>
          </ac:spMkLst>
        </pc:spChg>
        <pc:spChg chg="add del mod">
          <ac:chgData name="Paul LEGEARD" userId="73b5704d-da1d-4b70-8e12-6d54d32b01a3" providerId="ADAL" clId="{11E30BCA-5427-48A7-9089-5CE7CB5F003D}" dt="2023-04-19T06:04:43.666" v="5583"/>
          <ac:spMkLst>
            <pc:docMk/>
            <pc:sldMk cId="3202130224" sldId="2147469834"/>
            <ac:spMk id="37" creationId="{BDD38FC7-0023-50F3-459D-3D06004EFE2A}"/>
          </ac:spMkLst>
        </pc:spChg>
        <pc:spChg chg="add del mod">
          <ac:chgData name="Paul LEGEARD" userId="73b5704d-da1d-4b70-8e12-6d54d32b01a3" providerId="ADAL" clId="{11E30BCA-5427-48A7-9089-5CE7CB5F003D}" dt="2023-04-19T06:04:43.666" v="5583"/>
          <ac:spMkLst>
            <pc:docMk/>
            <pc:sldMk cId="3202130224" sldId="2147469834"/>
            <ac:spMk id="38" creationId="{97F050E1-62B6-2A8D-346A-1346BF2C9B87}"/>
          </ac:spMkLst>
        </pc:spChg>
        <pc:spChg chg="add del mod">
          <ac:chgData name="Paul LEGEARD" userId="73b5704d-da1d-4b70-8e12-6d54d32b01a3" providerId="ADAL" clId="{11E30BCA-5427-48A7-9089-5CE7CB5F003D}" dt="2023-04-19T06:04:43.666" v="5583"/>
          <ac:spMkLst>
            <pc:docMk/>
            <pc:sldMk cId="3202130224" sldId="2147469834"/>
            <ac:spMk id="39" creationId="{F2347728-F1D0-FAD6-D744-8F0842402CCF}"/>
          </ac:spMkLst>
        </pc:spChg>
        <pc:spChg chg="add del mod">
          <ac:chgData name="Paul LEGEARD" userId="73b5704d-da1d-4b70-8e12-6d54d32b01a3" providerId="ADAL" clId="{11E30BCA-5427-48A7-9089-5CE7CB5F003D}" dt="2023-04-19T06:04:43.666" v="5583"/>
          <ac:spMkLst>
            <pc:docMk/>
            <pc:sldMk cId="3202130224" sldId="2147469834"/>
            <ac:spMk id="40" creationId="{DAC049D8-E964-ED05-3EDA-1173B277FE4C}"/>
          </ac:spMkLst>
        </pc:spChg>
        <pc:spChg chg="add del mod">
          <ac:chgData name="Paul LEGEARD" userId="73b5704d-da1d-4b70-8e12-6d54d32b01a3" providerId="ADAL" clId="{11E30BCA-5427-48A7-9089-5CE7CB5F003D}" dt="2023-04-19T06:04:43.666" v="5583"/>
          <ac:spMkLst>
            <pc:docMk/>
            <pc:sldMk cId="3202130224" sldId="2147469834"/>
            <ac:spMk id="41" creationId="{F06439F6-6D52-7F9C-C13F-E1E59557C13F}"/>
          </ac:spMkLst>
        </pc:spChg>
        <pc:spChg chg="add del mod">
          <ac:chgData name="Paul LEGEARD" userId="73b5704d-da1d-4b70-8e12-6d54d32b01a3" providerId="ADAL" clId="{11E30BCA-5427-48A7-9089-5CE7CB5F003D}" dt="2023-04-19T06:04:43.666" v="5583"/>
          <ac:spMkLst>
            <pc:docMk/>
            <pc:sldMk cId="3202130224" sldId="2147469834"/>
            <ac:spMk id="43" creationId="{DCC54903-40F0-5626-D8AF-DAACD53FC73C}"/>
          </ac:spMkLst>
        </pc:spChg>
        <pc:spChg chg="add del mod">
          <ac:chgData name="Paul LEGEARD" userId="73b5704d-da1d-4b70-8e12-6d54d32b01a3" providerId="ADAL" clId="{11E30BCA-5427-48A7-9089-5CE7CB5F003D}" dt="2023-04-19T06:04:43.666" v="5583"/>
          <ac:spMkLst>
            <pc:docMk/>
            <pc:sldMk cId="3202130224" sldId="2147469834"/>
            <ac:spMk id="45" creationId="{A0922994-ABAE-059D-4AFA-20CB2D99877C}"/>
          </ac:spMkLst>
        </pc:spChg>
        <pc:spChg chg="add mod">
          <ac:chgData name="Paul LEGEARD" userId="73b5704d-da1d-4b70-8e12-6d54d32b01a3" providerId="ADAL" clId="{11E30BCA-5427-48A7-9089-5CE7CB5F003D}" dt="2023-04-19T06:50:20.601" v="7790" actId="1076"/>
          <ac:spMkLst>
            <pc:docMk/>
            <pc:sldMk cId="3202130224" sldId="2147469834"/>
            <ac:spMk id="46" creationId="{23518216-234D-A89F-3E9B-B61F0698EA69}"/>
          </ac:spMkLst>
        </pc:spChg>
        <pc:spChg chg="add mod">
          <ac:chgData name="Paul LEGEARD" userId="73b5704d-da1d-4b70-8e12-6d54d32b01a3" providerId="ADAL" clId="{11E30BCA-5427-48A7-9089-5CE7CB5F003D}" dt="2023-04-19T06:50:20.601" v="7790" actId="1076"/>
          <ac:spMkLst>
            <pc:docMk/>
            <pc:sldMk cId="3202130224" sldId="2147469834"/>
            <ac:spMk id="47" creationId="{8B4058E5-174E-89B9-DAED-2A5CDC17A48B}"/>
          </ac:spMkLst>
        </pc:spChg>
        <pc:spChg chg="add mod">
          <ac:chgData name="Paul LEGEARD" userId="73b5704d-da1d-4b70-8e12-6d54d32b01a3" providerId="ADAL" clId="{11E30BCA-5427-48A7-9089-5CE7CB5F003D}" dt="2023-04-19T06:50:20.601" v="7790" actId="1076"/>
          <ac:spMkLst>
            <pc:docMk/>
            <pc:sldMk cId="3202130224" sldId="2147469834"/>
            <ac:spMk id="48" creationId="{C827EEED-8D36-A676-E124-85480EA818AD}"/>
          </ac:spMkLst>
        </pc:spChg>
        <pc:spChg chg="add mod">
          <ac:chgData name="Paul LEGEARD" userId="73b5704d-da1d-4b70-8e12-6d54d32b01a3" providerId="ADAL" clId="{11E30BCA-5427-48A7-9089-5CE7CB5F003D}" dt="2023-04-19T06:50:20.601" v="7790" actId="1076"/>
          <ac:spMkLst>
            <pc:docMk/>
            <pc:sldMk cId="3202130224" sldId="2147469834"/>
            <ac:spMk id="49" creationId="{1E3769DE-233F-E8C7-F017-82743AF4B85D}"/>
          </ac:spMkLst>
        </pc:spChg>
        <pc:spChg chg="add mod">
          <ac:chgData name="Paul LEGEARD" userId="73b5704d-da1d-4b70-8e12-6d54d32b01a3" providerId="ADAL" clId="{11E30BCA-5427-48A7-9089-5CE7CB5F003D}" dt="2023-04-19T06:50:20.601" v="7790" actId="1076"/>
          <ac:spMkLst>
            <pc:docMk/>
            <pc:sldMk cId="3202130224" sldId="2147469834"/>
            <ac:spMk id="50" creationId="{F5AF9B17-F541-DB0F-A8EE-2B4FCC2DC699}"/>
          </ac:spMkLst>
        </pc:spChg>
        <pc:spChg chg="add mod">
          <ac:chgData name="Paul LEGEARD" userId="73b5704d-da1d-4b70-8e12-6d54d32b01a3" providerId="ADAL" clId="{11E30BCA-5427-48A7-9089-5CE7CB5F003D}" dt="2023-04-19T06:50:20.601" v="7790" actId="1076"/>
          <ac:spMkLst>
            <pc:docMk/>
            <pc:sldMk cId="3202130224" sldId="2147469834"/>
            <ac:spMk id="51" creationId="{C0E60EC3-B67B-44C1-561C-5216E16AAC02}"/>
          </ac:spMkLst>
        </pc:spChg>
        <pc:spChg chg="add mod">
          <ac:chgData name="Paul LEGEARD" userId="73b5704d-da1d-4b70-8e12-6d54d32b01a3" providerId="ADAL" clId="{11E30BCA-5427-48A7-9089-5CE7CB5F003D}" dt="2023-04-19T06:50:20.601" v="7790" actId="1076"/>
          <ac:spMkLst>
            <pc:docMk/>
            <pc:sldMk cId="3202130224" sldId="2147469834"/>
            <ac:spMk id="52" creationId="{B5C89BF1-D62C-0D21-F65E-C200AC8FF5C9}"/>
          </ac:spMkLst>
        </pc:spChg>
        <pc:spChg chg="add mod">
          <ac:chgData name="Paul LEGEARD" userId="73b5704d-da1d-4b70-8e12-6d54d32b01a3" providerId="ADAL" clId="{11E30BCA-5427-48A7-9089-5CE7CB5F003D}" dt="2023-04-19T06:50:20.601" v="7790" actId="1076"/>
          <ac:spMkLst>
            <pc:docMk/>
            <pc:sldMk cId="3202130224" sldId="2147469834"/>
            <ac:spMk id="53" creationId="{6D387D44-D0F4-CB59-58E1-9986C02E3E45}"/>
          </ac:spMkLst>
        </pc:spChg>
        <pc:spChg chg="add mod">
          <ac:chgData name="Paul LEGEARD" userId="73b5704d-da1d-4b70-8e12-6d54d32b01a3" providerId="ADAL" clId="{11E30BCA-5427-48A7-9089-5CE7CB5F003D}" dt="2023-04-19T06:50:20.601" v="7790" actId="1076"/>
          <ac:spMkLst>
            <pc:docMk/>
            <pc:sldMk cId="3202130224" sldId="2147469834"/>
            <ac:spMk id="54" creationId="{B0193909-3996-D38B-8E69-8C07DAB4EBB3}"/>
          </ac:spMkLst>
        </pc:spChg>
        <pc:spChg chg="add mod">
          <ac:chgData name="Paul LEGEARD" userId="73b5704d-da1d-4b70-8e12-6d54d32b01a3" providerId="ADAL" clId="{11E30BCA-5427-48A7-9089-5CE7CB5F003D}" dt="2023-04-19T06:50:20.601" v="7790" actId="1076"/>
          <ac:spMkLst>
            <pc:docMk/>
            <pc:sldMk cId="3202130224" sldId="2147469834"/>
            <ac:spMk id="55" creationId="{CFD8D7B4-B290-1F3A-4956-D22B599C332B}"/>
          </ac:spMkLst>
        </pc:spChg>
        <pc:spChg chg="add del mod">
          <ac:chgData name="Paul LEGEARD" userId="73b5704d-da1d-4b70-8e12-6d54d32b01a3" providerId="ADAL" clId="{11E30BCA-5427-48A7-9089-5CE7CB5F003D}" dt="2023-04-19T06:35:39.275" v="7172" actId="478"/>
          <ac:spMkLst>
            <pc:docMk/>
            <pc:sldMk cId="3202130224" sldId="2147469834"/>
            <ac:spMk id="57" creationId="{69B12A3A-572B-521D-F1B1-7BD93D988A54}"/>
          </ac:spMkLst>
        </pc:spChg>
        <pc:spChg chg="add del mod">
          <ac:chgData name="Paul LEGEARD" userId="73b5704d-da1d-4b70-8e12-6d54d32b01a3" providerId="ADAL" clId="{11E30BCA-5427-48A7-9089-5CE7CB5F003D}" dt="2023-04-19T06:36:30.619" v="7397" actId="478"/>
          <ac:spMkLst>
            <pc:docMk/>
            <pc:sldMk cId="3202130224" sldId="2147469834"/>
            <ac:spMk id="59" creationId="{C903C70C-B7DE-A6D4-B074-53DFB6DE270A}"/>
          </ac:spMkLst>
        </pc:spChg>
        <pc:spChg chg="add mod">
          <ac:chgData name="Paul LEGEARD" userId="73b5704d-da1d-4b70-8e12-6d54d32b01a3" providerId="ADAL" clId="{11E30BCA-5427-48A7-9089-5CE7CB5F003D}" dt="2023-04-19T06:50:32.589" v="7794" actId="1076"/>
          <ac:spMkLst>
            <pc:docMk/>
            <pc:sldMk cId="3202130224" sldId="2147469834"/>
            <ac:spMk id="60" creationId="{36DA9EC8-02A1-7D7E-F1D2-86BB5A543F7C}"/>
          </ac:spMkLst>
        </pc:spChg>
        <pc:spChg chg="add mod">
          <ac:chgData name="Paul LEGEARD" userId="73b5704d-da1d-4b70-8e12-6d54d32b01a3" providerId="ADAL" clId="{11E30BCA-5427-48A7-9089-5CE7CB5F003D}" dt="2023-04-19T06:51:41.257" v="8050" actId="1038"/>
          <ac:spMkLst>
            <pc:docMk/>
            <pc:sldMk cId="3202130224" sldId="2147469834"/>
            <ac:spMk id="61" creationId="{A3ABC842-5A33-7324-3620-417482AA3172}"/>
          </ac:spMkLst>
        </pc:spChg>
        <pc:spChg chg="add mod">
          <ac:chgData name="Paul LEGEARD" userId="73b5704d-da1d-4b70-8e12-6d54d32b01a3" providerId="ADAL" clId="{11E30BCA-5427-48A7-9089-5CE7CB5F003D}" dt="2023-04-19T06:50:38.261" v="7797" actId="1076"/>
          <ac:spMkLst>
            <pc:docMk/>
            <pc:sldMk cId="3202130224" sldId="2147469834"/>
            <ac:spMk id="63" creationId="{87B3C1AF-FD95-DE93-4A7A-279DB046A208}"/>
          </ac:spMkLst>
        </pc:spChg>
        <pc:spChg chg="add del mod">
          <ac:chgData name="Paul LEGEARD" userId="73b5704d-da1d-4b70-8e12-6d54d32b01a3" providerId="ADAL" clId="{11E30BCA-5427-48A7-9089-5CE7CB5F003D}" dt="2023-04-21T15:23:09.348" v="9133" actId="478"/>
          <ac:spMkLst>
            <pc:docMk/>
            <pc:sldMk cId="3202130224" sldId="2147469834"/>
            <ac:spMk id="64" creationId="{50809AD8-4C0C-2A22-5B81-9A1F5EFC8348}"/>
          </ac:spMkLst>
        </pc:spChg>
        <pc:spChg chg="add mod">
          <ac:chgData name="Paul LEGEARD" userId="73b5704d-da1d-4b70-8e12-6d54d32b01a3" providerId="ADAL" clId="{11E30BCA-5427-48A7-9089-5CE7CB5F003D}" dt="2023-04-19T06:51:02.422" v="7829" actId="14100"/>
          <ac:spMkLst>
            <pc:docMk/>
            <pc:sldMk cId="3202130224" sldId="2147469834"/>
            <ac:spMk id="65" creationId="{C820628D-C6E4-37E7-AA6A-695171745E3C}"/>
          </ac:spMkLst>
        </pc:spChg>
        <pc:picChg chg="add mod ord">
          <ac:chgData name="Paul LEGEARD" userId="73b5704d-da1d-4b70-8e12-6d54d32b01a3" providerId="ADAL" clId="{11E30BCA-5427-48A7-9089-5CE7CB5F003D}" dt="2023-04-19T06:38:40.991" v="7695" actId="1076"/>
          <ac:picMkLst>
            <pc:docMk/>
            <pc:sldMk cId="3202130224" sldId="2147469834"/>
            <ac:picMk id="16" creationId="{10840CF7-9732-75FE-6AE5-FC90E1D8DB14}"/>
          </ac:picMkLst>
        </pc:picChg>
        <pc:picChg chg="add mod ord">
          <ac:chgData name="Paul LEGEARD" userId="73b5704d-da1d-4b70-8e12-6d54d32b01a3" providerId="ADAL" clId="{11E30BCA-5427-48A7-9089-5CE7CB5F003D}" dt="2023-04-19T06:38:40.991" v="7695" actId="1076"/>
          <ac:picMkLst>
            <pc:docMk/>
            <pc:sldMk cId="3202130224" sldId="2147469834"/>
            <ac:picMk id="18" creationId="{DC05E7F6-1E8C-5D2E-E7CC-D5E19D451E7B}"/>
          </ac:picMkLst>
        </pc:picChg>
        <pc:picChg chg="add del mod">
          <ac:chgData name="Paul LEGEARD" userId="73b5704d-da1d-4b70-8e12-6d54d32b01a3" providerId="ADAL" clId="{11E30BCA-5427-48A7-9089-5CE7CB5F003D}" dt="2023-04-19T06:04:37.128" v="5581"/>
          <ac:picMkLst>
            <pc:docMk/>
            <pc:sldMk cId="3202130224" sldId="2147469834"/>
            <ac:picMk id="29" creationId="{8CD8851B-38A6-D389-3094-56EAEFD79869}"/>
          </ac:picMkLst>
        </pc:picChg>
        <pc:picChg chg="add del mod">
          <ac:chgData name="Paul LEGEARD" userId="73b5704d-da1d-4b70-8e12-6d54d32b01a3" providerId="ADAL" clId="{11E30BCA-5427-48A7-9089-5CE7CB5F003D}" dt="2023-04-19T06:04:37.128" v="5581"/>
          <ac:picMkLst>
            <pc:docMk/>
            <pc:sldMk cId="3202130224" sldId="2147469834"/>
            <ac:picMk id="31" creationId="{EC8E6FAC-9FC2-700C-9EEC-AD510DC10982}"/>
          </ac:picMkLst>
        </pc:picChg>
        <pc:picChg chg="add del mod">
          <ac:chgData name="Paul LEGEARD" userId="73b5704d-da1d-4b70-8e12-6d54d32b01a3" providerId="ADAL" clId="{11E30BCA-5427-48A7-9089-5CE7CB5F003D}" dt="2023-04-19T06:04:43.666" v="5583"/>
          <ac:picMkLst>
            <pc:docMk/>
            <pc:sldMk cId="3202130224" sldId="2147469834"/>
            <ac:picMk id="42" creationId="{475BB23F-069D-A8E9-D06E-DD141C7B5F54}"/>
          </ac:picMkLst>
        </pc:picChg>
        <pc:picChg chg="add del mod">
          <ac:chgData name="Paul LEGEARD" userId="73b5704d-da1d-4b70-8e12-6d54d32b01a3" providerId="ADAL" clId="{11E30BCA-5427-48A7-9089-5CE7CB5F003D}" dt="2023-04-19T06:04:43.666" v="5583"/>
          <ac:picMkLst>
            <pc:docMk/>
            <pc:sldMk cId="3202130224" sldId="2147469834"/>
            <ac:picMk id="44" creationId="{0C7658F7-327D-12A8-9C92-9307CFC61557}"/>
          </ac:picMkLst>
        </pc:picChg>
        <pc:picChg chg="add del mod">
          <ac:chgData name="Paul LEGEARD" userId="73b5704d-da1d-4b70-8e12-6d54d32b01a3" providerId="ADAL" clId="{11E30BCA-5427-48A7-9089-5CE7CB5F003D}" dt="2023-04-19T06:35:39.275" v="7172" actId="478"/>
          <ac:picMkLst>
            <pc:docMk/>
            <pc:sldMk cId="3202130224" sldId="2147469834"/>
            <ac:picMk id="56" creationId="{CA5CC082-E0D1-C8A7-8A54-9A08A1AEC229}"/>
          </ac:picMkLst>
        </pc:picChg>
        <pc:picChg chg="add del mod">
          <ac:chgData name="Paul LEGEARD" userId="73b5704d-da1d-4b70-8e12-6d54d32b01a3" providerId="ADAL" clId="{11E30BCA-5427-48A7-9089-5CE7CB5F003D}" dt="2023-04-19T06:36:30.619" v="7397" actId="478"/>
          <ac:picMkLst>
            <pc:docMk/>
            <pc:sldMk cId="3202130224" sldId="2147469834"/>
            <ac:picMk id="58" creationId="{459286E3-0037-F3C3-3576-00CFC2850A06}"/>
          </ac:picMkLst>
        </pc:picChg>
        <pc:picChg chg="add mod">
          <ac:chgData name="Paul LEGEARD" userId="73b5704d-da1d-4b70-8e12-6d54d32b01a3" providerId="ADAL" clId="{11E30BCA-5427-48A7-9089-5CE7CB5F003D}" dt="2023-04-19T06:51:41.257" v="8050" actId="1038"/>
          <ac:picMkLst>
            <pc:docMk/>
            <pc:sldMk cId="3202130224" sldId="2147469834"/>
            <ac:picMk id="62" creationId="{56C72593-BCBA-8A3B-1C89-9B595192FD56}"/>
          </ac:picMkLst>
        </pc:picChg>
      </pc:sldChg>
      <pc:sldChg chg="modSp add del mod">
        <pc:chgData name="Paul LEGEARD" userId="73b5704d-da1d-4b70-8e12-6d54d32b01a3" providerId="ADAL" clId="{11E30BCA-5427-48A7-9089-5CE7CB5F003D}" dt="2023-04-18T18:15:54.678" v="3906" actId="47"/>
        <pc:sldMkLst>
          <pc:docMk/>
          <pc:sldMk cId="99061783" sldId="2147469835"/>
        </pc:sldMkLst>
        <pc:spChg chg="mod">
          <ac:chgData name="Paul LEGEARD" userId="73b5704d-da1d-4b70-8e12-6d54d32b01a3" providerId="ADAL" clId="{11E30BCA-5427-48A7-9089-5CE7CB5F003D}" dt="2023-04-18T17:41:53.605" v="1403" actId="20577"/>
          <ac:spMkLst>
            <pc:docMk/>
            <pc:sldMk cId="99061783" sldId="2147469835"/>
            <ac:spMk id="4" creationId="{52AFB3F8-88A7-4D69-8A52-45D00774625C}"/>
          </ac:spMkLst>
        </pc:spChg>
      </pc:sldChg>
      <pc:sldChg chg="addSp delSp modSp add del mod">
        <pc:chgData name="Paul LEGEARD" userId="73b5704d-da1d-4b70-8e12-6d54d32b01a3" providerId="ADAL" clId="{11E30BCA-5427-48A7-9089-5CE7CB5F003D}" dt="2023-04-24T08:23:48.210" v="14889" actId="47"/>
        <pc:sldMkLst>
          <pc:docMk/>
          <pc:sldMk cId="387257553" sldId="2147469836"/>
        </pc:sldMkLst>
        <pc:spChg chg="add mod">
          <ac:chgData name="Paul LEGEARD" userId="73b5704d-da1d-4b70-8e12-6d54d32b01a3" providerId="ADAL" clId="{11E30BCA-5427-48A7-9089-5CE7CB5F003D}" dt="2023-04-19T06:16:11.851" v="7076" actId="12"/>
          <ac:spMkLst>
            <pc:docMk/>
            <pc:sldMk cId="387257553" sldId="2147469836"/>
            <ac:spMk id="2" creationId="{AB0CC3E0-1E05-3211-DDD3-4B369A550149}"/>
          </ac:spMkLst>
        </pc:spChg>
        <pc:spChg chg="mod">
          <ac:chgData name="Paul LEGEARD" userId="73b5704d-da1d-4b70-8e12-6d54d32b01a3" providerId="ADAL" clId="{11E30BCA-5427-48A7-9089-5CE7CB5F003D}" dt="2023-04-19T06:16:03.732" v="7074" actId="20577"/>
          <ac:spMkLst>
            <pc:docMk/>
            <pc:sldMk cId="387257553" sldId="2147469836"/>
            <ac:spMk id="4" creationId="{52AFB3F8-88A7-4D69-8A52-45D00774625C}"/>
          </ac:spMkLst>
        </pc:spChg>
        <pc:graphicFrameChg chg="add del">
          <ac:chgData name="Paul LEGEARD" userId="73b5704d-da1d-4b70-8e12-6d54d32b01a3" providerId="ADAL" clId="{11E30BCA-5427-48A7-9089-5CE7CB5F003D}" dt="2023-04-24T08:21:19.960" v="14765"/>
          <ac:graphicFrameMkLst>
            <pc:docMk/>
            <pc:sldMk cId="387257553" sldId="2147469836"/>
            <ac:graphicFrameMk id="3" creationId="{21940150-091B-1D50-7163-0712F1CED03F}"/>
          </ac:graphicFrameMkLst>
        </pc:graphicFrameChg>
      </pc:sldChg>
      <pc:sldChg chg="delSp modSp add del mod">
        <pc:chgData name="Paul LEGEARD" userId="73b5704d-da1d-4b70-8e12-6d54d32b01a3" providerId="ADAL" clId="{11E30BCA-5427-48A7-9089-5CE7CB5F003D}" dt="2023-04-24T06:12:26.458" v="10308" actId="47"/>
        <pc:sldMkLst>
          <pc:docMk/>
          <pc:sldMk cId="390526610" sldId="2147469837"/>
        </pc:sldMkLst>
        <pc:spChg chg="del">
          <ac:chgData name="Paul LEGEARD" userId="73b5704d-da1d-4b70-8e12-6d54d32b01a3" providerId="ADAL" clId="{11E30BCA-5427-48A7-9089-5CE7CB5F003D}" dt="2023-04-21T12:35:05.581" v="8111" actId="478"/>
          <ac:spMkLst>
            <pc:docMk/>
            <pc:sldMk cId="390526610" sldId="2147469837"/>
            <ac:spMk id="3" creationId="{868D8618-14FB-16D5-024A-4010A2700A05}"/>
          </ac:spMkLst>
        </pc:spChg>
        <pc:spChg chg="mod">
          <ac:chgData name="Paul LEGEARD" userId="73b5704d-da1d-4b70-8e12-6d54d32b01a3" providerId="ADAL" clId="{11E30BCA-5427-48A7-9089-5CE7CB5F003D}" dt="2023-04-21T12:35:00.529" v="8108" actId="20577"/>
          <ac:spMkLst>
            <pc:docMk/>
            <pc:sldMk cId="390526610" sldId="2147469837"/>
            <ac:spMk id="4" creationId="{52AFB3F8-88A7-4D69-8A52-45D00774625C}"/>
          </ac:spMkLst>
        </pc:spChg>
        <pc:spChg chg="del">
          <ac:chgData name="Paul LEGEARD" userId="73b5704d-da1d-4b70-8e12-6d54d32b01a3" providerId="ADAL" clId="{11E30BCA-5427-48A7-9089-5CE7CB5F003D}" dt="2023-04-21T12:35:02.483" v="8109" actId="478"/>
          <ac:spMkLst>
            <pc:docMk/>
            <pc:sldMk cId="390526610" sldId="2147469837"/>
            <ac:spMk id="12" creationId="{3963AA16-B62E-F4B6-81D3-0ADB309EC472}"/>
          </ac:spMkLst>
        </pc:spChg>
        <pc:spChg chg="del">
          <ac:chgData name="Paul LEGEARD" userId="73b5704d-da1d-4b70-8e12-6d54d32b01a3" providerId="ADAL" clId="{11E30BCA-5427-48A7-9089-5CE7CB5F003D}" dt="2023-04-21T12:35:02.483" v="8109" actId="478"/>
          <ac:spMkLst>
            <pc:docMk/>
            <pc:sldMk cId="390526610" sldId="2147469837"/>
            <ac:spMk id="14" creationId="{B66A1D62-CAF4-FC08-0664-A4C977496351}"/>
          </ac:spMkLst>
        </pc:spChg>
        <pc:spChg chg="del">
          <ac:chgData name="Paul LEGEARD" userId="73b5704d-da1d-4b70-8e12-6d54d32b01a3" providerId="ADAL" clId="{11E30BCA-5427-48A7-9089-5CE7CB5F003D}" dt="2023-04-21T12:35:04.876" v="8110" actId="478"/>
          <ac:spMkLst>
            <pc:docMk/>
            <pc:sldMk cId="390526610" sldId="2147469837"/>
            <ac:spMk id="16" creationId="{D3C71103-432D-A1B4-CFC5-95BAB846BD47}"/>
          </ac:spMkLst>
        </pc:spChg>
        <pc:spChg chg="del">
          <ac:chgData name="Paul LEGEARD" userId="73b5704d-da1d-4b70-8e12-6d54d32b01a3" providerId="ADAL" clId="{11E30BCA-5427-48A7-9089-5CE7CB5F003D}" dt="2023-04-21T12:35:02.483" v="8109" actId="478"/>
          <ac:spMkLst>
            <pc:docMk/>
            <pc:sldMk cId="390526610" sldId="2147469837"/>
            <ac:spMk id="18" creationId="{B9712D27-07C5-8D2A-522D-5BA66588959C}"/>
          </ac:spMkLst>
        </pc:spChg>
        <pc:spChg chg="del">
          <ac:chgData name="Paul LEGEARD" userId="73b5704d-da1d-4b70-8e12-6d54d32b01a3" providerId="ADAL" clId="{11E30BCA-5427-48A7-9089-5CE7CB5F003D}" dt="2023-04-21T12:35:02.483" v="8109" actId="478"/>
          <ac:spMkLst>
            <pc:docMk/>
            <pc:sldMk cId="390526610" sldId="2147469837"/>
            <ac:spMk id="20" creationId="{9F2F71DC-F464-E5FF-BD08-AA48F1B79C4E}"/>
          </ac:spMkLst>
        </pc:spChg>
        <pc:spChg chg="del">
          <ac:chgData name="Paul LEGEARD" userId="73b5704d-da1d-4b70-8e12-6d54d32b01a3" providerId="ADAL" clId="{11E30BCA-5427-48A7-9089-5CE7CB5F003D}" dt="2023-04-21T12:35:02.483" v="8109" actId="478"/>
          <ac:spMkLst>
            <pc:docMk/>
            <pc:sldMk cId="390526610" sldId="2147469837"/>
            <ac:spMk id="21" creationId="{FC63B32E-1BA9-2FB0-C5BA-0892F51E1074}"/>
          </ac:spMkLst>
        </pc:spChg>
        <pc:spChg chg="del">
          <ac:chgData name="Paul LEGEARD" userId="73b5704d-da1d-4b70-8e12-6d54d32b01a3" providerId="ADAL" clId="{11E30BCA-5427-48A7-9089-5CE7CB5F003D}" dt="2023-04-21T12:35:02.483" v="8109" actId="478"/>
          <ac:spMkLst>
            <pc:docMk/>
            <pc:sldMk cId="390526610" sldId="2147469837"/>
            <ac:spMk id="22" creationId="{AE8AD87D-6C05-F005-68E1-2FB53895F505}"/>
          </ac:spMkLst>
        </pc:spChg>
        <pc:spChg chg="del">
          <ac:chgData name="Paul LEGEARD" userId="73b5704d-da1d-4b70-8e12-6d54d32b01a3" providerId="ADAL" clId="{11E30BCA-5427-48A7-9089-5CE7CB5F003D}" dt="2023-04-21T12:35:02.483" v="8109" actId="478"/>
          <ac:spMkLst>
            <pc:docMk/>
            <pc:sldMk cId="390526610" sldId="2147469837"/>
            <ac:spMk id="23" creationId="{A9003C91-F92A-42B8-C89B-9A3153CCFFD5}"/>
          </ac:spMkLst>
        </pc:spChg>
      </pc:sldChg>
      <pc:sldChg chg="delSp modSp add del mod">
        <pc:chgData name="Paul LEGEARD" userId="73b5704d-da1d-4b70-8e12-6d54d32b01a3" providerId="ADAL" clId="{11E30BCA-5427-48A7-9089-5CE7CB5F003D}" dt="2023-04-19T06:50:12.740" v="7788" actId="47"/>
        <pc:sldMkLst>
          <pc:docMk/>
          <pc:sldMk cId="3892123881" sldId="2147469837"/>
        </pc:sldMkLst>
        <pc:spChg chg="del">
          <ac:chgData name="Paul LEGEARD" userId="73b5704d-da1d-4b70-8e12-6d54d32b01a3" providerId="ADAL" clId="{11E30BCA-5427-48A7-9089-5CE7CB5F003D}" dt="2023-04-19T06:17:17.764" v="7145" actId="478"/>
          <ac:spMkLst>
            <pc:docMk/>
            <pc:sldMk cId="3892123881" sldId="2147469837"/>
            <ac:spMk id="2" creationId="{64468933-2AEF-E51D-AEB5-FA308DC638B8}"/>
          </ac:spMkLst>
        </pc:spChg>
        <pc:spChg chg="del">
          <ac:chgData name="Paul LEGEARD" userId="73b5704d-da1d-4b70-8e12-6d54d32b01a3" providerId="ADAL" clId="{11E30BCA-5427-48A7-9089-5CE7CB5F003D}" dt="2023-04-19T06:17:17.764" v="7145" actId="478"/>
          <ac:spMkLst>
            <pc:docMk/>
            <pc:sldMk cId="3892123881" sldId="2147469837"/>
            <ac:spMk id="3" creationId="{07710C2F-2D70-09C0-01C9-6C5570D40A0A}"/>
          </ac:spMkLst>
        </pc:spChg>
        <pc:spChg chg="mod">
          <ac:chgData name="Paul LEGEARD" userId="73b5704d-da1d-4b70-8e12-6d54d32b01a3" providerId="ADAL" clId="{11E30BCA-5427-48A7-9089-5CE7CB5F003D}" dt="2023-04-19T06:17:12.019" v="7144" actId="20577"/>
          <ac:spMkLst>
            <pc:docMk/>
            <pc:sldMk cId="3892123881" sldId="2147469837"/>
            <ac:spMk id="4" creationId="{52AFB3F8-88A7-4D69-8A52-45D00774625C}"/>
          </ac:spMkLst>
        </pc:spChg>
        <pc:spChg chg="del">
          <ac:chgData name="Paul LEGEARD" userId="73b5704d-da1d-4b70-8e12-6d54d32b01a3" providerId="ADAL" clId="{11E30BCA-5427-48A7-9089-5CE7CB5F003D}" dt="2023-04-19T06:17:17.764" v="7145" actId="478"/>
          <ac:spMkLst>
            <pc:docMk/>
            <pc:sldMk cId="3892123881" sldId="2147469837"/>
            <ac:spMk id="6" creationId="{6125B512-6AD8-EC6E-B089-83A817A034F8}"/>
          </ac:spMkLst>
        </pc:spChg>
        <pc:spChg chg="del">
          <ac:chgData name="Paul LEGEARD" userId="73b5704d-da1d-4b70-8e12-6d54d32b01a3" providerId="ADAL" clId="{11E30BCA-5427-48A7-9089-5CE7CB5F003D}" dt="2023-04-19T06:17:17.764" v="7145" actId="478"/>
          <ac:spMkLst>
            <pc:docMk/>
            <pc:sldMk cId="3892123881" sldId="2147469837"/>
            <ac:spMk id="7" creationId="{7573905D-82E1-1C87-6FDE-8A83220F794D}"/>
          </ac:spMkLst>
        </pc:spChg>
        <pc:spChg chg="del">
          <ac:chgData name="Paul LEGEARD" userId="73b5704d-da1d-4b70-8e12-6d54d32b01a3" providerId="ADAL" clId="{11E30BCA-5427-48A7-9089-5CE7CB5F003D}" dt="2023-04-19T06:17:17.764" v="7145" actId="478"/>
          <ac:spMkLst>
            <pc:docMk/>
            <pc:sldMk cId="3892123881" sldId="2147469837"/>
            <ac:spMk id="9" creationId="{A1DD60F8-848E-7F55-A059-886846DE84CD}"/>
          </ac:spMkLst>
        </pc:spChg>
        <pc:spChg chg="del">
          <ac:chgData name="Paul LEGEARD" userId="73b5704d-da1d-4b70-8e12-6d54d32b01a3" providerId="ADAL" clId="{11E30BCA-5427-48A7-9089-5CE7CB5F003D}" dt="2023-04-19T06:17:17.764" v="7145" actId="478"/>
          <ac:spMkLst>
            <pc:docMk/>
            <pc:sldMk cId="3892123881" sldId="2147469837"/>
            <ac:spMk id="10" creationId="{AA91E9F4-8954-8C37-DAE6-D3F4F6F46EFD}"/>
          </ac:spMkLst>
        </pc:spChg>
        <pc:spChg chg="del">
          <ac:chgData name="Paul LEGEARD" userId="73b5704d-da1d-4b70-8e12-6d54d32b01a3" providerId="ADAL" clId="{11E30BCA-5427-48A7-9089-5CE7CB5F003D}" dt="2023-04-19T06:17:17.764" v="7145" actId="478"/>
          <ac:spMkLst>
            <pc:docMk/>
            <pc:sldMk cId="3892123881" sldId="2147469837"/>
            <ac:spMk id="11" creationId="{40BEC453-507B-6662-79AE-60E011F518B8}"/>
          </ac:spMkLst>
        </pc:spChg>
        <pc:spChg chg="del">
          <ac:chgData name="Paul LEGEARD" userId="73b5704d-da1d-4b70-8e12-6d54d32b01a3" providerId="ADAL" clId="{11E30BCA-5427-48A7-9089-5CE7CB5F003D}" dt="2023-04-19T06:17:17.764" v="7145" actId="478"/>
          <ac:spMkLst>
            <pc:docMk/>
            <pc:sldMk cId="3892123881" sldId="2147469837"/>
            <ac:spMk id="12" creationId="{022EEA7E-8E27-E949-950F-F59918BAE3CE}"/>
          </ac:spMkLst>
        </pc:spChg>
        <pc:spChg chg="del">
          <ac:chgData name="Paul LEGEARD" userId="73b5704d-da1d-4b70-8e12-6d54d32b01a3" providerId="ADAL" clId="{11E30BCA-5427-48A7-9089-5CE7CB5F003D}" dt="2023-04-19T06:17:17.764" v="7145" actId="478"/>
          <ac:spMkLst>
            <pc:docMk/>
            <pc:sldMk cId="3892123881" sldId="2147469837"/>
            <ac:spMk id="13" creationId="{DAAD9F3B-0012-DE3A-1B33-F8DC6B66B411}"/>
          </ac:spMkLst>
        </pc:spChg>
        <pc:spChg chg="del">
          <ac:chgData name="Paul LEGEARD" userId="73b5704d-da1d-4b70-8e12-6d54d32b01a3" providerId="ADAL" clId="{11E30BCA-5427-48A7-9089-5CE7CB5F003D}" dt="2023-04-19T06:17:17.764" v="7145" actId="478"/>
          <ac:spMkLst>
            <pc:docMk/>
            <pc:sldMk cId="3892123881" sldId="2147469837"/>
            <ac:spMk id="14" creationId="{70F18CE3-5E1A-0B77-FF22-9C737AE8203C}"/>
          </ac:spMkLst>
        </pc:spChg>
        <pc:spChg chg="del">
          <ac:chgData name="Paul LEGEARD" userId="73b5704d-da1d-4b70-8e12-6d54d32b01a3" providerId="ADAL" clId="{11E30BCA-5427-48A7-9089-5CE7CB5F003D}" dt="2023-04-19T06:17:17.764" v="7145" actId="478"/>
          <ac:spMkLst>
            <pc:docMk/>
            <pc:sldMk cId="3892123881" sldId="2147469837"/>
            <ac:spMk id="17" creationId="{12C3B98A-D44A-D2D9-14BC-6FFAE0BC39E4}"/>
          </ac:spMkLst>
        </pc:spChg>
        <pc:spChg chg="del">
          <ac:chgData name="Paul LEGEARD" userId="73b5704d-da1d-4b70-8e12-6d54d32b01a3" providerId="ADAL" clId="{11E30BCA-5427-48A7-9089-5CE7CB5F003D}" dt="2023-04-19T06:17:17.764" v="7145" actId="478"/>
          <ac:spMkLst>
            <pc:docMk/>
            <pc:sldMk cId="3892123881" sldId="2147469837"/>
            <ac:spMk id="19" creationId="{35E4CF41-7244-1D62-F974-8A26116BF200}"/>
          </ac:spMkLst>
        </pc:spChg>
        <pc:spChg chg="del">
          <ac:chgData name="Paul LEGEARD" userId="73b5704d-da1d-4b70-8e12-6d54d32b01a3" providerId="ADAL" clId="{11E30BCA-5427-48A7-9089-5CE7CB5F003D}" dt="2023-04-19T06:17:17.764" v="7145" actId="478"/>
          <ac:spMkLst>
            <pc:docMk/>
            <pc:sldMk cId="3892123881" sldId="2147469837"/>
            <ac:spMk id="46" creationId="{23518216-234D-A89F-3E9B-B61F0698EA69}"/>
          </ac:spMkLst>
        </pc:spChg>
        <pc:spChg chg="del">
          <ac:chgData name="Paul LEGEARD" userId="73b5704d-da1d-4b70-8e12-6d54d32b01a3" providerId="ADAL" clId="{11E30BCA-5427-48A7-9089-5CE7CB5F003D}" dt="2023-04-19T06:17:17.764" v="7145" actId="478"/>
          <ac:spMkLst>
            <pc:docMk/>
            <pc:sldMk cId="3892123881" sldId="2147469837"/>
            <ac:spMk id="47" creationId="{8B4058E5-174E-89B9-DAED-2A5CDC17A48B}"/>
          </ac:spMkLst>
        </pc:spChg>
        <pc:spChg chg="del">
          <ac:chgData name="Paul LEGEARD" userId="73b5704d-da1d-4b70-8e12-6d54d32b01a3" providerId="ADAL" clId="{11E30BCA-5427-48A7-9089-5CE7CB5F003D}" dt="2023-04-19T06:17:17.764" v="7145" actId="478"/>
          <ac:spMkLst>
            <pc:docMk/>
            <pc:sldMk cId="3892123881" sldId="2147469837"/>
            <ac:spMk id="48" creationId="{C827EEED-8D36-A676-E124-85480EA818AD}"/>
          </ac:spMkLst>
        </pc:spChg>
        <pc:spChg chg="del">
          <ac:chgData name="Paul LEGEARD" userId="73b5704d-da1d-4b70-8e12-6d54d32b01a3" providerId="ADAL" clId="{11E30BCA-5427-48A7-9089-5CE7CB5F003D}" dt="2023-04-19T06:17:17.764" v="7145" actId="478"/>
          <ac:spMkLst>
            <pc:docMk/>
            <pc:sldMk cId="3892123881" sldId="2147469837"/>
            <ac:spMk id="49" creationId="{1E3769DE-233F-E8C7-F017-82743AF4B85D}"/>
          </ac:spMkLst>
        </pc:spChg>
        <pc:spChg chg="del">
          <ac:chgData name="Paul LEGEARD" userId="73b5704d-da1d-4b70-8e12-6d54d32b01a3" providerId="ADAL" clId="{11E30BCA-5427-48A7-9089-5CE7CB5F003D}" dt="2023-04-19T06:17:17.764" v="7145" actId="478"/>
          <ac:spMkLst>
            <pc:docMk/>
            <pc:sldMk cId="3892123881" sldId="2147469837"/>
            <ac:spMk id="50" creationId="{F5AF9B17-F541-DB0F-A8EE-2B4FCC2DC699}"/>
          </ac:spMkLst>
        </pc:spChg>
        <pc:spChg chg="del">
          <ac:chgData name="Paul LEGEARD" userId="73b5704d-da1d-4b70-8e12-6d54d32b01a3" providerId="ADAL" clId="{11E30BCA-5427-48A7-9089-5CE7CB5F003D}" dt="2023-04-19T06:17:17.764" v="7145" actId="478"/>
          <ac:spMkLst>
            <pc:docMk/>
            <pc:sldMk cId="3892123881" sldId="2147469837"/>
            <ac:spMk id="51" creationId="{C0E60EC3-B67B-44C1-561C-5216E16AAC02}"/>
          </ac:spMkLst>
        </pc:spChg>
        <pc:spChg chg="del">
          <ac:chgData name="Paul LEGEARD" userId="73b5704d-da1d-4b70-8e12-6d54d32b01a3" providerId="ADAL" clId="{11E30BCA-5427-48A7-9089-5CE7CB5F003D}" dt="2023-04-19T06:17:17.764" v="7145" actId="478"/>
          <ac:spMkLst>
            <pc:docMk/>
            <pc:sldMk cId="3892123881" sldId="2147469837"/>
            <ac:spMk id="52" creationId="{B5C89BF1-D62C-0D21-F65E-C200AC8FF5C9}"/>
          </ac:spMkLst>
        </pc:spChg>
        <pc:spChg chg="del">
          <ac:chgData name="Paul LEGEARD" userId="73b5704d-da1d-4b70-8e12-6d54d32b01a3" providerId="ADAL" clId="{11E30BCA-5427-48A7-9089-5CE7CB5F003D}" dt="2023-04-19T06:17:17.764" v="7145" actId="478"/>
          <ac:spMkLst>
            <pc:docMk/>
            <pc:sldMk cId="3892123881" sldId="2147469837"/>
            <ac:spMk id="53" creationId="{6D387D44-D0F4-CB59-58E1-9986C02E3E45}"/>
          </ac:spMkLst>
        </pc:spChg>
        <pc:spChg chg="del">
          <ac:chgData name="Paul LEGEARD" userId="73b5704d-da1d-4b70-8e12-6d54d32b01a3" providerId="ADAL" clId="{11E30BCA-5427-48A7-9089-5CE7CB5F003D}" dt="2023-04-19T06:17:17.764" v="7145" actId="478"/>
          <ac:spMkLst>
            <pc:docMk/>
            <pc:sldMk cId="3892123881" sldId="2147469837"/>
            <ac:spMk id="54" creationId="{B0193909-3996-D38B-8E69-8C07DAB4EBB3}"/>
          </ac:spMkLst>
        </pc:spChg>
        <pc:spChg chg="del">
          <ac:chgData name="Paul LEGEARD" userId="73b5704d-da1d-4b70-8e12-6d54d32b01a3" providerId="ADAL" clId="{11E30BCA-5427-48A7-9089-5CE7CB5F003D}" dt="2023-04-19T06:17:17.764" v="7145" actId="478"/>
          <ac:spMkLst>
            <pc:docMk/>
            <pc:sldMk cId="3892123881" sldId="2147469837"/>
            <ac:spMk id="55" creationId="{CFD8D7B4-B290-1F3A-4956-D22B599C332B}"/>
          </ac:spMkLst>
        </pc:spChg>
        <pc:spChg chg="del">
          <ac:chgData name="Paul LEGEARD" userId="73b5704d-da1d-4b70-8e12-6d54d32b01a3" providerId="ADAL" clId="{11E30BCA-5427-48A7-9089-5CE7CB5F003D}" dt="2023-04-19T06:17:17.764" v="7145" actId="478"/>
          <ac:spMkLst>
            <pc:docMk/>
            <pc:sldMk cId="3892123881" sldId="2147469837"/>
            <ac:spMk id="57" creationId="{69B12A3A-572B-521D-F1B1-7BD93D988A54}"/>
          </ac:spMkLst>
        </pc:spChg>
        <pc:spChg chg="del">
          <ac:chgData name="Paul LEGEARD" userId="73b5704d-da1d-4b70-8e12-6d54d32b01a3" providerId="ADAL" clId="{11E30BCA-5427-48A7-9089-5CE7CB5F003D}" dt="2023-04-19T06:17:17.764" v="7145" actId="478"/>
          <ac:spMkLst>
            <pc:docMk/>
            <pc:sldMk cId="3892123881" sldId="2147469837"/>
            <ac:spMk id="59" creationId="{C903C70C-B7DE-A6D4-B074-53DFB6DE270A}"/>
          </ac:spMkLst>
        </pc:spChg>
        <pc:spChg chg="del">
          <ac:chgData name="Paul LEGEARD" userId="73b5704d-da1d-4b70-8e12-6d54d32b01a3" providerId="ADAL" clId="{11E30BCA-5427-48A7-9089-5CE7CB5F003D}" dt="2023-04-19T06:17:17.764" v="7145" actId="478"/>
          <ac:spMkLst>
            <pc:docMk/>
            <pc:sldMk cId="3892123881" sldId="2147469837"/>
            <ac:spMk id="60" creationId="{36DA9EC8-02A1-7D7E-F1D2-86BB5A543F7C}"/>
          </ac:spMkLst>
        </pc:spChg>
        <pc:picChg chg="del">
          <ac:chgData name="Paul LEGEARD" userId="73b5704d-da1d-4b70-8e12-6d54d32b01a3" providerId="ADAL" clId="{11E30BCA-5427-48A7-9089-5CE7CB5F003D}" dt="2023-04-19T06:17:17.764" v="7145" actId="478"/>
          <ac:picMkLst>
            <pc:docMk/>
            <pc:sldMk cId="3892123881" sldId="2147469837"/>
            <ac:picMk id="16" creationId="{10840CF7-9732-75FE-6AE5-FC90E1D8DB14}"/>
          </ac:picMkLst>
        </pc:picChg>
        <pc:picChg chg="del">
          <ac:chgData name="Paul LEGEARD" userId="73b5704d-da1d-4b70-8e12-6d54d32b01a3" providerId="ADAL" clId="{11E30BCA-5427-48A7-9089-5CE7CB5F003D}" dt="2023-04-19T06:17:17.764" v="7145" actId="478"/>
          <ac:picMkLst>
            <pc:docMk/>
            <pc:sldMk cId="3892123881" sldId="2147469837"/>
            <ac:picMk id="18" creationId="{DC05E7F6-1E8C-5D2E-E7CC-D5E19D451E7B}"/>
          </ac:picMkLst>
        </pc:picChg>
        <pc:picChg chg="del">
          <ac:chgData name="Paul LEGEARD" userId="73b5704d-da1d-4b70-8e12-6d54d32b01a3" providerId="ADAL" clId="{11E30BCA-5427-48A7-9089-5CE7CB5F003D}" dt="2023-04-19T06:17:17.764" v="7145" actId="478"/>
          <ac:picMkLst>
            <pc:docMk/>
            <pc:sldMk cId="3892123881" sldId="2147469837"/>
            <ac:picMk id="56" creationId="{CA5CC082-E0D1-C8A7-8A54-9A08A1AEC229}"/>
          </ac:picMkLst>
        </pc:picChg>
        <pc:picChg chg="del">
          <ac:chgData name="Paul LEGEARD" userId="73b5704d-da1d-4b70-8e12-6d54d32b01a3" providerId="ADAL" clId="{11E30BCA-5427-48A7-9089-5CE7CB5F003D}" dt="2023-04-19T06:17:17.764" v="7145" actId="478"/>
          <ac:picMkLst>
            <pc:docMk/>
            <pc:sldMk cId="3892123881" sldId="2147469837"/>
            <ac:picMk id="58" creationId="{459286E3-0037-F3C3-3576-00CFC2850A06}"/>
          </ac:picMkLst>
        </pc:picChg>
      </pc:sldChg>
      <pc:sldChg chg="addSp delSp modSp add mod">
        <pc:chgData name="Paul LEGEARD" userId="73b5704d-da1d-4b70-8e12-6d54d32b01a3" providerId="ADAL" clId="{11E30BCA-5427-48A7-9089-5CE7CB5F003D}" dt="2023-04-24T08:41:42.411" v="16565" actId="123"/>
        <pc:sldMkLst>
          <pc:docMk/>
          <pc:sldMk cId="2686501270" sldId="2147469838"/>
        </pc:sldMkLst>
        <pc:spChg chg="add del mod">
          <ac:chgData name="Paul LEGEARD" userId="73b5704d-da1d-4b70-8e12-6d54d32b01a3" providerId="ADAL" clId="{11E30BCA-5427-48A7-9089-5CE7CB5F003D}" dt="2023-04-24T08:23:18.514" v="14828" actId="478"/>
          <ac:spMkLst>
            <pc:docMk/>
            <pc:sldMk cId="2686501270" sldId="2147469838"/>
            <ac:spMk id="2" creationId="{98B16EB6-6187-34DD-83D2-AD70E41B5977}"/>
          </ac:spMkLst>
        </pc:spChg>
        <pc:spChg chg="del">
          <ac:chgData name="Paul LEGEARD" userId="73b5704d-da1d-4b70-8e12-6d54d32b01a3" providerId="ADAL" clId="{11E30BCA-5427-48A7-9089-5CE7CB5F003D}" dt="2023-04-21T12:35:36.203" v="8213" actId="478"/>
          <ac:spMkLst>
            <pc:docMk/>
            <pc:sldMk cId="2686501270" sldId="2147469838"/>
            <ac:spMk id="3" creationId="{868D8618-14FB-16D5-024A-4010A2700A05}"/>
          </ac:spMkLst>
        </pc:spChg>
        <pc:spChg chg="add del mod">
          <ac:chgData name="Paul LEGEARD" userId="73b5704d-da1d-4b70-8e12-6d54d32b01a3" providerId="ADAL" clId="{11E30BCA-5427-48A7-9089-5CE7CB5F003D}" dt="2023-04-24T08:23:18.514" v="14828" actId="478"/>
          <ac:spMkLst>
            <pc:docMk/>
            <pc:sldMk cId="2686501270" sldId="2147469838"/>
            <ac:spMk id="3" creationId="{A43A8B29-C540-3CF2-EFC4-FF35DB2A0D03}"/>
          </ac:spMkLst>
        </pc:spChg>
        <pc:spChg chg="mod">
          <ac:chgData name="Paul LEGEARD" userId="73b5704d-da1d-4b70-8e12-6d54d32b01a3" providerId="ADAL" clId="{11E30BCA-5427-48A7-9089-5CE7CB5F003D}" dt="2023-04-24T08:24:04.365" v="14905" actId="20577"/>
          <ac:spMkLst>
            <pc:docMk/>
            <pc:sldMk cId="2686501270" sldId="2147469838"/>
            <ac:spMk id="4" creationId="{52AFB3F8-88A7-4D69-8A52-45D00774625C}"/>
          </ac:spMkLst>
        </pc:spChg>
        <pc:spChg chg="add del mod">
          <ac:chgData name="Paul LEGEARD" userId="73b5704d-da1d-4b70-8e12-6d54d32b01a3" providerId="ADAL" clId="{11E30BCA-5427-48A7-9089-5CE7CB5F003D}" dt="2023-04-24T08:23:18.514" v="14828" actId="478"/>
          <ac:spMkLst>
            <pc:docMk/>
            <pc:sldMk cId="2686501270" sldId="2147469838"/>
            <ac:spMk id="5" creationId="{9761D8B5-0F56-6733-61E7-6CAA0E38262E}"/>
          </ac:spMkLst>
        </pc:spChg>
        <pc:spChg chg="add del mod">
          <ac:chgData name="Paul LEGEARD" userId="73b5704d-da1d-4b70-8e12-6d54d32b01a3" providerId="ADAL" clId="{11E30BCA-5427-48A7-9089-5CE7CB5F003D}" dt="2023-04-24T08:23:18.514" v="14828" actId="478"/>
          <ac:spMkLst>
            <pc:docMk/>
            <pc:sldMk cId="2686501270" sldId="2147469838"/>
            <ac:spMk id="6" creationId="{325EFAE0-B8F9-7991-66F5-CE472DC7D401}"/>
          </ac:spMkLst>
        </pc:spChg>
        <pc:spChg chg="add del mod">
          <ac:chgData name="Paul LEGEARD" userId="73b5704d-da1d-4b70-8e12-6d54d32b01a3" providerId="ADAL" clId="{11E30BCA-5427-48A7-9089-5CE7CB5F003D}" dt="2023-04-24T08:23:18.514" v="14828" actId="478"/>
          <ac:spMkLst>
            <pc:docMk/>
            <pc:sldMk cId="2686501270" sldId="2147469838"/>
            <ac:spMk id="7" creationId="{C02B6A10-7289-2353-258F-5F51B8B9DB9A}"/>
          </ac:spMkLst>
        </pc:spChg>
        <pc:spChg chg="add del mod">
          <ac:chgData name="Paul LEGEARD" userId="73b5704d-da1d-4b70-8e12-6d54d32b01a3" providerId="ADAL" clId="{11E30BCA-5427-48A7-9089-5CE7CB5F003D}" dt="2023-04-24T08:38:51.089" v="16189" actId="478"/>
          <ac:spMkLst>
            <pc:docMk/>
            <pc:sldMk cId="2686501270" sldId="2147469838"/>
            <ac:spMk id="9" creationId="{2D6A53F4-0D9A-9729-00AC-7CC807D1BF49}"/>
          </ac:spMkLst>
        </pc:spChg>
        <pc:spChg chg="add del mod">
          <ac:chgData name="Paul LEGEARD" userId="73b5704d-da1d-4b70-8e12-6d54d32b01a3" providerId="ADAL" clId="{11E30BCA-5427-48A7-9089-5CE7CB5F003D}" dt="2023-04-24T08:31:36.165" v="16021" actId="478"/>
          <ac:spMkLst>
            <pc:docMk/>
            <pc:sldMk cId="2686501270" sldId="2147469838"/>
            <ac:spMk id="10" creationId="{5E5172E0-C8B2-CF9B-FEB2-F24214E969FB}"/>
          </ac:spMkLst>
        </pc:spChg>
        <pc:spChg chg="add mod">
          <ac:chgData name="Paul LEGEARD" userId="73b5704d-da1d-4b70-8e12-6d54d32b01a3" providerId="ADAL" clId="{11E30BCA-5427-48A7-9089-5CE7CB5F003D}" dt="2023-04-24T08:38:54.895" v="16190" actId="1076"/>
          <ac:spMkLst>
            <pc:docMk/>
            <pc:sldMk cId="2686501270" sldId="2147469838"/>
            <ac:spMk id="11" creationId="{EB36FA0A-875A-8BA4-9E1E-E70B73638EC6}"/>
          </ac:spMkLst>
        </pc:spChg>
        <pc:spChg chg="add mod">
          <ac:chgData name="Paul LEGEARD" userId="73b5704d-da1d-4b70-8e12-6d54d32b01a3" providerId="ADAL" clId="{11E30BCA-5427-48A7-9089-5CE7CB5F003D}" dt="2023-04-24T08:38:54.895" v="16190" actId="1076"/>
          <ac:spMkLst>
            <pc:docMk/>
            <pc:sldMk cId="2686501270" sldId="2147469838"/>
            <ac:spMk id="12" creationId="{05E36BAF-F818-5F0C-2E0E-D337CD00669F}"/>
          </ac:spMkLst>
        </pc:spChg>
        <pc:spChg chg="del">
          <ac:chgData name="Paul LEGEARD" userId="73b5704d-da1d-4b70-8e12-6d54d32b01a3" providerId="ADAL" clId="{11E30BCA-5427-48A7-9089-5CE7CB5F003D}" dt="2023-04-21T12:35:36.203" v="8213" actId="478"/>
          <ac:spMkLst>
            <pc:docMk/>
            <pc:sldMk cId="2686501270" sldId="2147469838"/>
            <ac:spMk id="12" creationId="{3963AA16-B62E-F4B6-81D3-0ADB309EC472}"/>
          </ac:spMkLst>
        </pc:spChg>
        <pc:spChg chg="add mod">
          <ac:chgData name="Paul LEGEARD" userId="73b5704d-da1d-4b70-8e12-6d54d32b01a3" providerId="ADAL" clId="{11E30BCA-5427-48A7-9089-5CE7CB5F003D}" dt="2023-04-24T08:38:54.895" v="16190" actId="1076"/>
          <ac:spMkLst>
            <pc:docMk/>
            <pc:sldMk cId="2686501270" sldId="2147469838"/>
            <ac:spMk id="13" creationId="{7E3FF923-2DE6-0497-D9E3-DD8DAFC1779F}"/>
          </ac:spMkLst>
        </pc:spChg>
        <pc:spChg chg="add mod">
          <ac:chgData name="Paul LEGEARD" userId="73b5704d-da1d-4b70-8e12-6d54d32b01a3" providerId="ADAL" clId="{11E30BCA-5427-48A7-9089-5CE7CB5F003D}" dt="2023-04-24T08:38:54.895" v="16190" actId="1076"/>
          <ac:spMkLst>
            <pc:docMk/>
            <pc:sldMk cId="2686501270" sldId="2147469838"/>
            <ac:spMk id="14" creationId="{614B386F-7949-B212-2E58-B5125EFD01A4}"/>
          </ac:spMkLst>
        </pc:spChg>
        <pc:spChg chg="del">
          <ac:chgData name="Paul LEGEARD" userId="73b5704d-da1d-4b70-8e12-6d54d32b01a3" providerId="ADAL" clId="{11E30BCA-5427-48A7-9089-5CE7CB5F003D}" dt="2023-04-21T12:35:36.203" v="8213" actId="478"/>
          <ac:spMkLst>
            <pc:docMk/>
            <pc:sldMk cId="2686501270" sldId="2147469838"/>
            <ac:spMk id="14" creationId="{B66A1D62-CAF4-FC08-0664-A4C977496351}"/>
          </ac:spMkLst>
        </pc:spChg>
        <pc:spChg chg="add mod">
          <ac:chgData name="Paul LEGEARD" userId="73b5704d-da1d-4b70-8e12-6d54d32b01a3" providerId="ADAL" clId="{11E30BCA-5427-48A7-9089-5CE7CB5F003D}" dt="2023-04-24T08:39:34.955" v="16369" actId="5793"/>
          <ac:spMkLst>
            <pc:docMk/>
            <pc:sldMk cId="2686501270" sldId="2147469838"/>
            <ac:spMk id="15" creationId="{24AFC35D-524D-03E5-6A16-5C0E3B5101C7}"/>
          </ac:spMkLst>
        </pc:spChg>
        <pc:spChg chg="add mod">
          <ac:chgData name="Paul LEGEARD" userId="73b5704d-da1d-4b70-8e12-6d54d32b01a3" providerId="ADAL" clId="{11E30BCA-5427-48A7-9089-5CE7CB5F003D}" dt="2023-04-24T08:38:54.895" v="16190" actId="1076"/>
          <ac:spMkLst>
            <pc:docMk/>
            <pc:sldMk cId="2686501270" sldId="2147469838"/>
            <ac:spMk id="16" creationId="{448DE8CF-0EE1-EDBE-1FAD-0557485FA636}"/>
          </ac:spMkLst>
        </pc:spChg>
        <pc:spChg chg="del">
          <ac:chgData name="Paul LEGEARD" userId="73b5704d-da1d-4b70-8e12-6d54d32b01a3" providerId="ADAL" clId="{11E30BCA-5427-48A7-9089-5CE7CB5F003D}" dt="2023-04-21T12:35:36.203" v="8213" actId="478"/>
          <ac:spMkLst>
            <pc:docMk/>
            <pc:sldMk cId="2686501270" sldId="2147469838"/>
            <ac:spMk id="16" creationId="{D3C71103-432D-A1B4-CFC5-95BAB846BD47}"/>
          </ac:spMkLst>
        </pc:spChg>
        <pc:spChg chg="add mod">
          <ac:chgData name="Paul LEGEARD" userId="73b5704d-da1d-4b70-8e12-6d54d32b01a3" providerId="ADAL" clId="{11E30BCA-5427-48A7-9089-5CE7CB5F003D}" dt="2023-04-24T08:38:54.895" v="16190" actId="1076"/>
          <ac:spMkLst>
            <pc:docMk/>
            <pc:sldMk cId="2686501270" sldId="2147469838"/>
            <ac:spMk id="17" creationId="{5D52EEF0-9622-C290-020D-3D7C007EC820}"/>
          </ac:spMkLst>
        </pc:spChg>
        <pc:spChg chg="add mod">
          <ac:chgData name="Paul LEGEARD" userId="73b5704d-da1d-4b70-8e12-6d54d32b01a3" providerId="ADAL" clId="{11E30BCA-5427-48A7-9089-5CE7CB5F003D}" dt="2023-04-24T08:38:54.895" v="16190" actId="1076"/>
          <ac:spMkLst>
            <pc:docMk/>
            <pc:sldMk cId="2686501270" sldId="2147469838"/>
            <ac:spMk id="18" creationId="{AAB2CA58-048B-F2EC-1689-93EBB5125E4A}"/>
          </ac:spMkLst>
        </pc:spChg>
        <pc:spChg chg="del">
          <ac:chgData name="Paul LEGEARD" userId="73b5704d-da1d-4b70-8e12-6d54d32b01a3" providerId="ADAL" clId="{11E30BCA-5427-48A7-9089-5CE7CB5F003D}" dt="2023-04-21T12:35:36.203" v="8213" actId="478"/>
          <ac:spMkLst>
            <pc:docMk/>
            <pc:sldMk cId="2686501270" sldId="2147469838"/>
            <ac:spMk id="18" creationId="{B9712D27-07C5-8D2A-522D-5BA66588959C}"/>
          </ac:spMkLst>
        </pc:spChg>
        <pc:spChg chg="add mod">
          <ac:chgData name="Paul LEGEARD" userId="73b5704d-da1d-4b70-8e12-6d54d32b01a3" providerId="ADAL" clId="{11E30BCA-5427-48A7-9089-5CE7CB5F003D}" dt="2023-04-24T08:38:54.895" v="16190" actId="1076"/>
          <ac:spMkLst>
            <pc:docMk/>
            <pc:sldMk cId="2686501270" sldId="2147469838"/>
            <ac:spMk id="19" creationId="{B55F8F77-760D-80BE-EDBF-DE36A964D958}"/>
          </ac:spMkLst>
        </pc:spChg>
        <pc:spChg chg="add mod">
          <ac:chgData name="Paul LEGEARD" userId="73b5704d-da1d-4b70-8e12-6d54d32b01a3" providerId="ADAL" clId="{11E30BCA-5427-48A7-9089-5CE7CB5F003D}" dt="2023-04-24T08:38:54.895" v="16190" actId="1076"/>
          <ac:spMkLst>
            <pc:docMk/>
            <pc:sldMk cId="2686501270" sldId="2147469838"/>
            <ac:spMk id="20" creationId="{779C9063-E3CD-87B4-A907-20F0BF664ED7}"/>
          </ac:spMkLst>
        </pc:spChg>
        <pc:spChg chg="del">
          <ac:chgData name="Paul LEGEARD" userId="73b5704d-da1d-4b70-8e12-6d54d32b01a3" providerId="ADAL" clId="{11E30BCA-5427-48A7-9089-5CE7CB5F003D}" dt="2023-04-21T12:35:36.203" v="8213" actId="478"/>
          <ac:spMkLst>
            <pc:docMk/>
            <pc:sldMk cId="2686501270" sldId="2147469838"/>
            <ac:spMk id="20" creationId="{9F2F71DC-F464-E5FF-BD08-AA48F1B79C4E}"/>
          </ac:spMkLst>
        </pc:spChg>
        <pc:spChg chg="add mod">
          <ac:chgData name="Paul LEGEARD" userId="73b5704d-da1d-4b70-8e12-6d54d32b01a3" providerId="ADAL" clId="{11E30BCA-5427-48A7-9089-5CE7CB5F003D}" dt="2023-04-24T08:41:42.411" v="16565" actId="123"/>
          <ac:spMkLst>
            <pc:docMk/>
            <pc:sldMk cId="2686501270" sldId="2147469838"/>
            <ac:spMk id="21" creationId="{95DF4B14-75B9-2780-BCD5-0EFE6EFB5129}"/>
          </ac:spMkLst>
        </pc:spChg>
        <pc:spChg chg="del">
          <ac:chgData name="Paul LEGEARD" userId="73b5704d-da1d-4b70-8e12-6d54d32b01a3" providerId="ADAL" clId="{11E30BCA-5427-48A7-9089-5CE7CB5F003D}" dt="2023-04-21T12:35:36.203" v="8213" actId="478"/>
          <ac:spMkLst>
            <pc:docMk/>
            <pc:sldMk cId="2686501270" sldId="2147469838"/>
            <ac:spMk id="21" creationId="{FC63B32E-1BA9-2FB0-C5BA-0892F51E1074}"/>
          </ac:spMkLst>
        </pc:spChg>
        <pc:spChg chg="del">
          <ac:chgData name="Paul LEGEARD" userId="73b5704d-da1d-4b70-8e12-6d54d32b01a3" providerId="ADAL" clId="{11E30BCA-5427-48A7-9089-5CE7CB5F003D}" dt="2023-04-21T12:35:36.203" v="8213" actId="478"/>
          <ac:spMkLst>
            <pc:docMk/>
            <pc:sldMk cId="2686501270" sldId="2147469838"/>
            <ac:spMk id="22" creationId="{AE8AD87D-6C05-F005-68E1-2FB53895F505}"/>
          </ac:spMkLst>
        </pc:spChg>
        <pc:spChg chg="del">
          <ac:chgData name="Paul LEGEARD" userId="73b5704d-da1d-4b70-8e12-6d54d32b01a3" providerId="ADAL" clId="{11E30BCA-5427-48A7-9089-5CE7CB5F003D}" dt="2023-04-21T12:35:36.203" v="8213" actId="478"/>
          <ac:spMkLst>
            <pc:docMk/>
            <pc:sldMk cId="2686501270" sldId="2147469838"/>
            <ac:spMk id="23" creationId="{A9003C91-F92A-42B8-C89B-9A3153CCFFD5}"/>
          </ac:spMkLst>
        </pc:spChg>
        <pc:picChg chg="add mod">
          <ac:chgData name="Paul LEGEARD" userId="73b5704d-da1d-4b70-8e12-6d54d32b01a3" providerId="ADAL" clId="{11E30BCA-5427-48A7-9089-5CE7CB5F003D}" dt="2023-04-24T08:41:34.330" v="16562" actId="1076"/>
          <ac:picMkLst>
            <pc:docMk/>
            <pc:sldMk cId="2686501270" sldId="2147469838"/>
            <ac:picMk id="23" creationId="{CD451459-9250-45A4-9A19-4B288A570C47}"/>
          </ac:picMkLst>
        </pc:picChg>
      </pc:sldChg>
      <pc:sldChg chg="addSp delSp modSp add mod">
        <pc:chgData name="Paul LEGEARD" userId="73b5704d-da1d-4b70-8e12-6d54d32b01a3" providerId="ADAL" clId="{11E30BCA-5427-48A7-9089-5CE7CB5F003D}" dt="2023-04-24T08:20:03.518" v="14762" actId="20577"/>
        <pc:sldMkLst>
          <pc:docMk/>
          <pc:sldMk cId="796615112" sldId="2147469839"/>
        </pc:sldMkLst>
        <pc:spChg chg="del mod">
          <ac:chgData name="Paul LEGEARD" userId="73b5704d-da1d-4b70-8e12-6d54d32b01a3" providerId="ADAL" clId="{11E30BCA-5427-48A7-9089-5CE7CB5F003D}" dt="2023-04-24T08:18:43.536" v="14589" actId="478"/>
          <ac:spMkLst>
            <pc:docMk/>
            <pc:sldMk cId="796615112" sldId="2147469839"/>
            <ac:spMk id="2" creationId="{98B16EB6-6187-34DD-83D2-AD70E41B5977}"/>
          </ac:spMkLst>
        </pc:spChg>
        <pc:spChg chg="mod">
          <ac:chgData name="Paul LEGEARD" userId="73b5704d-da1d-4b70-8e12-6d54d32b01a3" providerId="ADAL" clId="{11E30BCA-5427-48A7-9089-5CE7CB5F003D}" dt="2023-04-24T08:18:41.885" v="14588" actId="20577"/>
          <ac:spMkLst>
            <pc:docMk/>
            <pc:sldMk cId="796615112" sldId="2147469839"/>
            <ac:spMk id="4" creationId="{52AFB3F8-88A7-4D69-8A52-45D00774625C}"/>
          </ac:spMkLst>
        </pc:spChg>
        <pc:spChg chg="add mod">
          <ac:chgData name="Paul LEGEARD" userId="73b5704d-da1d-4b70-8e12-6d54d32b01a3" providerId="ADAL" clId="{11E30BCA-5427-48A7-9089-5CE7CB5F003D}" dt="2023-04-24T08:20:03.518" v="14762" actId="20577"/>
          <ac:spMkLst>
            <pc:docMk/>
            <pc:sldMk cId="796615112" sldId="2147469839"/>
            <ac:spMk id="5" creationId="{E11F70F4-0FFB-CADB-AA35-592CD41EF5A3}"/>
          </ac:spMkLst>
        </pc:spChg>
        <pc:graphicFrameChg chg="add mod modGraphic">
          <ac:chgData name="Paul LEGEARD" userId="73b5704d-da1d-4b70-8e12-6d54d32b01a3" providerId="ADAL" clId="{11E30BCA-5427-48A7-9089-5CE7CB5F003D}" dt="2023-04-24T08:19:40.902" v="14690" actId="1076"/>
          <ac:graphicFrameMkLst>
            <pc:docMk/>
            <pc:sldMk cId="796615112" sldId="2147469839"/>
            <ac:graphicFrameMk id="3" creationId="{E55CB80B-B5B0-5FF0-291A-5D7D28DD4786}"/>
          </ac:graphicFrameMkLst>
        </pc:graphicFrameChg>
      </pc:sldChg>
      <pc:sldChg chg="addSp modSp add del mod">
        <pc:chgData name="Paul LEGEARD" userId="73b5704d-da1d-4b70-8e12-6d54d32b01a3" providerId="ADAL" clId="{11E30BCA-5427-48A7-9089-5CE7CB5F003D}" dt="2023-04-24T07:00:14.059" v="13652" actId="47"/>
        <pc:sldMkLst>
          <pc:docMk/>
          <pc:sldMk cId="2681705346" sldId="2147469840"/>
        </pc:sldMkLst>
        <pc:spChg chg="add mod">
          <ac:chgData name="Paul LEGEARD" userId="73b5704d-da1d-4b70-8e12-6d54d32b01a3" providerId="ADAL" clId="{11E30BCA-5427-48A7-9089-5CE7CB5F003D}" dt="2023-04-21T15:29:37.920" v="9454" actId="207"/>
          <ac:spMkLst>
            <pc:docMk/>
            <pc:sldMk cId="2681705346" sldId="2147469840"/>
            <ac:spMk id="5" creationId="{A183C801-5358-3292-C278-F10AB4FA76E5}"/>
          </ac:spMkLst>
        </pc:spChg>
      </pc:sldChg>
      <pc:sldChg chg="add del">
        <pc:chgData name="Paul LEGEARD" userId="73b5704d-da1d-4b70-8e12-6d54d32b01a3" providerId="ADAL" clId="{11E30BCA-5427-48A7-9089-5CE7CB5F003D}" dt="2023-04-21T15:29:18.671" v="9446"/>
        <pc:sldMkLst>
          <pc:docMk/>
          <pc:sldMk cId="3396954839" sldId="2147469840"/>
        </pc:sldMkLst>
      </pc:sldChg>
      <pc:sldChg chg="addSp delSp modSp add mod">
        <pc:chgData name="Paul LEGEARD" userId="73b5704d-da1d-4b70-8e12-6d54d32b01a3" providerId="ADAL" clId="{11E30BCA-5427-48A7-9089-5CE7CB5F003D}" dt="2023-04-24T08:35:55.531" v="16139" actId="113"/>
        <pc:sldMkLst>
          <pc:docMk/>
          <pc:sldMk cId="1760373903" sldId="2147469841"/>
        </pc:sldMkLst>
        <pc:spChg chg="add del mod">
          <ac:chgData name="Paul LEGEARD" userId="73b5704d-da1d-4b70-8e12-6d54d32b01a3" providerId="ADAL" clId="{11E30BCA-5427-48A7-9089-5CE7CB5F003D}" dt="2023-04-24T06:17:55.436" v="10759" actId="478"/>
          <ac:spMkLst>
            <pc:docMk/>
            <pc:sldMk cId="1760373903" sldId="2147469841"/>
            <ac:spMk id="2" creationId="{BF5BD716-F30A-A8A8-9E80-5B81652143A9}"/>
          </ac:spMkLst>
        </pc:spChg>
        <pc:spChg chg="mod">
          <ac:chgData name="Paul LEGEARD" userId="73b5704d-da1d-4b70-8e12-6d54d32b01a3" providerId="ADAL" clId="{11E30BCA-5427-48A7-9089-5CE7CB5F003D}" dt="2023-04-24T08:35:55.531" v="16139" actId="113"/>
          <ac:spMkLst>
            <pc:docMk/>
            <pc:sldMk cId="1760373903" sldId="2147469841"/>
            <ac:spMk id="3" creationId="{868D8618-14FB-16D5-024A-4010A2700A05}"/>
          </ac:spMkLst>
        </pc:spChg>
        <pc:spChg chg="del">
          <ac:chgData name="Paul LEGEARD" userId="73b5704d-da1d-4b70-8e12-6d54d32b01a3" providerId="ADAL" clId="{11E30BCA-5427-48A7-9089-5CE7CB5F003D}" dt="2023-04-24T06:17:32.584" v="10719" actId="478"/>
          <ac:spMkLst>
            <pc:docMk/>
            <pc:sldMk cId="1760373903" sldId="2147469841"/>
            <ac:spMk id="6" creationId="{A7578390-7AC2-C6E6-266B-734D01898DEF}"/>
          </ac:spMkLst>
        </pc:spChg>
        <pc:spChg chg="del">
          <ac:chgData name="Paul LEGEARD" userId="73b5704d-da1d-4b70-8e12-6d54d32b01a3" providerId="ADAL" clId="{11E30BCA-5427-48A7-9089-5CE7CB5F003D}" dt="2023-04-24T06:17:32.584" v="10719" actId="478"/>
          <ac:spMkLst>
            <pc:docMk/>
            <pc:sldMk cId="1760373903" sldId="2147469841"/>
            <ac:spMk id="7" creationId="{F0391F6B-112E-9954-FD87-3E4A9580A547}"/>
          </ac:spMkLst>
        </pc:spChg>
        <pc:spChg chg="del">
          <ac:chgData name="Paul LEGEARD" userId="73b5704d-da1d-4b70-8e12-6d54d32b01a3" providerId="ADAL" clId="{11E30BCA-5427-48A7-9089-5CE7CB5F003D}" dt="2023-04-24T06:17:32.584" v="10719" actId="478"/>
          <ac:spMkLst>
            <pc:docMk/>
            <pc:sldMk cId="1760373903" sldId="2147469841"/>
            <ac:spMk id="9" creationId="{8C4E97D3-D5AF-5AE9-8A78-A63E688D691B}"/>
          </ac:spMkLst>
        </pc:spChg>
        <pc:spChg chg="del">
          <ac:chgData name="Paul LEGEARD" userId="73b5704d-da1d-4b70-8e12-6d54d32b01a3" providerId="ADAL" clId="{11E30BCA-5427-48A7-9089-5CE7CB5F003D}" dt="2023-04-24T06:17:32.584" v="10719" actId="478"/>
          <ac:spMkLst>
            <pc:docMk/>
            <pc:sldMk cId="1760373903" sldId="2147469841"/>
            <ac:spMk id="10" creationId="{FB7F69FF-C6B5-2760-96AD-233A0A46CD24}"/>
          </ac:spMkLst>
        </pc:spChg>
        <pc:spChg chg="add mod">
          <ac:chgData name="Paul LEGEARD" userId="73b5704d-da1d-4b70-8e12-6d54d32b01a3" providerId="ADAL" clId="{11E30BCA-5427-48A7-9089-5CE7CB5F003D}" dt="2023-04-24T08:08:40.142" v="13909" actId="1035"/>
          <ac:spMkLst>
            <pc:docMk/>
            <pc:sldMk cId="1760373903" sldId="2147469841"/>
            <ac:spMk id="11" creationId="{BBD4C998-F61B-11EC-D7BA-8CC4A4438633}"/>
          </ac:spMkLst>
        </pc:spChg>
        <pc:spChg chg="del">
          <ac:chgData name="Paul LEGEARD" userId="73b5704d-da1d-4b70-8e12-6d54d32b01a3" providerId="ADAL" clId="{11E30BCA-5427-48A7-9089-5CE7CB5F003D}" dt="2023-04-24T06:17:32.584" v="10719" actId="478"/>
          <ac:spMkLst>
            <pc:docMk/>
            <pc:sldMk cId="1760373903" sldId="2147469841"/>
            <ac:spMk id="12" creationId="{3963AA16-B62E-F4B6-81D3-0ADB309EC472}"/>
          </ac:spMkLst>
        </pc:spChg>
        <pc:spChg chg="mod">
          <ac:chgData name="Paul LEGEARD" userId="73b5704d-da1d-4b70-8e12-6d54d32b01a3" providerId="ADAL" clId="{11E30BCA-5427-48A7-9089-5CE7CB5F003D}" dt="2023-04-24T08:09:03.248" v="13921" actId="1036"/>
          <ac:spMkLst>
            <pc:docMk/>
            <pc:sldMk cId="1760373903" sldId="2147469841"/>
            <ac:spMk id="14" creationId="{B66A1D62-CAF4-FC08-0664-A4C977496351}"/>
          </ac:spMkLst>
        </pc:spChg>
        <pc:spChg chg="add del">
          <ac:chgData name="Paul LEGEARD" userId="73b5704d-da1d-4b70-8e12-6d54d32b01a3" providerId="ADAL" clId="{11E30BCA-5427-48A7-9089-5CE7CB5F003D}" dt="2023-04-24T06:18:08.418" v="10762" actId="478"/>
          <ac:spMkLst>
            <pc:docMk/>
            <pc:sldMk cId="1760373903" sldId="2147469841"/>
            <ac:spMk id="15" creationId="{81888C88-1133-F002-A48E-2FA8E387DEAF}"/>
          </ac:spMkLst>
        </pc:spChg>
        <pc:spChg chg="mod">
          <ac:chgData name="Paul LEGEARD" userId="73b5704d-da1d-4b70-8e12-6d54d32b01a3" providerId="ADAL" clId="{11E30BCA-5427-48A7-9089-5CE7CB5F003D}" dt="2023-04-24T08:08:40.142" v="13909" actId="1035"/>
          <ac:spMkLst>
            <pc:docMk/>
            <pc:sldMk cId="1760373903" sldId="2147469841"/>
            <ac:spMk id="16" creationId="{D3C71103-432D-A1B4-CFC5-95BAB846BD47}"/>
          </ac:spMkLst>
        </pc:spChg>
        <pc:spChg chg="add mod ord">
          <ac:chgData name="Paul LEGEARD" userId="73b5704d-da1d-4b70-8e12-6d54d32b01a3" providerId="ADAL" clId="{11E30BCA-5427-48A7-9089-5CE7CB5F003D}" dt="2023-04-24T08:08:40.142" v="13909" actId="1035"/>
          <ac:spMkLst>
            <pc:docMk/>
            <pc:sldMk cId="1760373903" sldId="2147469841"/>
            <ac:spMk id="17" creationId="{8B1D9E07-6CE4-9EEF-BC72-0452D9E9DE54}"/>
          </ac:spMkLst>
        </pc:spChg>
        <pc:spChg chg="del">
          <ac:chgData name="Paul LEGEARD" userId="73b5704d-da1d-4b70-8e12-6d54d32b01a3" providerId="ADAL" clId="{11E30BCA-5427-48A7-9089-5CE7CB5F003D}" dt="2023-04-24T06:17:32.584" v="10719" actId="478"/>
          <ac:spMkLst>
            <pc:docMk/>
            <pc:sldMk cId="1760373903" sldId="2147469841"/>
            <ac:spMk id="18" creationId="{B9712D27-07C5-8D2A-522D-5BA66588959C}"/>
          </ac:spMkLst>
        </pc:spChg>
        <pc:spChg chg="del">
          <ac:chgData name="Paul LEGEARD" userId="73b5704d-da1d-4b70-8e12-6d54d32b01a3" providerId="ADAL" clId="{11E30BCA-5427-48A7-9089-5CE7CB5F003D}" dt="2023-04-24T06:17:32.584" v="10719" actId="478"/>
          <ac:spMkLst>
            <pc:docMk/>
            <pc:sldMk cId="1760373903" sldId="2147469841"/>
            <ac:spMk id="20" creationId="{9F2F71DC-F464-E5FF-BD08-AA48F1B79C4E}"/>
          </ac:spMkLst>
        </pc:spChg>
        <pc:spChg chg="del">
          <ac:chgData name="Paul LEGEARD" userId="73b5704d-da1d-4b70-8e12-6d54d32b01a3" providerId="ADAL" clId="{11E30BCA-5427-48A7-9089-5CE7CB5F003D}" dt="2023-04-24T06:17:32.584" v="10719" actId="478"/>
          <ac:spMkLst>
            <pc:docMk/>
            <pc:sldMk cId="1760373903" sldId="2147469841"/>
            <ac:spMk id="21" creationId="{FC63B32E-1BA9-2FB0-C5BA-0892F51E1074}"/>
          </ac:spMkLst>
        </pc:spChg>
        <pc:spChg chg="del">
          <ac:chgData name="Paul LEGEARD" userId="73b5704d-da1d-4b70-8e12-6d54d32b01a3" providerId="ADAL" clId="{11E30BCA-5427-48A7-9089-5CE7CB5F003D}" dt="2023-04-24T06:17:32.584" v="10719" actId="478"/>
          <ac:spMkLst>
            <pc:docMk/>
            <pc:sldMk cId="1760373903" sldId="2147469841"/>
            <ac:spMk id="22" creationId="{AE8AD87D-6C05-F005-68E1-2FB53895F505}"/>
          </ac:spMkLst>
        </pc:spChg>
        <pc:spChg chg="del">
          <ac:chgData name="Paul LEGEARD" userId="73b5704d-da1d-4b70-8e12-6d54d32b01a3" providerId="ADAL" clId="{11E30BCA-5427-48A7-9089-5CE7CB5F003D}" dt="2023-04-24T06:17:32.584" v="10719" actId="478"/>
          <ac:spMkLst>
            <pc:docMk/>
            <pc:sldMk cId="1760373903" sldId="2147469841"/>
            <ac:spMk id="23" creationId="{A9003C91-F92A-42B8-C89B-9A3153CCFFD5}"/>
          </ac:spMkLst>
        </pc:spChg>
        <pc:spChg chg="add mod">
          <ac:chgData name="Paul LEGEARD" userId="73b5704d-da1d-4b70-8e12-6d54d32b01a3" providerId="ADAL" clId="{11E30BCA-5427-48A7-9089-5CE7CB5F003D}" dt="2023-04-24T08:08:40.142" v="13909" actId="1035"/>
          <ac:spMkLst>
            <pc:docMk/>
            <pc:sldMk cId="1760373903" sldId="2147469841"/>
            <ac:spMk id="24" creationId="{E7FB68C9-BA4F-694B-4F8A-F6489CA436E3}"/>
          </ac:spMkLst>
        </pc:spChg>
        <pc:spChg chg="add mod">
          <ac:chgData name="Paul LEGEARD" userId="73b5704d-da1d-4b70-8e12-6d54d32b01a3" providerId="ADAL" clId="{11E30BCA-5427-48A7-9089-5CE7CB5F003D}" dt="2023-04-24T08:08:40.142" v="13909" actId="1035"/>
          <ac:spMkLst>
            <pc:docMk/>
            <pc:sldMk cId="1760373903" sldId="2147469841"/>
            <ac:spMk id="28" creationId="{799337D2-BF00-8CCC-981F-7F23EBAD5088}"/>
          </ac:spMkLst>
        </pc:spChg>
        <pc:spChg chg="add mod">
          <ac:chgData name="Paul LEGEARD" userId="73b5704d-da1d-4b70-8e12-6d54d32b01a3" providerId="ADAL" clId="{11E30BCA-5427-48A7-9089-5CE7CB5F003D}" dt="2023-04-24T08:08:40.142" v="13909" actId="1035"/>
          <ac:spMkLst>
            <pc:docMk/>
            <pc:sldMk cId="1760373903" sldId="2147469841"/>
            <ac:spMk id="29" creationId="{E4AB7EC6-8D76-348F-D989-50593C8CA42B}"/>
          </ac:spMkLst>
        </pc:spChg>
        <pc:spChg chg="add mod">
          <ac:chgData name="Paul LEGEARD" userId="73b5704d-da1d-4b70-8e12-6d54d32b01a3" providerId="ADAL" clId="{11E30BCA-5427-48A7-9089-5CE7CB5F003D}" dt="2023-04-24T08:08:40.142" v="13909" actId="1035"/>
          <ac:spMkLst>
            <pc:docMk/>
            <pc:sldMk cId="1760373903" sldId="2147469841"/>
            <ac:spMk id="31" creationId="{9507987D-C793-F78F-0773-1B20406454F7}"/>
          </ac:spMkLst>
        </pc:spChg>
        <pc:spChg chg="add mod">
          <ac:chgData name="Paul LEGEARD" userId="73b5704d-da1d-4b70-8e12-6d54d32b01a3" providerId="ADAL" clId="{11E30BCA-5427-48A7-9089-5CE7CB5F003D}" dt="2023-04-24T08:08:40.142" v="13909" actId="1035"/>
          <ac:spMkLst>
            <pc:docMk/>
            <pc:sldMk cId="1760373903" sldId="2147469841"/>
            <ac:spMk id="36" creationId="{81DE215E-8491-D942-CBE0-5E903EBEE6E9}"/>
          </ac:spMkLst>
        </pc:spChg>
        <pc:spChg chg="add mod">
          <ac:chgData name="Paul LEGEARD" userId="73b5704d-da1d-4b70-8e12-6d54d32b01a3" providerId="ADAL" clId="{11E30BCA-5427-48A7-9089-5CE7CB5F003D}" dt="2023-04-24T08:08:59.753" v="13911" actId="20577"/>
          <ac:spMkLst>
            <pc:docMk/>
            <pc:sldMk cId="1760373903" sldId="2147469841"/>
            <ac:spMk id="37" creationId="{21F5AE47-9593-69FC-C3A2-204CC0F6FD94}"/>
          </ac:spMkLst>
        </pc:spChg>
        <pc:spChg chg="add mod">
          <ac:chgData name="Paul LEGEARD" userId="73b5704d-da1d-4b70-8e12-6d54d32b01a3" providerId="ADAL" clId="{11E30BCA-5427-48A7-9089-5CE7CB5F003D}" dt="2023-04-24T08:35:26.063" v="16133" actId="113"/>
          <ac:spMkLst>
            <pc:docMk/>
            <pc:sldMk cId="1760373903" sldId="2147469841"/>
            <ac:spMk id="38" creationId="{D556DC16-60D0-1756-4D21-B7FEE30E8240}"/>
          </ac:spMkLst>
        </pc:spChg>
        <pc:picChg chg="mod">
          <ac:chgData name="Paul LEGEARD" userId="73b5704d-da1d-4b70-8e12-6d54d32b01a3" providerId="ADAL" clId="{11E30BCA-5427-48A7-9089-5CE7CB5F003D}" dt="2023-04-24T08:08:40.142" v="13909" actId="1035"/>
          <ac:picMkLst>
            <pc:docMk/>
            <pc:sldMk cId="1760373903" sldId="2147469841"/>
            <ac:picMk id="13" creationId="{0EB5BF46-D5C2-39BE-A57B-BBCF9E2CA004}"/>
          </ac:picMkLst>
        </pc:picChg>
        <pc:picChg chg="add mod">
          <ac:chgData name="Paul LEGEARD" userId="73b5704d-da1d-4b70-8e12-6d54d32b01a3" providerId="ADAL" clId="{11E30BCA-5427-48A7-9089-5CE7CB5F003D}" dt="2023-04-24T08:08:40.142" v="13909" actId="1035"/>
          <ac:picMkLst>
            <pc:docMk/>
            <pc:sldMk cId="1760373903" sldId="2147469841"/>
            <ac:picMk id="19" creationId="{B2CCE6E9-C54B-9C42-266D-3D404C6E07E0}"/>
          </ac:picMkLst>
        </pc:picChg>
        <pc:picChg chg="add mod">
          <ac:chgData name="Paul LEGEARD" userId="73b5704d-da1d-4b70-8e12-6d54d32b01a3" providerId="ADAL" clId="{11E30BCA-5427-48A7-9089-5CE7CB5F003D}" dt="2023-04-24T08:08:40.142" v="13909" actId="1035"/>
          <ac:picMkLst>
            <pc:docMk/>
            <pc:sldMk cId="1760373903" sldId="2147469841"/>
            <ac:picMk id="26" creationId="{22815548-EFF1-D305-4AFA-1848DC1A726F}"/>
          </ac:picMkLst>
        </pc:picChg>
        <pc:picChg chg="add del mod">
          <ac:chgData name="Paul LEGEARD" userId="73b5704d-da1d-4b70-8e12-6d54d32b01a3" providerId="ADAL" clId="{11E30BCA-5427-48A7-9089-5CE7CB5F003D}" dt="2023-04-24T06:23:26.848" v="11040" actId="478"/>
          <ac:picMkLst>
            <pc:docMk/>
            <pc:sldMk cId="1760373903" sldId="2147469841"/>
            <ac:picMk id="30" creationId="{FB291266-F176-8F8A-7A86-27256B7FC937}"/>
          </ac:picMkLst>
        </pc:picChg>
        <pc:picChg chg="add mod">
          <ac:chgData name="Paul LEGEARD" userId="73b5704d-da1d-4b70-8e12-6d54d32b01a3" providerId="ADAL" clId="{11E30BCA-5427-48A7-9089-5CE7CB5F003D}" dt="2023-04-24T08:08:40.142" v="13909" actId="1035"/>
          <ac:picMkLst>
            <pc:docMk/>
            <pc:sldMk cId="1760373903" sldId="2147469841"/>
            <ac:picMk id="33" creationId="{46C72049-24B1-B10D-D62B-04F24B33FA3E}"/>
          </ac:picMkLst>
        </pc:picChg>
        <pc:picChg chg="add del mod">
          <ac:chgData name="Paul LEGEARD" userId="73b5704d-da1d-4b70-8e12-6d54d32b01a3" providerId="ADAL" clId="{11E30BCA-5427-48A7-9089-5CE7CB5F003D}" dt="2023-04-24T06:26:10.200" v="11272" actId="478"/>
          <ac:picMkLst>
            <pc:docMk/>
            <pc:sldMk cId="1760373903" sldId="2147469841"/>
            <ac:picMk id="34" creationId="{4F1CDD65-7C06-B157-6983-FE7EBD466C62}"/>
          </ac:picMkLst>
        </pc:picChg>
        <pc:picChg chg="add del mod">
          <ac:chgData name="Paul LEGEARD" userId="73b5704d-da1d-4b70-8e12-6d54d32b01a3" providerId="ADAL" clId="{11E30BCA-5427-48A7-9089-5CE7CB5F003D}" dt="2023-04-24T06:26:09.556" v="11271" actId="478"/>
          <ac:picMkLst>
            <pc:docMk/>
            <pc:sldMk cId="1760373903" sldId="2147469841"/>
            <ac:picMk id="35" creationId="{7439DB65-9B22-1288-7BD9-2C5A3E585425}"/>
          </ac:picMkLst>
        </pc:picChg>
        <pc:picChg chg="add del mod">
          <ac:chgData name="Paul LEGEARD" userId="73b5704d-da1d-4b70-8e12-6d54d32b01a3" providerId="ADAL" clId="{11E30BCA-5427-48A7-9089-5CE7CB5F003D}" dt="2023-04-24T06:26:08.991" v="11270" actId="478"/>
          <ac:picMkLst>
            <pc:docMk/>
            <pc:sldMk cId="1760373903" sldId="2147469841"/>
            <ac:picMk id="39" creationId="{EEED3229-03A1-03BB-FE28-73C552C92A9B}"/>
          </ac:picMkLst>
        </pc:picChg>
        <pc:picChg chg="add mod">
          <ac:chgData name="Paul LEGEARD" userId="73b5704d-da1d-4b70-8e12-6d54d32b01a3" providerId="ADAL" clId="{11E30BCA-5427-48A7-9089-5CE7CB5F003D}" dt="2023-04-24T08:08:40.142" v="13909" actId="1035"/>
          <ac:picMkLst>
            <pc:docMk/>
            <pc:sldMk cId="1760373903" sldId="2147469841"/>
            <ac:picMk id="41" creationId="{0C69ED5E-EA4B-632E-ACA7-916AB767D5AA}"/>
          </ac:picMkLst>
        </pc:picChg>
        <pc:picChg chg="add mod">
          <ac:chgData name="Paul LEGEARD" userId="73b5704d-da1d-4b70-8e12-6d54d32b01a3" providerId="ADAL" clId="{11E30BCA-5427-48A7-9089-5CE7CB5F003D}" dt="2023-04-24T08:08:40.142" v="13909" actId="1035"/>
          <ac:picMkLst>
            <pc:docMk/>
            <pc:sldMk cId="1760373903" sldId="2147469841"/>
            <ac:picMk id="43" creationId="{9554E0CB-F6D0-3889-041E-21F918A1BAF5}"/>
          </ac:picMkLst>
        </pc:picChg>
        <pc:picChg chg="add mod">
          <ac:chgData name="Paul LEGEARD" userId="73b5704d-da1d-4b70-8e12-6d54d32b01a3" providerId="ADAL" clId="{11E30BCA-5427-48A7-9089-5CE7CB5F003D}" dt="2023-04-24T08:08:40.142" v="13909" actId="1035"/>
          <ac:picMkLst>
            <pc:docMk/>
            <pc:sldMk cId="1760373903" sldId="2147469841"/>
            <ac:picMk id="45" creationId="{B46FB3E7-BDB2-C4F9-DE10-050C0D26D758}"/>
          </ac:picMkLst>
        </pc:picChg>
        <pc:cxnChg chg="del">
          <ac:chgData name="Paul LEGEARD" userId="73b5704d-da1d-4b70-8e12-6d54d32b01a3" providerId="ADAL" clId="{11E30BCA-5427-48A7-9089-5CE7CB5F003D}" dt="2023-04-24T06:17:34.784" v="10720" actId="478"/>
          <ac:cxnSpMkLst>
            <pc:docMk/>
            <pc:sldMk cId="1760373903" sldId="2147469841"/>
            <ac:cxnSpMk id="5" creationId="{91D40EEE-09A8-9E34-E39C-AFE52E7F876A}"/>
          </ac:cxnSpMkLst>
        </pc:cxnChg>
      </pc:sldChg>
      <pc:sldChg chg="add del">
        <pc:chgData name="Paul LEGEARD" userId="73b5704d-da1d-4b70-8e12-6d54d32b01a3" providerId="ADAL" clId="{11E30BCA-5427-48A7-9089-5CE7CB5F003D}" dt="2023-04-24T06:10:39.698" v="10268"/>
        <pc:sldMkLst>
          <pc:docMk/>
          <pc:sldMk cId="2723319638" sldId="2147469841"/>
        </pc:sldMkLst>
      </pc:sldChg>
      <pc:sldChg chg="add del">
        <pc:chgData name="Paul LEGEARD" userId="73b5704d-da1d-4b70-8e12-6d54d32b01a3" providerId="ADAL" clId="{11E30BCA-5427-48A7-9089-5CE7CB5F003D}" dt="2023-04-21T15:29:17.794" v="9445"/>
        <pc:sldMkLst>
          <pc:docMk/>
          <pc:sldMk cId="2965383784" sldId="2147469841"/>
        </pc:sldMkLst>
      </pc:sldChg>
      <pc:sldChg chg="add del">
        <pc:chgData name="Paul LEGEARD" userId="73b5704d-da1d-4b70-8e12-6d54d32b01a3" providerId="ADAL" clId="{11E30BCA-5427-48A7-9089-5CE7CB5F003D}" dt="2023-04-21T15:29:15.875" v="9443"/>
        <pc:sldMkLst>
          <pc:docMk/>
          <pc:sldMk cId="4069067471" sldId="2147469841"/>
        </pc:sldMkLst>
      </pc:sldChg>
      <pc:sldChg chg="addSp delSp modSp add mod">
        <pc:chgData name="Paul LEGEARD" userId="73b5704d-da1d-4b70-8e12-6d54d32b01a3" providerId="ADAL" clId="{11E30BCA-5427-48A7-9089-5CE7CB5F003D}" dt="2023-04-24T08:37:43.080" v="16154" actId="20577"/>
        <pc:sldMkLst>
          <pc:docMk/>
          <pc:sldMk cId="925870861" sldId="2147469842"/>
        </pc:sldMkLst>
        <pc:spChg chg="add mod">
          <ac:chgData name="Paul LEGEARD" userId="73b5704d-da1d-4b70-8e12-6d54d32b01a3" providerId="ADAL" clId="{11E30BCA-5427-48A7-9089-5CE7CB5F003D}" dt="2023-04-24T08:37:43.080" v="16154" actId="20577"/>
          <ac:spMkLst>
            <pc:docMk/>
            <pc:sldMk cId="925870861" sldId="2147469842"/>
            <ac:spMk id="2" creationId="{F0003610-ECB2-D62E-BE3D-5E0AB4D9D1CB}"/>
          </ac:spMkLst>
        </pc:spChg>
        <pc:spChg chg="del">
          <ac:chgData name="Paul LEGEARD" userId="73b5704d-da1d-4b70-8e12-6d54d32b01a3" providerId="ADAL" clId="{11E30BCA-5427-48A7-9089-5CE7CB5F003D}" dt="2023-04-24T06:31:05.349" v="11653" actId="478"/>
          <ac:spMkLst>
            <pc:docMk/>
            <pc:sldMk cId="925870861" sldId="2147469842"/>
            <ac:spMk id="3" creationId="{868D8618-14FB-16D5-024A-4010A2700A05}"/>
          </ac:spMkLst>
        </pc:spChg>
        <pc:spChg chg="mod">
          <ac:chgData name="Paul LEGEARD" userId="73b5704d-da1d-4b70-8e12-6d54d32b01a3" providerId="ADAL" clId="{11E30BCA-5427-48A7-9089-5CE7CB5F003D}" dt="2023-04-24T06:29:58.279" v="11473" actId="20577"/>
          <ac:spMkLst>
            <pc:docMk/>
            <pc:sldMk cId="925870861" sldId="2147469842"/>
            <ac:spMk id="4" creationId="{52AFB3F8-88A7-4D69-8A52-45D00774625C}"/>
          </ac:spMkLst>
        </pc:spChg>
        <pc:spChg chg="add mod">
          <ac:chgData name="Paul LEGEARD" userId="73b5704d-da1d-4b70-8e12-6d54d32b01a3" providerId="ADAL" clId="{11E30BCA-5427-48A7-9089-5CE7CB5F003D}" dt="2023-04-24T08:22:43.837" v="14804" actId="1035"/>
          <ac:spMkLst>
            <pc:docMk/>
            <pc:sldMk cId="925870861" sldId="2147469842"/>
            <ac:spMk id="5" creationId="{D784FBD7-C8A9-73F2-3BE3-D101C65137E9}"/>
          </ac:spMkLst>
        </pc:spChg>
        <pc:spChg chg="add mod">
          <ac:chgData name="Paul LEGEARD" userId="73b5704d-da1d-4b70-8e12-6d54d32b01a3" providerId="ADAL" clId="{11E30BCA-5427-48A7-9089-5CE7CB5F003D}" dt="2023-04-24T08:22:43.837" v="14804" actId="1035"/>
          <ac:spMkLst>
            <pc:docMk/>
            <pc:sldMk cId="925870861" sldId="2147469842"/>
            <ac:spMk id="7" creationId="{2AFF4FFE-C847-24A9-F9BD-71323C175895}"/>
          </ac:spMkLst>
        </pc:spChg>
        <pc:spChg chg="add mod">
          <ac:chgData name="Paul LEGEARD" userId="73b5704d-da1d-4b70-8e12-6d54d32b01a3" providerId="ADAL" clId="{11E30BCA-5427-48A7-9089-5CE7CB5F003D}" dt="2023-04-24T08:22:43.837" v="14804" actId="1035"/>
          <ac:spMkLst>
            <pc:docMk/>
            <pc:sldMk cId="925870861" sldId="2147469842"/>
            <ac:spMk id="9" creationId="{75FDA101-D453-956A-1E26-7CE285D04EB0}"/>
          </ac:spMkLst>
        </pc:spChg>
        <pc:spChg chg="del">
          <ac:chgData name="Paul LEGEARD" userId="73b5704d-da1d-4b70-8e12-6d54d32b01a3" providerId="ADAL" clId="{11E30BCA-5427-48A7-9089-5CE7CB5F003D}" dt="2023-04-24T06:31:05.349" v="11653" actId="478"/>
          <ac:spMkLst>
            <pc:docMk/>
            <pc:sldMk cId="925870861" sldId="2147469842"/>
            <ac:spMk id="11" creationId="{BBD4C998-F61B-11EC-D7BA-8CC4A4438633}"/>
          </ac:spMkLst>
        </pc:spChg>
        <pc:spChg chg="del">
          <ac:chgData name="Paul LEGEARD" userId="73b5704d-da1d-4b70-8e12-6d54d32b01a3" providerId="ADAL" clId="{11E30BCA-5427-48A7-9089-5CE7CB5F003D}" dt="2023-04-24T06:31:05.349" v="11653" actId="478"/>
          <ac:spMkLst>
            <pc:docMk/>
            <pc:sldMk cId="925870861" sldId="2147469842"/>
            <ac:spMk id="14" creationId="{B66A1D62-CAF4-FC08-0664-A4C977496351}"/>
          </ac:spMkLst>
        </pc:spChg>
        <pc:spChg chg="mod">
          <ac:chgData name="Paul LEGEARD" userId="73b5704d-da1d-4b70-8e12-6d54d32b01a3" providerId="ADAL" clId="{11E30BCA-5427-48A7-9089-5CE7CB5F003D}" dt="2023-04-24T08:23:02.933" v="14827" actId="207"/>
          <ac:spMkLst>
            <pc:docMk/>
            <pc:sldMk cId="925870861" sldId="2147469842"/>
            <ac:spMk id="16" creationId="{D3C71103-432D-A1B4-CFC5-95BAB846BD47}"/>
          </ac:spMkLst>
        </pc:spChg>
        <pc:spChg chg="del">
          <ac:chgData name="Paul LEGEARD" userId="73b5704d-da1d-4b70-8e12-6d54d32b01a3" providerId="ADAL" clId="{11E30BCA-5427-48A7-9089-5CE7CB5F003D}" dt="2023-04-24T06:31:05.349" v="11653" actId="478"/>
          <ac:spMkLst>
            <pc:docMk/>
            <pc:sldMk cId="925870861" sldId="2147469842"/>
            <ac:spMk id="17" creationId="{8B1D9E07-6CE4-9EEF-BC72-0452D9E9DE54}"/>
          </ac:spMkLst>
        </pc:spChg>
        <pc:spChg chg="add mod">
          <ac:chgData name="Paul LEGEARD" userId="73b5704d-da1d-4b70-8e12-6d54d32b01a3" providerId="ADAL" clId="{11E30BCA-5427-48A7-9089-5CE7CB5F003D}" dt="2023-04-24T08:22:43.837" v="14804" actId="1035"/>
          <ac:spMkLst>
            <pc:docMk/>
            <pc:sldMk cId="925870861" sldId="2147469842"/>
            <ac:spMk id="23" creationId="{F7F69A0C-5BA8-8DBC-E72F-4EB06D676B96}"/>
          </ac:spMkLst>
        </pc:spChg>
        <pc:spChg chg="del">
          <ac:chgData name="Paul LEGEARD" userId="73b5704d-da1d-4b70-8e12-6d54d32b01a3" providerId="ADAL" clId="{11E30BCA-5427-48A7-9089-5CE7CB5F003D}" dt="2023-04-24T06:31:05.349" v="11653" actId="478"/>
          <ac:spMkLst>
            <pc:docMk/>
            <pc:sldMk cId="925870861" sldId="2147469842"/>
            <ac:spMk id="24" creationId="{E7FB68C9-BA4F-694B-4F8A-F6489CA436E3}"/>
          </ac:spMkLst>
        </pc:spChg>
        <pc:spChg chg="add del">
          <ac:chgData name="Paul LEGEARD" userId="73b5704d-da1d-4b70-8e12-6d54d32b01a3" providerId="ADAL" clId="{11E30BCA-5427-48A7-9089-5CE7CB5F003D}" dt="2023-04-24T06:40:51.971" v="12088" actId="478"/>
          <ac:spMkLst>
            <pc:docMk/>
            <pc:sldMk cId="925870861" sldId="2147469842"/>
            <ac:spMk id="25" creationId="{C5DD1C4D-5C65-EF84-C645-A6AF432D3DA7}"/>
          </ac:spMkLst>
        </pc:spChg>
        <pc:spChg chg="del">
          <ac:chgData name="Paul LEGEARD" userId="73b5704d-da1d-4b70-8e12-6d54d32b01a3" providerId="ADAL" clId="{11E30BCA-5427-48A7-9089-5CE7CB5F003D}" dt="2023-04-24T06:31:05.349" v="11653" actId="478"/>
          <ac:spMkLst>
            <pc:docMk/>
            <pc:sldMk cId="925870861" sldId="2147469842"/>
            <ac:spMk id="28" creationId="{799337D2-BF00-8CCC-981F-7F23EBAD5088}"/>
          </ac:spMkLst>
        </pc:spChg>
        <pc:spChg chg="del">
          <ac:chgData name="Paul LEGEARD" userId="73b5704d-da1d-4b70-8e12-6d54d32b01a3" providerId="ADAL" clId="{11E30BCA-5427-48A7-9089-5CE7CB5F003D}" dt="2023-04-24T06:31:05.349" v="11653" actId="478"/>
          <ac:spMkLst>
            <pc:docMk/>
            <pc:sldMk cId="925870861" sldId="2147469842"/>
            <ac:spMk id="29" creationId="{E4AB7EC6-8D76-348F-D989-50593C8CA42B}"/>
          </ac:spMkLst>
        </pc:spChg>
        <pc:spChg chg="del">
          <ac:chgData name="Paul LEGEARD" userId="73b5704d-da1d-4b70-8e12-6d54d32b01a3" providerId="ADAL" clId="{11E30BCA-5427-48A7-9089-5CE7CB5F003D}" dt="2023-04-24T06:31:05.349" v="11653" actId="478"/>
          <ac:spMkLst>
            <pc:docMk/>
            <pc:sldMk cId="925870861" sldId="2147469842"/>
            <ac:spMk id="31" creationId="{9507987D-C793-F78F-0773-1B20406454F7}"/>
          </ac:spMkLst>
        </pc:spChg>
        <pc:spChg chg="del">
          <ac:chgData name="Paul LEGEARD" userId="73b5704d-da1d-4b70-8e12-6d54d32b01a3" providerId="ADAL" clId="{11E30BCA-5427-48A7-9089-5CE7CB5F003D}" dt="2023-04-24T06:31:05.349" v="11653" actId="478"/>
          <ac:spMkLst>
            <pc:docMk/>
            <pc:sldMk cId="925870861" sldId="2147469842"/>
            <ac:spMk id="36" creationId="{81DE215E-8491-D942-CBE0-5E903EBEE6E9}"/>
          </ac:spMkLst>
        </pc:spChg>
        <pc:spChg chg="del">
          <ac:chgData name="Paul LEGEARD" userId="73b5704d-da1d-4b70-8e12-6d54d32b01a3" providerId="ADAL" clId="{11E30BCA-5427-48A7-9089-5CE7CB5F003D}" dt="2023-04-24T06:31:05.349" v="11653" actId="478"/>
          <ac:spMkLst>
            <pc:docMk/>
            <pc:sldMk cId="925870861" sldId="2147469842"/>
            <ac:spMk id="37" creationId="{21F5AE47-9593-69FC-C3A2-204CC0F6FD94}"/>
          </ac:spMkLst>
        </pc:spChg>
        <pc:spChg chg="del">
          <ac:chgData name="Paul LEGEARD" userId="73b5704d-da1d-4b70-8e12-6d54d32b01a3" providerId="ADAL" clId="{11E30BCA-5427-48A7-9089-5CE7CB5F003D}" dt="2023-04-24T06:31:05.349" v="11653" actId="478"/>
          <ac:spMkLst>
            <pc:docMk/>
            <pc:sldMk cId="925870861" sldId="2147469842"/>
            <ac:spMk id="38" creationId="{D556DC16-60D0-1756-4D21-B7FEE30E8240}"/>
          </ac:spMkLst>
        </pc:spChg>
        <pc:spChg chg="add mod">
          <ac:chgData name="Paul LEGEARD" userId="73b5704d-da1d-4b70-8e12-6d54d32b01a3" providerId="ADAL" clId="{11E30BCA-5427-48A7-9089-5CE7CB5F003D}" dt="2023-04-24T08:22:43.837" v="14804" actId="1035"/>
          <ac:spMkLst>
            <pc:docMk/>
            <pc:sldMk cId="925870861" sldId="2147469842"/>
            <ac:spMk id="39" creationId="{05F26576-78FB-19C0-A608-C117F11F95DD}"/>
          </ac:spMkLst>
        </pc:spChg>
        <pc:graphicFrameChg chg="add mod modGraphic">
          <ac:chgData name="Paul LEGEARD" userId="73b5704d-da1d-4b70-8e12-6d54d32b01a3" providerId="ADAL" clId="{11E30BCA-5427-48A7-9089-5CE7CB5F003D}" dt="2023-04-24T08:37:33.072" v="16153" actId="20577"/>
          <ac:graphicFrameMkLst>
            <pc:docMk/>
            <pc:sldMk cId="925870861" sldId="2147469842"/>
            <ac:graphicFrameMk id="10" creationId="{C6B30C97-CBAA-3C98-4F2A-BAEF0F990C49}"/>
          </ac:graphicFrameMkLst>
        </pc:graphicFrameChg>
        <pc:picChg chg="add mod">
          <ac:chgData name="Paul LEGEARD" userId="73b5704d-da1d-4b70-8e12-6d54d32b01a3" providerId="ADAL" clId="{11E30BCA-5427-48A7-9089-5CE7CB5F003D}" dt="2023-04-24T08:22:43.837" v="14804" actId="1035"/>
          <ac:picMkLst>
            <pc:docMk/>
            <pc:sldMk cId="925870861" sldId="2147469842"/>
            <ac:picMk id="6" creationId="{E0730B0E-44F3-E317-66E6-3576AA4D9482}"/>
          </ac:picMkLst>
        </pc:picChg>
        <pc:picChg chg="add mod">
          <ac:chgData name="Paul LEGEARD" userId="73b5704d-da1d-4b70-8e12-6d54d32b01a3" providerId="ADAL" clId="{11E30BCA-5427-48A7-9089-5CE7CB5F003D}" dt="2023-04-24T08:22:43.837" v="14804" actId="1035"/>
          <ac:picMkLst>
            <pc:docMk/>
            <pc:sldMk cId="925870861" sldId="2147469842"/>
            <ac:picMk id="12" creationId="{74F9D390-8C3F-25CD-8B25-FFD0A4271A3B}"/>
          </ac:picMkLst>
        </pc:picChg>
        <pc:picChg chg="del">
          <ac:chgData name="Paul LEGEARD" userId="73b5704d-da1d-4b70-8e12-6d54d32b01a3" providerId="ADAL" clId="{11E30BCA-5427-48A7-9089-5CE7CB5F003D}" dt="2023-04-24T06:31:05.349" v="11653" actId="478"/>
          <ac:picMkLst>
            <pc:docMk/>
            <pc:sldMk cId="925870861" sldId="2147469842"/>
            <ac:picMk id="13" creationId="{0EB5BF46-D5C2-39BE-A57B-BBCF9E2CA004}"/>
          </ac:picMkLst>
        </pc:picChg>
        <pc:picChg chg="add mod">
          <ac:chgData name="Paul LEGEARD" userId="73b5704d-da1d-4b70-8e12-6d54d32b01a3" providerId="ADAL" clId="{11E30BCA-5427-48A7-9089-5CE7CB5F003D}" dt="2023-04-24T08:22:43.837" v="14804" actId="1035"/>
          <ac:picMkLst>
            <pc:docMk/>
            <pc:sldMk cId="925870861" sldId="2147469842"/>
            <ac:picMk id="15" creationId="{85F52B30-27F0-3EDF-5C85-48D499623CE0}"/>
          </ac:picMkLst>
        </pc:picChg>
        <pc:picChg chg="add mod">
          <ac:chgData name="Paul LEGEARD" userId="73b5704d-da1d-4b70-8e12-6d54d32b01a3" providerId="ADAL" clId="{11E30BCA-5427-48A7-9089-5CE7CB5F003D}" dt="2023-04-24T08:22:43.837" v="14804" actId="1035"/>
          <ac:picMkLst>
            <pc:docMk/>
            <pc:sldMk cId="925870861" sldId="2147469842"/>
            <ac:picMk id="18" creationId="{DCDAA4FE-DC89-7972-5F55-20457717E68B}"/>
          </ac:picMkLst>
        </pc:picChg>
        <pc:picChg chg="del">
          <ac:chgData name="Paul LEGEARD" userId="73b5704d-da1d-4b70-8e12-6d54d32b01a3" providerId="ADAL" clId="{11E30BCA-5427-48A7-9089-5CE7CB5F003D}" dt="2023-04-24T06:31:05.349" v="11653" actId="478"/>
          <ac:picMkLst>
            <pc:docMk/>
            <pc:sldMk cId="925870861" sldId="2147469842"/>
            <ac:picMk id="19" creationId="{B2CCE6E9-C54B-9C42-266D-3D404C6E07E0}"/>
          </ac:picMkLst>
        </pc:picChg>
        <pc:picChg chg="add del mod">
          <ac:chgData name="Paul LEGEARD" userId="73b5704d-da1d-4b70-8e12-6d54d32b01a3" providerId="ADAL" clId="{11E30BCA-5427-48A7-9089-5CE7CB5F003D}" dt="2023-04-24T06:39:49.271" v="12071" actId="478"/>
          <ac:picMkLst>
            <pc:docMk/>
            <pc:sldMk cId="925870861" sldId="2147469842"/>
            <ac:picMk id="20" creationId="{697FF0CF-7026-83F9-3169-A1EC372C6B62}"/>
          </ac:picMkLst>
        </pc:picChg>
        <pc:picChg chg="add del mod">
          <ac:chgData name="Paul LEGEARD" userId="73b5704d-da1d-4b70-8e12-6d54d32b01a3" providerId="ADAL" clId="{11E30BCA-5427-48A7-9089-5CE7CB5F003D}" dt="2023-04-24T06:39:55.404" v="12073" actId="478"/>
          <ac:picMkLst>
            <pc:docMk/>
            <pc:sldMk cId="925870861" sldId="2147469842"/>
            <ac:picMk id="21" creationId="{DF9371F9-EAC8-D965-939D-FBAB7A930B0B}"/>
          </ac:picMkLst>
        </pc:picChg>
        <pc:picChg chg="del">
          <ac:chgData name="Paul LEGEARD" userId="73b5704d-da1d-4b70-8e12-6d54d32b01a3" providerId="ADAL" clId="{11E30BCA-5427-48A7-9089-5CE7CB5F003D}" dt="2023-04-24T06:31:05.349" v="11653" actId="478"/>
          <ac:picMkLst>
            <pc:docMk/>
            <pc:sldMk cId="925870861" sldId="2147469842"/>
            <ac:picMk id="26" creationId="{22815548-EFF1-D305-4AFA-1848DC1A726F}"/>
          </ac:picMkLst>
        </pc:picChg>
        <pc:picChg chg="add mod">
          <ac:chgData name="Paul LEGEARD" userId="73b5704d-da1d-4b70-8e12-6d54d32b01a3" providerId="ADAL" clId="{11E30BCA-5427-48A7-9089-5CE7CB5F003D}" dt="2023-04-24T08:22:43.837" v="14804" actId="1035"/>
          <ac:picMkLst>
            <pc:docMk/>
            <pc:sldMk cId="925870861" sldId="2147469842"/>
            <ac:picMk id="27" creationId="{69DC3292-9359-3240-B380-6CD73E3B86D2}"/>
          </ac:picMkLst>
        </pc:picChg>
        <pc:picChg chg="add mod">
          <ac:chgData name="Paul LEGEARD" userId="73b5704d-da1d-4b70-8e12-6d54d32b01a3" providerId="ADAL" clId="{11E30BCA-5427-48A7-9089-5CE7CB5F003D}" dt="2023-04-24T08:22:43.837" v="14804" actId="1035"/>
          <ac:picMkLst>
            <pc:docMk/>
            <pc:sldMk cId="925870861" sldId="2147469842"/>
            <ac:picMk id="30" creationId="{56E320E6-7926-02FB-01E6-31763117BDC3}"/>
          </ac:picMkLst>
        </pc:picChg>
        <pc:picChg chg="add mod">
          <ac:chgData name="Paul LEGEARD" userId="73b5704d-da1d-4b70-8e12-6d54d32b01a3" providerId="ADAL" clId="{11E30BCA-5427-48A7-9089-5CE7CB5F003D}" dt="2023-04-24T08:22:43.837" v="14804" actId="1035"/>
          <ac:picMkLst>
            <pc:docMk/>
            <pc:sldMk cId="925870861" sldId="2147469842"/>
            <ac:picMk id="32" creationId="{0B72C91A-B39E-7E81-2448-2E032C990076}"/>
          </ac:picMkLst>
        </pc:picChg>
        <pc:picChg chg="del">
          <ac:chgData name="Paul LEGEARD" userId="73b5704d-da1d-4b70-8e12-6d54d32b01a3" providerId="ADAL" clId="{11E30BCA-5427-48A7-9089-5CE7CB5F003D}" dt="2023-04-24T06:31:05.349" v="11653" actId="478"/>
          <ac:picMkLst>
            <pc:docMk/>
            <pc:sldMk cId="925870861" sldId="2147469842"/>
            <ac:picMk id="33" creationId="{46C72049-24B1-B10D-D62B-04F24B33FA3E}"/>
          </ac:picMkLst>
        </pc:picChg>
        <pc:picChg chg="add mod">
          <ac:chgData name="Paul LEGEARD" userId="73b5704d-da1d-4b70-8e12-6d54d32b01a3" providerId="ADAL" clId="{11E30BCA-5427-48A7-9089-5CE7CB5F003D}" dt="2023-04-24T08:37:03.670" v="16142" actId="1076"/>
          <ac:picMkLst>
            <pc:docMk/>
            <pc:sldMk cId="925870861" sldId="2147469842"/>
            <ac:picMk id="40" creationId="{28676B0E-094C-5111-9F0D-C2E6879012DA}"/>
          </ac:picMkLst>
        </pc:picChg>
        <pc:picChg chg="del">
          <ac:chgData name="Paul LEGEARD" userId="73b5704d-da1d-4b70-8e12-6d54d32b01a3" providerId="ADAL" clId="{11E30BCA-5427-48A7-9089-5CE7CB5F003D}" dt="2023-04-24T06:31:05.349" v="11653" actId="478"/>
          <ac:picMkLst>
            <pc:docMk/>
            <pc:sldMk cId="925870861" sldId="2147469842"/>
            <ac:picMk id="41" creationId="{0C69ED5E-EA4B-632E-ACA7-916AB767D5AA}"/>
          </ac:picMkLst>
        </pc:picChg>
        <pc:picChg chg="del">
          <ac:chgData name="Paul LEGEARD" userId="73b5704d-da1d-4b70-8e12-6d54d32b01a3" providerId="ADAL" clId="{11E30BCA-5427-48A7-9089-5CE7CB5F003D}" dt="2023-04-24T06:31:05.349" v="11653" actId="478"/>
          <ac:picMkLst>
            <pc:docMk/>
            <pc:sldMk cId="925870861" sldId="2147469842"/>
            <ac:picMk id="43" creationId="{9554E0CB-F6D0-3889-041E-21F918A1BAF5}"/>
          </ac:picMkLst>
        </pc:picChg>
        <pc:picChg chg="del">
          <ac:chgData name="Paul LEGEARD" userId="73b5704d-da1d-4b70-8e12-6d54d32b01a3" providerId="ADAL" clId="{11E30BCA-5427-48A7-9089-5CE7CB5F003D}" dt="2023-04-24T06:31:05.349" v="11653" actId="478"/>
          <ac:picMkLst>
            <pc:docMk/>
            <pc:sldMk cId="925870861" sldId="2147469842"/>
            <ac:picMk id="45" creationId="{B46FB3E7-BDB2-C4F9-DE10-050C0D26D758}"/>
          </ac:picMkLst>
        </pc:picChg>
        <pc:cxnChg chg="add mod">
          <ac:chgData name="Paul LEGEARD" userId="73b5704d-da1d-4b70-8e12-6d54d32b01a3" providerId="ADAL" clId="{11E30BCA-5427-48A7-9089-5CE7CB5F003D}" dt="2023-04-24T08:22:43.837" v="14804" actId="1035"/>
          <ac:cxnSpMkLst>
            <pc:docMk/>
            <pc:sldMk cId="925870861" sldId="2147469842"/>
            <ac:cxnSpMk id="35" creationId="{8243DB35-C530-2A11-0705-AE5560207C62}"/>
          </ac:cxnSpMkLst>
        </pc:cxnChg>
      </pc:sldChg>
      <pc:sldChg chg="add del">
        <pc:chgData name="Paul LEGEARD" userId="73b5704d-da1d-4b70-8e12-6d54d32b01a3" providerId="ADAL" clId="{11E30BCA-5427-48A7-9089-5CE7CB5F003D}" dt="2023-04-24T06:10:39.415" v="10267"/>
        <pc:sldMkLst>
          <pc:docMk/>
          <pc:sldMk cId="3557472410" sldId="2147469842"/>
        </pc:sldMkLst>
      </pc:sldChg>
      <pc:sldChg chg="addSp delSp modSp add mod">
        <pc:chgData name="Paul LEGEARD" userId="73b5704d-da1d-4b70-8e12-6d54d32b01a3" providerId="ADAL" clId="{11E30BCA-5427-48A7-9089-5CE7CB5F003D}" dt="2023-04-24T08:38:38.457" v="16188" actId="6549"/>
        <pc:sldMkLst>
          <pc:docMk/>
          <pc:sldMk cId="1748526257" sldId="2147469843"/>
        </pc:sldMkLst>
        <pc:spChg chg="del">
          <ac:chgData name="Paul LEGEARD" userId="73b5704d-da1d-4b70-8e12-6d54d32b01a3" providerId="ADAL" clId="{11E30BCA-5427-48A7-9089-5CE7CB5F003D}" dt="2023-04-24T06:45:54.679" v="12434" actId="478"/>
          <ac:spMkLst>
            <pc:docMk/>
            <pc:sldMk cId="1748526257" sldId="2147469843"/>
            <ac:spMk id="2" creationId="{F0003610-ECB2-D62E-BE3D-5E0AB4D9D1CB}"/>
          </ac:spMkLst>
        </pc:spChg>
        <pc:spChg chg="add mod ord">
          <ac:chgData name="Paul LEGEARD" userId="73b5704d-da1d-4b70-8e12-6d54d32b01a3" providerId="ADAL" clId="{11E30BCA-5427-48A7-9089-5CE7CB5F003D}" dt="2023-04-24T08:17:20.238" v="14457" actId="1036"/>
          <ac:spMkLst>
            <pc:docMk/>
            <pc:sldMk cId="1748526257" sldId="2147469843"/>
            <ac:spMk id="3" creationId="{DC67C7AA-E0DC-D4B4-1432-BF9AF65FC39B}"/>
          </ac:spMkLst>
        </pc:spChg>
        <pc:spChg chg="mod">
          <ac:chgData name="Paul LEGEARD" userId="73b5704d-da1d-4b70-8e12-6d54d32b01a3" providerId="ADAL" clId="{11E30BCA-5427-48A7-9089-5CE7CB5F003D}" dt="2023-04-24T08:22:08.938" v="14779" actId="20577"/>
          <ac:spMkLst>
            <pc:docMk/>
            <pc:sldMk cId="1748526257" sldId="2147469843"/>
            <ac:spMk id="4" creationId="{52AFB3F8-88A7-4D69-8A52-45D00774625C}"/>
          </ac:spMkLst>
        </pc:spChg>
        <pc:spChg chg="del">
          <ac:chgData name="Paul LEGEARD" userId="73b5704d-da1d-4b70-8e12-6d54d32b01a3" providerId="ADAL" clId="{11E30BCA-5427-48A7-9089-5CE7CB5F003D}" dt="2023-04-24T06:45:54.679" v="12434" actId="478"/>
          <ac:spMkLst>
            <pc:docMk/>
            <pc:sldMk cId="1748526257" sldId="2147469843"/>
            <ac:spMk id="5" creationId="{D784FBD7-C8A9-73F2-3BE3-D101C65137E9}"/>
          </ac:spMkLst>
        </pc:spChg>
        <pc:spChg chg="del">
          <ac:chgData name="Paul LEGEARD" userId="73b5704d-da1d-4b70-8e12-6d54d32b01a3" providerId="ADAL" clId="{11E30BCA-5427-48A7-9089-5CE7CB5F003D}" dt="2023-04-24T06:45:54.679" v="12434" actId="478"/>
          <ac:spMkLst>
            <pc:docMk/>
            <pc:sldMk cId="1748526257" sldId="2147469843"/>
            <ac:spMk id="7" creationId="{2AFF4FFE-C847-24A9-F9BD-71323C175895}"/>
          </ac:spMkLst>
        </pc:spChg>
        <pc:spChg chg="del">
          <ac:chgData name="Paul LEGEARD" userId="73b5704d-da1d-4b70-8e12-6d54d32b01a3" providerId="ADAL" clId="{11E30BCA-5427-48A7-9089-5CE7CB5F003D}" dt="2023-04-24T06:45:54.679" v="12434" actId="478"/>
          <ac:spMkLst>
            <pc:docMk/>
            <pc:sldMk cId="1748526257" sldId="2147469843"/>
            <ac:spMk id="9" creationId="{75FDA101-D453-956A-1E26-7CE285D04EB0}"/>
          </ac:spMkLst>
        </pc:spChg>
        <pc:spChg chg="add del mod">
          <ac:chgData name="Paul LEGEARD" userId="73b5704d-da1d-4b70-8e12-6d54d32b01a3" providerId="ADAL" clId="{11E30BCA-5427-48A7-9089-5CE7CB5F003D}" dt="2023-04-24T08:16:00.322" v="14342" actId="478"/>
          <ac:spMkLst>
            <pc:docMk/>
            <pc:sldMk cId="1748526257" sldId="2147469843"/>
            <ac:spMk id="11" creationId="{57669537-83C2-5B64-D1DD-EEE7B7BD6C18}"/>
          </ac:spMkLst>
        </pc:spChg>
        <pc:spChg chg="add del mod">
          <ac:chgData name="Paul LEGEARD" userId="73b5704d-da1d-4b70-8e12-6d54d32b01a3" providerId="ADAL" clId="{11E30BCA-5427-48A7-9089-5CE7CB5F003D}" dt="2023-04-24T08:17:17.817" v="14446" actId="478"/>
          <ac:spMkLst>
            <pc:docMk/>
            <pc:sldMk cId="1748526257" sldId="2147469843"/>
            <ac:spMk id="13" creationId="{C0FCBEC1-465F-464A-C51A-EE5AF72F35AB}"/>
          </ac:spMkLst>
        </pc:spChg>
        <pc:spChg chg="add del mod">
          <ac:chgData name="Paul LEGEARD" userId="73b5704d-da1d-4b70-8e12-6d54d32b01a3" providerId="ADAL" clId="{11E30BCA-5427-48A7-9089-5CE7CB5F003D}" dt="2023-04-24T08:16:02.723" v="14343" actId="478"/>
          <ac:spMkLst>
            <pc:docMk/>
            <pc:sldMk cId="1748526257" sldId="2147469843"/>
            <ac:spMk id="14" creationId="{7C29B639-5924-A4BD-DD9A-0587762E16CA}"/>
          </ac:spMkLst>
        </pc:spChg>
        <pc:spChg chg="del">
          <ac:chgData name="Paul LEGEARD" userId="73b5704d-da1d-4b70-8e12-6d54d32b01a3" providerId="ADAL" clId="{11E30BCA-5427-48A7-9089-5CE7CB5F003D}" dt="2023-04-24T06:45:54.679" v="12434" actId="478"/>
          <ac:spMkLst>
            <pc:docMk/>
            <pc:sldMk cId="1748526257" sldId="2147469843"/>
            <ac:spMk id="16" creationId="{D3C71103-432D-A1B4-CFC5-95BAB846BD47}"/>
          </ac:spMkLst>
        </pc:spChg>
        <pc:spChg chg="add mod">
          <ac:chgData name="Paul LEGEARD" userId="73b5704d-da1d-4b70-8e12-6d54d32b01a3" providerId="ADAL" clId="{11E30BCA-5427-48A7-9089-5CE7CB5F003D}" dt="2023-04-24T08:38:14.403" v="16184" actId="20577"/>
          <ac:spMkLst>
            <pc:docMk/>
            <pc:sldMk cId="1748526257" sldId="2147469843"/>
            <ac:spMk id="19" creationId="{6FB9D570-1B64-EF19-8042-D83F5F98AED9}"/>
          </ac:spMkLst>
        </pc:spChg>
        <pc:spChg chg="add del mod">
          <ac:chgData name="Paul LEGEARD" userId="73b5704d-da1d-4b70-8e12-6d54d32b01a3" providerId="ADAL" clId="{11E30BCA-5427-48A7-9089-5CE7CB5F003D}" dt="2023-04-24T07:00:51.435" v="13685" actId="478"/>
          <ac:spMkLst>
            <pc:docMk/>
            <pc:sldMk cId="1748526257" sldId="2147469843"/>
            <ac:spMk id="21" creationId="{4CE3551B-D646-C86D-7E22-B3F19D3C2599}"/>
          </ac:spMkLst>
        </pc:spChg>
        <pc:spChg chg="add mod">
          <ac:chgData name="Paul LEGEARD" userId="73b5704d-da1d-4b70-8e12-6d54d32b01a3" providerId="ADAL" clId="{11E30BCA-5427-48A7-9089-5CE7CB5F003D}" dt="2023-04-24T08:17:20.238" v="14457" actId="1036"/>
          <ac:spMkLst>
            <pc:docMk/>
            <pc:sldMk cId="1748526257" sldId="2147469843"/>
            <ac:spMk id="22" creationId="{F51496F9-119E-CA0D-AF38-6E6AD153793C}"/>
          </ac:spMkLst>
        </pc:spChg>
        <pc:spChg chg="del">
          <ac:chgData name="Paul LEGEARD" userId="73b5704d-da1d-4b70-8e12-6d54d32b01a3" providerId="ADAL" clId="{11E30BCA-5427-48A7-9089-5CE7CB5F003D}" dt="2023-04-24T06:45:54.679" v="12434" actId="478"/>
          <ac:spMkLst>
            <pc:docMk/>
            <pc:sldMk cId="1748526257" sldId="2147469843"/>
            <ac:spMk id="23" creationId="{F7F69A0C-5BA8-8DBC-E72F-4EB06D676B96}"/>
          </ac:spMkLst>
        </pc:spChg>
        <pc:spChg chg="add mod">
          <ac:chgData name="Paul LEGEARD" userId="73b5704d-da1d-4b70-8e12-6d54d32b01a3" providerId="ADAL" clId="{11E30BCA-5427-48A7-9089-5CE7CB5F003D}" dt="2023-04-24T08:17:20.238" v="14457" actId="1036"/>
          <ac:spMkLst>
            <pc:docMk/>
            <pc:sldMk cId="1748526257" sldId="2147469843"/>
            <ac:spMk id="24" creationId="{690E815F-040E-4130-2B74-8F2F2823F8C1}"/>
          </ac:spMkLst>
        </pc:spChg>
        <pc:spChg chg="add mod">
          <ac:chgData name="Paul LEGEARD" userId="73b5704d-da1d-4b70-8e12-6d54d32b01a3" providerId="ADAL" clId="{11E30BCA-5427-48A7-9089-5CE7CB5F003D}" dt="2023-04-24T08:17:20.238" v="14457" actId="1036"/>
          <ac:spMkLst>
            <pc:docMk/>
            <pc:sldMk cId="1748526257" sldId="2147469843"/>
            <ac:spMk id="25" creationId="{D4F2149B-A312-0739-76DF-1BF4FEEA1CF1}"/>
          </ac:spMkLst>
        </pc:spChg>
        <pc:spChg chg="add mod">
          <ac:chgData name="Paul LEGEARD" userId="73b5704d-da1d-4b70-8e12-6d54d32b01a3" providerId="ADAL" clId="{11E30BCA-5427-48A7-9089-5CE7CB5F003D}" dt="2023-04-24T08:17:20.238" v="14457" actId="1036"/>
          <ac:spMkLst>
            <pc:docMk/>
            <pc:sldMk cId="1748526257" sldId="2147469843"/>
            <ac:spMk id="26" creationId="{2FDC0B78-9F6A-6810-4BBD-2FB7CD22F8C5}"/>
          </ac:spMkLst>
        </pc:spChg>
        <pc:spChg chg="add mod">
          <ac:chgData name="Paul LEGEARD" userId="73b5704d-da1d-4b70-8e12-6d54d32b01a3" providerId="ADAL" clId="{11E30BCA-5427-48A7-9089-5CE7CB5F003D}" dt="2023-04-24T08:17:20.238" v="14457" actId="1036"/>
          <ac:spMkLst>
            <pc:docMk/>
            <pc:sldMk cId="1748526257" sldId="2147469843"/>
            <ac:spMk id="28" creationId="{E3A8EF27-5916-A417-2B33-76B9A858A630}"/>
          </ac:spMkLst>
        </pc:spChg>
        <pc:spChg chg="add del mod">
          <ac:chgData name="Paul LEGEARD" userId="73b5704d-da1d-4b70-8e12-6d54d32b01a3" providerId="ADAL" clId="{11E30BCA-5427-48A7-9089-5CE7CB5F003D}" dt="2023-04-24T06:59:26" v="13557" actId="478"/>
          <ac:spMkLst>
            <pc:docMk/>
            <pc:sldMk cId="1748526257" sldId="2147469843"/>
            <ac:spMk id="31" creationId="{ADDEC4CA-B0BD-BC18-6D59-70B08AD614E5}"/>
          </ac:spMkLst>
        </pc:spChg>
        <pc:spChg chg="add del mod">
          <ac:chgData name="Paul LEGEARD" userId="73b5704d-da1d-4b70-8e12-6d54d32b01a3" providerId="ADAL" clId="{11E30BCA-5427-48A7-9089-5CE7CB5F003D}" dt="2023-04-24T06:59:27.190" v="13559" actId="478"/>
          <ac:spMkLst>
            <pc:docMk/>
            <pc:sldMk cId="1748526257" sldId="2147469843"/>
            <ac:spMk id="38" creationId="{A88F39F5-9CA0-2E0D-AD4F-3F9B886D307A}"/>
          </ac:spMkLst>
        </pc:spChg>
        <pc:spChg chg="del">
          <ac:chgData name="Paul LEGEARD" userId="73b5704d-da1d-4b70-8e12-6d54d32b01a3" providerId="ADAL" clId="{11E30BCA-5427-48A7-9089-5CE7CB5F003D}" dt="2023-04-24T06:45:54.679" v="12434" actId="478"/>
          <ac:spMkLst>
            <pc:docMk/>
            <pc:sldMk cId="1748526257" sldId="2147469843"/>
            <ac:spMk id="39" creationId="{05F26576-78FB-19C0-A608-C117F11F95DD}"/>
          </ac:spMkLst>
        </pc:spChg>
        <pc:spChg chg="add del mod">
          <ac:chgData name="Paul LEGEARD" userId="73b5704d-da1d-4b70-8e12-6d54d32b01a3" providerId="ADAL" clId="{11E30BCA-5427-48A7-9089-5CE7CB5F003D}" dt="2023-04-24T06:59:26.545" v="13558" actId="478"/>
          <ac:spMkLst>
            <pc:docMk/>
            <pc:sldMk cId="1748526257" sldId="2147469843"/>
            <ac:spMk id="40" creationId="{9CFBDBF3-BF49-1AFD-AE78-B4008B345A0A}"/>
          </ac:spMkLst>
        </pc:spChg>
        <pc:spChg chg="add del mod">
          <ac:chgData name="Paul LEGEARD" userId="73b5704d-da1d-4b70-8e12-6d54d32b01a3" providerId="ADAL" clId="{11E30BCA-5427-48A7-9089-5CE7CB5F003D}" dt="2023-04-24T07:01:08.037" v="13693"/>
          <ac:spMkLst>
            <pc:docMk/>
            <pc:sldMk cId="1748526257" sldId="2147469843"/>
            <ac:spMk id="41" creationId="{5DF6FDED-D761-55DC-D1DF-B868BF57C22D}"/>
          </ac:spMkLst>
        </pc:spChg>
        <pc:spChg chg="add mod">
          <ac:chgData name="Paul LEGEARD" userId="73b5704d-da1d-4b70-8e12-6d54d32b01a3" providerId="ADAL" clId="{11E30BCA-5427-48A7-9089-5CE7CB5F003D}" dt="2023-04-24T08:17:20.238" v="14457" actId="1036"/>
          <ac:spMkLst>
            <pc:docMk/>
            <pc:sldMk cId="1748526257" sldId="2147469843"/>
            <ac:spMk id="45" creationId="{89C922EC-137B-0990-BF58-CC27B65A0FAC}"/>
          </ac:spMkLst>
        </pc:spChg>
        <pc:spChg chg="add mod ord">
          <ac:chgData name="Paul LEGEARD" userId="73b5704d-da1d-4b70-8e12-6d54d32b01a3" providerId="ADAL" clId="{11E30BCA-5427-48A7-9089-5CE7CB5F003D}" dt="2023-04-24T08:38:38.457" v="16188" actId="6549"/>
          <ac:spMkLst>
            <pc:docMk/>
            <pc:sldMk cId="1748526257" sldId="2147469843"/>
            <ac:spMk id="46" creationId="{B5C74E4A-CDE8-5115-A097-B477F99C3242}"/>
          </ac:spMkLst>
        </pc:spChg>
        <pc:spChg chg="add mod">
          <ac:chgData name="Paul LEGEARD" userId="73b5704d-da1d-4b70-8e12-6d54d32b01a3" providerId="ADAL" clId="{11E30BCA-5427-48A7-9089-5CE7CB5F003D}" dt="2023-04-24T08:38:36.964" v="16187" actId="6549"/>
          <ac:spMkLst>
            <pc:docMk/>
            <pc:sldMk cId="1748526257" sldId="2147469843"/>
            <ac:spMk id="47" creationId="{819A92A1-32E6-DCD1-3CF6-DD5E2F5B6D41}"/>
          </ac:spMkLst>
        </pc:spChg>
        <pc:graphicFrameChg chg="del">
          <ac:chgData name="Paul LEGEARD" userId="73b5704d-da1d-4b70-8e12-6d54d32b01a3" providerId="ADAL" clId="{11E30BCA-5427-48A7-9089-5CE7CB5F003D}" dt="2023-04-24T06:45:54.679" v="12434" actId="478"/>
          <ac:graphicFrameMkLst>
            <pc:docMk/>
            <pc:sldMk cId="1748526257" sldId="2147469843"/>
            <ac:graphicFrameMk id="10" creationId="{C6B30C97-CBAA-3C98-4F2A-BAEF0F990C49}"/>
          </ac:graphicFrameMkLst>
        </pc:graphicFrameChg>
        <pc:picChg chg="del">
          <ac:chgData name="Paul LEGEARD" userId="73b5704d-da1d-4b70-8e12-6d54d32b01a3" providerId="ADAL" clId="{11E30BCA-5427-48A7-9089-5CE7CB5F003D}" dt="2023-04-24T06:45:54.679" v="12434" actId="478"/>
          <ac:picMkLst>
            <pc:docMk/>
            <pc:sldMk cId="1748526257" sldId="2147469843"/>
            <ac:picMk id="6" creationId="{E0730B0E-44F3-E317-66E6-3576AA4D9482}"/>
          </ac:picMkLst>
        </pc:picChg>
        <pc:picChg chg="del">
          <ac:chgData name="Paul LEGEARD" userId="73b5704d-da1d-4b70-8e12-6d54d32b01a3" providerId="ADAL" clId="{11E30BCA-5427-48A7-9089-5CE7CB5F003D}" dt="2023-04-24T06:45:54.679" v="12434" actId="478"/>
          <ac:picMkLst>
            <pc:docMk/>
            <pc:sldMk cId="1748526257" sldId="2147469843"/>
            <ac:picMk id="12" creationId="{74F9D390-8C3F-25CD-8B25-FFD0A4271A3B}"/>
          </ac:picMkLst>
        </pc:picChg>
        <pc:picChg chg="del">
          <ac:chgData name="Paul LEGEARD" userId="73b5704d-da1d-4b70-8e12-6d54d32b01a3" providerId="ADAL" clId="{11E30BCA-5427-48A7-9089-5CE7CB5F003D}" dt="2023-04-24T06:45:54.679" v="12434" actId="478"/>
          <ac:picMkLst>
            <pc:docMk/>
            <pc:sldMk cId="1748526257" sldId="2147469843"/>
            <ac:picMk id="15" creationId="{85F52B30-27F0-3EDF-5C85-48D499623CE0}"/>
          </ac:picMkLst>
        </pc:picChg>
        <pc:picChg chg="add del mod">
          <ac:chgData name="Paul LEGEARD" userId="73b5704d-da1d-4b70-8e12-6d54d32b01a3" providerId="ADAL" clId="{11E30BCA-5427-48A7-9089-5CE7CB5F003D}" dt="2023-04-24T08:17:17.817" v="14446" actId="478"/>
          <ac:picMkLst>
            <pc:docMk/>
            <pc:sldMk cId="1748526257" sldId="2147469843"/>
            <ac:picMk id="17" creationId="{B01AE7C7-87AC-03AB-6035-8E9BC2C3F9BB}"/>
          </ac:picMkLst>
        </pc:picChg>
        <pc:picChg chg="del">
          <ac:chgData name="Paul LEGEARD" userId="73b5704d-da1d-4b70-8e12-6d54d32b01a3" providerId="ADAL" clId="{11E30BCA-5427-48A7-9089-5CE7CB5F003D}" dt="2023-04-24T06:45:54.679" v="12434" actId="478"/>
          <ac:picMkLst>
            <pc:docMk/>
            <pc:sldMk cId="1748526257" sldId="2147469843"/>
            <ac:picMk id="18" creationId="{DCDAA4FE-DC89-7972-5F55-20457717E68B}"/>
          </ac:picMkLst>
        </pc:picChg>
        <pc:picChg chg="add mod">
          <ac:chgData name="Paul LEGEARD" userId="73b5704d-da1d-4b70-8e12-6d54d32b01a3" providerId="ADAL" clId="{11E30BCA-5427-48A7-9089-5CE7CB5F003D}" dt="2023-04-24T08:17:20.238" v="14457" actId="1036"/>
          <ac:picMkLst>
            <pc:docMk/>
            <pc:sldMk cId="1748526257" sldId="2147469843"/>
            <ac:picMk id="20" creationId="{17AC73AE-09CD-1A0C-9579-6D292FCB50E1}"/>
          </ac:picMkLst>
        </pc:picChg>
        <pc:picChg chg="del">
          <ac:chgData name="Paul LEGEARD" userId="73b5704d-da1d-4b70-8e12-6d54d32b01a3" providerId="ADAL" clId="{11E30BCA-5427-48A7-9089-5CE7CB5F003D}" dt="2023-04-24T06:45:54.679" v="12434" actId="478"/>
          <ac:picMkLst>
            <pc:docMk/>
            <pc:sldMk cId="1748526257" sldId="2147469843"/>
            <ac:picMk id="27" creationId="{69DC3292-9359-3240-B380-6CD73E3B86D2}"/>
          </ac:picMkLst>
        </pc:picChg>
        <pc:picChg chg="add del mod">
          <ac:chgData name="Paul LEGEARD" userId="73b5704d-da1d-4b70-8e12-6d54d32b01a3" providerId="ADAL" clId="{11E30BCA-5427-48A7-9089-5CE7CB5F003D}" dt="2023-04-24T06:56:02.668" v="13371" actId="478"/>
          <ac:picMkLst>
            <pc:docMk/>
            <pc:sldMk cId="1748526257" sldId="2147469843"/>
            <ac:picMk id="29" creationId="{450FDA19-6432-5783-1371-C35074F2FB85}"/>
          </ac:picMkLst>
        </pc:picChg>
        <pc:picChg chg="del">
          <ac:chgData name="Paul LEGEARD" userId="73b5704d-da1d-4b70-8e12-6d54d32b01a3" providerId="ADAL" clId="{11E30BCA-5427-48A7-9089-5CE7CB5F003D}" dt="2023-04-24T06:45:54.679" v="12434" actId="478"/>
          <ac:picMkLst>
            <pc:docMk/>
            <pc:sldMk cId="1748526257" sldId="2147469843"/>
            <ac:picMk id="30" creationId="{56E320E6-7926-02FB-01E6-31763117BDC3}"/>
          </ac:picMkLst>
        </pc:picChg>
        <pc:picChg chg="del">
          <ac:chgData name="Paul LEGEARD" userId="73b5704d-da1d-4b70-8e12-6d54d32b01a3" providerId="ADAL" clId="{11E30BCA-5427-48A7-9089-5CE7CB5F003D}" dt="2023-04-24T06:45:54.679" v="12434" actId="478"/>
          <ac:picMkLst>
            <pc:docMk/>
            <pc:sldMk cId="1748526257" sldId="2147469843"/>
            <ac:picMk id="32" creationId="{0B72C91A-B39E-7E81-2448-2E032C990076}"/>
          </ac:picMkLst>
        </pc:picChg>
        <pc:picChg chg="add mod">
          <ac:chgData name="Paul LEGEARD" userId="73b5704d-da1d-4b70-8e12-6d54d32b01a3" providerId="ADAL" clId="{11E30BCA-5427-48A7-9089-5CE7CB5F003D}" dt="2023-04-24T08:17:20.238" v="14457" actId="1036"/>
          <ac:picMkLst>
            <pc:docMk/>
            <pc:sldMk cId="1748526257" sldId="2147469843"/>
            <ac:picMk id="34" creationId="{7089B073-1869-BD76-5A2D-36DE94D4B654}"/>
          </ac:picMkLst>
        </pc:picChg>
        <pc:picChg chg="add mod">
          <ac:chgData name="Paul LEGEARD" userId="73b5704d-da1d-4b70-8e12-6d54d32b01a3" providerId="ADAL" clId="{11E30BCA-5427-48A7-9089-5CE7CB5F003D}" dt="2023-04-24T08:17:20.238" v="14457" actId="1036"/>
          <ac:picMkLst>
            <pc:docMk/>
            <pc:sldMk cId="1748526257" sldId="2147469843"/>
            <ac:picMk id="37" creationId="{4CC7F4B1-A1CC-FBFE-B610-7589799424C9}"/>
          </ac:picMkLst>
        </pc:picChg>
        <pc:cxnChg chg="del">
          <ac:chgData name="Paul LEGEARD" userId="73b5704d-da1d-4b70-8e12-6d54d32b01a3" providerId="ADAL" clId="{11E30BCA-5427-48A7-9089-5CE7CB5F003D}" dt="2023-04-24T06:45:54.679" v="12434" actId="478"/>
          <ac:cxnSpMkLst>
            <pc:docMk/>
            <pc:sldMk cId="1748526257" sldId="2147469843"/>
            <ac:cxnSpMk id="35" creationId="{8243DB35-C530-2A11-0705-AE5560207C62}"/>
          </ac:cxnSpMkLst>
        </pc:cxnChg>
        <pc:cxnChg chg="add mod ord">
          <ac:chgData name="Paul LEGEARD" userId="73b5704d-da1d-4b70-8e12-6d54d32b01a3" providerId="ADAL" clId="{11E30BCA-5427-48A7-9089-5CE7CB5F003D}" dt="2023-04-24T08:17:24.158" v="14458" actId="14100"/>
          <ac:cxnSpMkLst>
            <pc:docMk/>
            <pc:sldMk cId="1748526257" sldId="2147469843"/>
            <ac:cxnSpMk id="43" creationId="{05E50EDD-C1F8-F87B-7BBE-86B1120DA553}"/>
          </ac:cxnSpMkLst>
        </pc:cxnChg>
        <pc:cxnChg chg="add del mod">
          <ac:chgData name="Paul LEGEARD" userId="73b5704d-da1d-4b70-8e12-6d54d32b01a3" providerId="ADAL" clId="{11E30BCA-5427-48A7-9089-5CE7CB5F003D}" dt="2023-04-24T08:15:14.030" v="14318" actId="478"/>
          <ac:cxnSpMkLst>
            <pc:docMk/>
            <pc:sldMk cId="1748526257" sldId="2147469843"/>
            <ac:cxnSpMk id="48" creationId="{0E0FCA72-AA9F-94EF-DAD9-5DB385ED083D}"/>
          </ac:cxnSpMkLst>
        </pc:cxnChg>
        <pc:cxnChg chg="add mod">
          <ac:chgData name="Paul LEGEARD" userId="73b5704d-da1d-4b70-8e12-6d54d32b01a3" providerId="ADAL" clId="{11E30BCA-5427-48A7-9089-5CE7CB5F003D}" dt="2023-04-24T08:17:20.238" v="14457" actId="1036"/>
          <ac:cxnSpMkLst>
            <pc:docMk/>
            <pc:sldMk cId="1748526257" sldId="2147469843"/>
            <ac:cxnSpMk id="50" creationId="{4DE2D6FD-5257-E475-6349-A19FCA503FBB}"/>
          </ac:cxnSpMkLst>
        </pc:cxnChg>
        <pc:cxnChg chg="add mod">
          <ac:chgData name="Paul LEGEARD" userId="73b5704d-da1d-4b70-8e12-6d54d32b01a3" providerId="ADAL" clId="{11E30BCA-5427-48A7-9089-5CE7CB5F003D}" dt="2023-04-24T08:17:20.238" v="14457" actId="1036"/>
          <ac:cxnSpMkLst>
            <pc:docMk/>
            <pc:sldMk cId="1748526257" sldId="2147469843"/>
            <ac:cxnSpMk id="51" creationId="{C74AFBBE-19D3-B7B0-73BE-F6AEF2741FD2}"/>
          </ac:cxnSpMkLst>
        </pc:cxnChg>
      </pc:sldChg>
      <pc:sldChg chg="addSp delSp modSp add mod">
        <pc:chgData name="Paul LEGEARD" userId="73b5704d-da1d-4b70-8e12-6d54d32b01a3" providerId="ADAL" clId="{11E30BCA-5427-48A7-9089-5CE7CB5F003D}" dt="2023-04-24T08:37:57.557" v="16181" actId="1035"/>
        <pc:sldMkLst>
          <pc:docMk/>
          <pc:sldMk cId="2262956167" sldId="2147469844"/>
        </pc:sldMkLst>
        <pc:spChg chg="mod">
          <ac:chgData name="Paul LEGEARD" userId="73b5704d-da1d-4b70-8e12-6d54d32b01a3" providerId="ADAL" clId="{11E30BCA-5427-48A7-9089-5CE7CB5F003D}" dt="2023-04-24T08:37:57.557" v="16181" actId="1035"/>
          <ac:spMkLst>
            <pc:docMk/>
            <pc:sldMk cId="2262956167" sldId="2147469844"/>
            <ac:spMk id="2" creationId="{F0003610-ECB2-D62E-BE3D-5E0AB4D9D1CB}"/>
          </ac:spMkLst>
        </pc:spChg>
        <pc:spChg chg="add mod ord">
          <ac:chgData name="Paul LEGEARD" userId="73b5704d-da1d-4b70-8e12-6d54d32b01a3" providerId="ADAL" clId="{11E30BCA-5427-48A7-9089-5CE7CB5F003D}" dt="2023-04-24T08:37:57.557" v="16181" actId="1035"/>
          <ac:spMkLst>
            <pc:docMk/>
            <pc:sldMk cId="2262956167" sldId="2147469844"/>
            <ac:spMk id="3" creationId="{E07A262A-B7A1-3F9C-4BDC-B5EAA677F020}"/>
          </ac:spMkLst>
        </pc:spChg>
        <pc:spChg chg="mod">
          <ac:chgData name="Paul LEGEARD" userId="73b5704d-da1d-4b70-8e12-6d54d32b01a3" providerId="ADAL" clId="{11E30BCA-5427-48A7-9089-5CE7CB5F003D}" dt="2023-04-24T06:49:06.251" v="12721" actId="20577"/>
          <ac:spMkLst>
            <pc:docMk/>
            <pc:sldMk cId="2262956167" sldId="2147469844"/>
            <ac:spMk id="4" creationId="{52AFB3F8-88A7-4D69-8A52-45D00774625C}"/>
          </ac:spMkLst>
        </pc:spChg>
        <pc:spChg chg="mod">
          <ac:chgData name="Paul LEGEARD" userId="73b5704d-da1d-4b70-8e12-6d54d32b01a3" providerId="ADAL" clId="{11E30BCA-5427-48A7-9089-5CE7CB5F003D}" dt="2023-04-24T08:37:57.557" v="16181" actId="1035"/>
          <ac:spMkLst>
            <pc:docMk/>
            <pc:sldMk cId="2262956167" sldId="2147469844"/>
            <ac:spMk id="5" creationId="{D784FBD7-C8A9-73F2-3BE3-D101C65137E9}"/>
          </ac:spMkLst>
        </pc:spChg>
        <pc:spChg chg="mod">
          <ac:chgData name="Paul LEGEARD" userId="73b5704d-da1d-4b70-8e12-6d54d32b01a3" providerId="ADAL" clId="{11E30BCA-5427-48A7-9089-5CE7CB5F003D}" dt="2023-04-24T08:37:57.557" v="16181" actId="1035"/>
          <ac:spMkLst>
            <pc:docMk/>
            <pc:sldMk cId="2262956167" sldId="2147469844"/>
            <ac:spMk id="7" creationId="{2AFF4FFE-C847-24A9-F9BD-71323C175895}"/>
          </ac:spMkLst>
        </pc:spChg>
        <pc:spChg chg="mod">
          <ac:chgData name="Paul LEGEARD" userId="73b5704d-da1d-4b70-8e12-6d54d32b01a3" providerId="ADAL" clId="{11E30BCA-5427-48A7-9089-5CE7CB5F003D}" dt="2023-04-24T08:37:57.557" v="16181" actId="1035"/>
          <ac:spMkLst>
            <pc:docMk/>
            <pc:sldMk cId="2262956167" sldId="2147469844"/>
            <ac:spMk id="9" creationId="{75FDA101-D453-956A-1E26-7CE285D04EB0}"/>
          </ac:spMkLst>
        </pc:spChg>
        <pc:spChg chg="add mod">
          <ac:chgData name="Paul LEGEARD" userId="73b5704d-da1d-4b70-8e12-6d54d32b01a3" providerId="ADAL" clId="{11E30BCA-5427-48A7-9089-5CE7CB5F003D}" dt="2023-04-24T08:37:57.557" v="16181" actId="1035"/>
          <ac:spMkLst>
            <pc:docMk/>
            <pc:sldMk cId="2262956167" sldId="2147469844"/>
            <ac:spMk id="11" creationId="{36570248-188F-5A58-D713-64286703C66A}"/>
          </ac:spMkLst>
        </pc:spChg>
        <pc:spChg chg="del">
          <ac:chgData name="Paul LEGEARD" userId="73b5704d-da1d-4b70-8e12-6d54d32b01a3" providerId="ADAL" clId="{11E30BCA-5427-48A7-9089-5CE7CB5F003D}" dt="2023-04-24T08:37:51.459" v="16156" actId="478"/>
          <ac:spMkLst>
            <pc:docMk/>
            <pc:sldMk cId="2262956167" sldId="2147469844"/>
            <ac:spMk id="16" creationId="{D3C71103-432D-A1B4-CFC5-95BAB846BD47}"/>
          </ac:spMkLst>
        </pc:spChg>
        <pc:spChg chg="mod">
          <ac:chgData name="Paul LEGEARD" userId="73b5704d-da1d-4b70-8e12-6d54d32b01a3" providerId="ADAL" clId="{11E30BCA-5427-48A7-9089-5CE7CB5F003D}" dt="2023-04-24T08:37:57.557" v="16181" actId="1035"/>
          <ac:spMkLst>
            <pc:docMk/>
            <pc:sldMk cId="2262956167" sldId="2147469844"/>
            <ac:spMk id="23" creationId="{F7F69A0C-5BA8-8DBC-E72F-4EB06D676B96}"/>
          </ac:spMkLst>
        </pc:spChg>
        <pc:spChg chg="mod">
          <ac:chgData name="Paul LEGEARD" userId="73b5704d-da1d-4b70-8e12-6d54d32b01a3" providerId="ADAL" clId="{11E30BCA-5427-48A7-9089-5CE7CB5F003D}" dt="2023-04-24T08:37:57.557" v="16181" actId="1035"/>
          <ac:spMkLst>
            <pc:docMk/>
            <pc:sldMk cId="2262956167" sldId="2147469844"/>
            <ac:spMk id="39" creationId="{05F26576-78FB-19C0-A608-C117F11F95DD}"/>
          </ac:spMkLst>
        </pc:spChg>
        <pc:graphicFrameChg chg="mod modGraphic">
          <ac:chgData name="Paul LEGEARD" userId="73b5704d-da1d-4b70-8e12-6d54d32b01a3" providerId="ADAL" clId="{11E30BCA-5427-48A7-9089-5CE7CB5F003D}" dt="2023-04-24T08:37:57.557" v="16181" actId="1035"/>
          <ac:graphicFrameMkLst>
            <pc:docMk/>
            <pc:sldMk cId="2262956167" sldId="2147469844"/>
            <ac:graphicFrameMk id="10" creationId="{C6B30C97-CBAA-3C98-4F2A-BAEF0F990C49}"/>
          </ac:graphicFrameMkLst>
        </pc:graphicFrameChg>
        <pc:picChg chg="mod">
          <ac:chgData name="Paul LEGEARD" userId="73b5704d-da1d-4b70-8e12-6d54d32b01a3" providerId="ADAL" clId="{11E30BCA-5427-48A7-9089-5CE7CB5F003D}" dt="2023-04-24T08:37:57.557" v="16181" actId="1035"/>
          <ac:picMkLst>
            <pc:docMk/>
            <pc:sldMk cId="2262956167" sldId="2147469844"/>
            <ac:picMk id="6" creationId="{E0730B0E-44F3-E317-66E6-3576AA4D9482}"/>
          </ac:picMkLst>
        </pc:picChg>
        <pc:picChg chg="mod">
          <ac:chgData name="Paul LEGEARD" userId="73b5704d-da1d-4b70-8e12-6d54d32b01a3" providerId="ADAL" clId="{11E30BCA-5427-48A7-9089-5CE7CB5F003D}" dt="2023-04-24T08:37:57.557" v="16181" actId="1035"/>
          <ac:picMkLst>
            <pc:docMk/>
            <pc:sldMk cId="2262956167" sldId="2147469844"/>
            <ac:picMk id="12" creationId="{74F9D390-8C3F-25CD-8B25-FFD0A4271A3B}"/>
          </ac:picMkLst>
        </pc:picChg>
        <pc:picChg chg="mod">
          <ac:chgData name="Paul LEGEARD" userId="73b5704d-da1d-4b70-8e12-6d54d32b01a3" providerId="ADAL" clId="{11E30BCA-5427-48A7-9089-5CE7CB5F003D}" dt="2023-04-24T08:37:57.557" v="16181" actId="1035"/>
          <ac:picMkLst>
            <pc:docMk/>
            <pc:sldMk cId="2262956167" sldId="2147469844"/>
            <ac:picMk id="15" creationId="{85F52B30-27F0-3EDF-5C85-48D499623CE0}"/>
          </ac:picMkLst>
        </pc:picChg>
        <pc:picChg chg="mod">
          <ac:chgData name="Paul LEGEARD" userId="73b5704d-da1d-4b70-8e12-6d54d32b01a3" providerId="ADAL" clId="{11E30BCA-5427-48A7-9089-5CE7CB5F003D}" dt="2023-04-24T08:37:57.557" v="16181" actId="1035"/>
          <ac:picMkLst>
            <pc:docMk/>
            <pc:sldMk cId="2262956167" sldId="2147469844"/>
            <ac:picMk id="18" creationId="{DCDAA4FE-DC89-7972-5F55-20457717E68B}"/>
          </ac:picMkLst>
        </pc:picChg>
        <pc:picChg chg="mod">
          <ac:chgData name="Paul LEGEARD" userId="73b5704d-da1d-4b70-8e12-6d54d32b01a3" providerId="ADAL" clId="{11E30BCA-5427-48A7-9089-5CE7CB5F003D}" dt="2023-04-24T08:37:57.557" v="16181" actId="1035"/>
          <ac:picMkLst>
            <pc:docMk/>
            <pc:sldMk cId="2262956167" sldId="2147469844"/>
            <ac:picMk id="27" creationId="{69DC3292-9359-3240-B380-6CD73E3B86D2}"/>
          </ac:picMkLst>
        </pc:picChg>
        <pc:picChg chg="mod">
          <ac:chgData name="Paul LEGEARD" userId="73b5704d-da1d-4b70-8e12-6d54d32b01a3" providerId="ADAL" clId="{11E30BCA-5427-48A7-9089-5CE7CB5F003D}" dt="2023-04-24T08:37:57.557" v="16181" actId="1035"/>
          <ac:picMkLst>
            <pc:docMk/>
            <pc:sldMk cId="2262956167" sldId="2147469844"/>
            <ac:picMk id="30" creationId="{56E320E6-7926-02FB-01E6-31763117BDC3}"/>
          </ac:picMkLst>
        </pc:picChg>
        <pc:picChg chg="mod">
          <ac:chgData name="Paul LEGEARD" userId="73b5704d-da1d-4b70-8e12-6d54d32b01a3" providerId="ADAL" clId="{11E30BCA-5427-48A7-9089-5CE7CB5F003D}" dt="2023-04-24T08:37:57.557" v="16181" actId="1035"/>
          <ac:picMkLst>
            <pc:docMk/>
            <pc:sldMk cId="2262956167" sldId="2147469844"/>
            <ac:picMk id="32" creationId="{0B72C91A-B39E-7E81-2448-2E032C990076}"/>
          </ac:picMkLst>
        </pc:picChg>
        <pc:cxnChg chg="mod">
          <ac:chgData name="Paul LEGEARD" userId="73b5704d-da1d-4b70-8e12-6d54d32b01a3" providerId="ADAL" clId="{11E30BCA-5427-48A7-9089-5CE7CB5F003D}" dt="2023-04-24T08:37:57.557" v="16181" actId="1035"/>
          <ac:cxnSpMkLst>
            <pc:docMk/>
            <pc:sldMk cId="2262956167" sldId="2147469844"/>
            <ac:cxnSpMk id="35" creationId="{8243DB35-C530-2A11-0705-AE5560207C62}"/>
          </ac:cxnSpMkLst>
        </pc:cxnChg>
      </pc:sldChg>
      <pc:sldChg chg="add del">
        <pc:chgData name="Paul LEGEARD" userId="73b5704d-da1d-4b70-8e12-6d54d32b01a3" providerId="ADAL" clId="{11E30BCA-5427-48A7-9089-5CE7CB5F003D}" dt="2023-04-24T06:48:33.506" v="12632"/>
        <pc:sldMkLst>
          <pc:docMk/>
          <pc:sldMk cId="2179485010" sldId="2147469845"/>
        </pc:sldMkLst>
      </pc:sldChg>
      <pc:sldMasterChg chg="delSldLayout">
        <pc:chgData name="Paul LEGEARD" userId="73b5704d-da1d-4b70-8e12-6d54d32b01a3" providerId="ADAL" clId="{11E30BCA-5427-48A7-9089-5CE7CB5F003D}" dt="2023-04-18T17:40:22.115" v="1073" actId="47"/>
        <pc:sldMasterMkLst>
          <pc:docMk/>
          <pc:sldMasterMk cId="3605024799" sldId="2147484446"/>
        </pc:sldMasterMkLst>
        <pc:sldLayoutChg chg="del">
          <pc:chgData name="Paul LEGEARD" userId="73b5704d-da1d-4b70-8e12-6d54d32b01a3" providerId="ADAL" clId="{11E30BCA-5427-48A7-9089-5CE7CB5F003D}" dt="2023-04-18T17:40:22.115" v="1073" actId="47"/>
          <pc:sldLayoutMkLst>
            <pc:docMk/>
            <pc:sldMasterMk cId="3605024799" sldId="2147484446"/>
            <pc:sldLayoutMk cId="1303118865" sldId="2147484564"/>
          </pc:sldLayoutMkLst>
        </pc:sldLayoutChg>
      </pc:sldMasterChg>
      <pc:sldMasterChg chg="del delSldLayout">
        <pc:chgData name="Paul LEGEARD" userId="73b5704d-da1d-4b70-8e12-6d54d32b01a3" providerId="ADAL" clId="{11E30BCA-5427-48A7-9089-5CE7CB5F003D}" dt="2023-04-18T17:58:16.111" v="2129" actId="47"/>
        <pc:sldMasterMkLst>
          <pc:docMk/>
          <pc:sldMasterMk cId="4262078215" sldId="2147484565"/>
        </pc:sldMasterMkLst>
        <pc:sldLayoutChg chg="del">
          <pc:chgData name="Paul LEGEARD" userId="73b5704d-da1d-4b70-8e12-6d54d32b01a3" providerId="ADAL" clId="{11E30BCA-5427-48A7-9089-5CE7CB5F003D}" dt="2023-04-18T17:58:16.111" v="2129" actId="47"/>
          <pc:sldLayoutMkLst>
            <pc:docMk/>
            <pc:sldMasterMk cId="4262078215" sldId="2147484565"/>
            <pc:sldLayoutMk cId="4105012288" sldId="2147484566"/>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2235528345" sldId="2147484567"/>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1144852489" sldId="2147484568"/>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2449996302" sldId="2147484569"/>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1193161571" sldId="2147484570"/>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1295827097" sldId="2147484571"/>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3606575358" sldId="2147484572"/>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3150324140" sldId="2147484573"/>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3499040404" sldId="2147484574"/>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1334236443" sldId="2147484575"/>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1718458999" sldId="2147484576"/>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2101918997" sldId="2147484577"/>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2314039632" sldId="2147484578"/>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1052410820" sldId="2147484579"/>
          </pc:sldLayoutMkLst>
        </pc:sldLayoutChg>
        <pc:sldLayoutChg chg="del">
          <pc:chgData name="Paul LEGEARD" userId="73b5704d-da1d-4b70-8e12-6d54d32b01a3" providerId="ADAL" clId="{11E30BCA-5427-48A7-9089-5CE7CB5F003D}" dt="2023-04-18T17:58:16.111" v="2129" actId="47"/>
          <pc:sldLayoutMkLst>
            <pc:docMk/>
            <pc:sldMasterMk cId="4262078215" sldId="2147484565"/>
            <pc:sldLayoutMk cId="846148227" sldId="2147484580"/>
          </pc:sldLayoutMkLst>
        </pc:sldLayoutChg>
      </pc:sldMasterChg>
    </pc:docChg>
  </pc:docChgLst>
  <pc:docChgLst>
    <pc:chgData name="Paul LEGEARD" userId="73b5704d-da1d-4b70-8e12-6d54d32b01a3" providerId="ADAL" clId="{DE80CFAE-6707-4FDE-B875-0F457F49933B}"/>
    <pc:docChg chg="undo custSel addSld delSld modSld sldOrd">
      <pc:chgData name="Paul LEGEARD" userId="73b5704d-da1d-4b70-8e12-6d54d32b01a3" providerId="ADAL" clId="{DE80CFAE-6707-4FDE-B875-0F457F49933B}" dt="2023-06-08T06:34:53.207" v="1964"/>
      <pc:docMkLst>
        <pc:docMk/>
      </pc:docMkLst>
      <pc:sldChg chg="modSp mod">
        <pc:chgData name="Paul LEGEARD" userId="73b5704d-da1d-4b70-8e12-6d54d32b01a3" providerId="ADAL" clId="{DE80CFAE-6707-4FDE-B875-0F457F49933B}" dt="2023-06-08T05:54:40.514" v="84" actId="20577"/>
        <pc:sldMkLst>
          <pc:docMk/>
          <pc:sldMk cId="1065887249" sldId="256"/>
        </pc:sldMkLst>
        <pc:spChg chg="mod">
          <ac:chgData name="Paul LEGEARD" userId="73b5704d-da1d-4b70-8e12-6d54d32b01a3" providerId="ADAL" clId="{DE80CFAE-6707-4FDE-B875-0F457F49933B}" dt="2023-06-08T05:54:26.687" v="50" actId="20577"/>
          <ac:spMkLst>
            <pc:docMk/>
            <pc:sldMk cId="1065887249" sldId="256"/>
            <ac:spMk id="3" creationId="{9E91F614-89FB-4354-B5E3-ECD766CDC165}"/>
          </ac:spMkLst>
        </pc:spChg>
        <pc:spChg chg="mod">
          <ac:chgData name="Paul LEGEARD" userId="73b5704d-da1d-4b70-8e12-6d54d32b01a3" providerId="ADAL" clId="{DE80CFAE-6707-4FDE-B875-0F457F49933B}" dt="2023-06-08T05:54:40.514" v="84" actId="20577"/>
          <ac:spMkLst>
            <pc:docMk/>
            <pc:sldMk cId="1065887249" sldId="256"/>
            <ac:spMk id="7" creationId="{BF1A3B6F-14E8-4284-B1D9-EED8011BDF16}"/>
          </ac:spMkLst>
        </pc:spChg>
      </pc:sldChg>
      <pc:sldChg chg="modSp mod">
        <pc:chgData name="Paul LEGEARD" userId="73b5704d-da1d-4b70-8e12-6d54d32b01a3" providerId="ADAL" clId="{DE80CFAE-6707-4FDE-B875-0F457F49933B}" dt="2023-06-08T06:15:56.354" v="1948" actId="20577"/>
        <pc:sldMkLst>
          <pc:docMk/>
          <pc:sldMk cId="447334412" sldId="2146849061"/>
        </pc:sldMkLst>
        <pc:spChg chg="mod">
          <ac:chgData name="Paul LEGEARD" userId="73b5704d-da1d-4b70-8e12-6d54d32b01a3" providerId="ADAL" clId="{DE80CFAE-6707-4FDE-B875-0F457F49933B}" dt="2023-06-08T06:15:56.354" v="1948" actId="20577"/>
          <ac:spMkLst>
            <pc:docMk/>
            <pc:sldMk cId="447334412" sldId="2146849061"/>
            <ac:spMk id="3" creationId="{5651475B-1860-4269-9502-E1ED8141E2C6}"/>
          </ac:spMkLst>
        </pc:spChg>
      </pc:sldChg>
      <pc:sldChg chg="ord">
        <pc:chgData name="Paul LEGEARD" userId="73b5704d-da1d-4b70-8e12-6d54d32b01a3" providerId="ADAL" clId="{DE80CFAE-6707-4FDE-B875-0F457F49933B}" dt="2023-06-08T06:05:21.507" v="410"/>
        <pc:sldMkLst>
          <pc:docMk/>
          <pc:sldMk cId="144615472" sldId="2147374870"/>
        </pc:sldMkLst>
      </pc:sldChg>
      <pc:sldChg chg="add">
        <pc:chgData name="Paul LEGEARD" userId="73b5704d-da1d-4b70-8e12-6d54d32b01a3" providerId="ADAL" clId="{DE80CFAE-6707-4FDE-B875-0F457F49933B}" dt="2023-06-08T06:24:59.570" v="1961"/>
        <pc:sldMkLst>
          <pc:docMk/>
          <pc:sldMk cId="3932110582" sldId="2147468221"/>
        </pc:sldMkLst>
      </pc:sldChg>
      <pc:sldChg chg="del">
        <pc:chgData name="Paul LEGEARD" userId="73b5704d-da1d-4b70-8e12-6d54d32b01a3" providerId="ADAL" clId="{DE80CFAE-6707-4FDE-B875-0F457F49933B}" dt="2023-06-08T06:04:15.352" v="280" actId="47"/>
        <pc:sldMkLst>
          <pc:docMk/>
          <pc:sldMk cId="3648747636" sldId="2147469794"/>
        </pc:sldMkLst>
      </pc:sldChg>
      <pc:sldChg chg="del">
        <pc:chgData name="Paul LEGEARD" userId="73b5704d-da1d-4b70-8e12-6d54d32b01a3" providerId="ADAL" clId="{DE80CFAE-6707-4FDE-B875-0F457F49933B}" dt="2023-06-08T06:13:04.385" v="1386" actId="47"/>
        <pc:sldMkLst>
          <pc:docMk/>
          <pc:sldMk cId="487642081" sldId="2147469795"/>
        </pc:sldMkLst>
      </pc:sldChg>
      <pc:sldChg chg="add ord">
        <pc:chgData name="Paul LEGEARD" userId="73b5704d-da1d-4b70-8e12-6d54d32b01a3" providerId="ADAL" clId="{DE80CFAE-6707-4FDE-B875-0F457F49933B}" dt="2023-06-08T06:08:04.476" v="555"/>
        <pc:sldMkLst>
          <pc:docMk/>
          <pc:sldMk cId="1823401435" sldId="2147469829"/>
        </pc:sldMkLst>
      </pc:sldChg>
      <pc:sldChg chg="del">
        <pc:chgData name="Paul LEGEARD" userId="73b5704d-da1d-4b70-8e12-6d54d32b01a3" providerId="ADAL" clId="{DE80CFAE-6707-4FDE-B875-0F457F49933B}" dt="2023-06-08T06:05:24.167" v="411" actId="47"/>
        <pc:sldMkLst>
          <pc:docMk/>
          <pc:sldMk cId="4184053876" sldId="2147469830"/>
        </pc:sldMkLst>
      </pc:sldChg>
      <pc:sldChg chg="add del">
        <pc:chgData name="Paul LEGEARD" userId="73b5704d-da1d-4b70-8e12-6d54d32b01a3" providerId="ADAL" clId="{DE80CFAE-6707-4FDE-B875-0F457F49933B}" dt="2023-06-08T06:11:58.068" v="1113" actId="47"/>
        <pc:sldMkLst>
          <pc:docMk/>
          <pc:sldMk cId="3826385597" sldId="2147469831"/>
        </pc:sldMkLst>
      </pc:sldChg>
      <pc:sldChg chg="modSp add mod">
        <pc:chgData name="Paul LEGEARD" userId="73b5704d-da1d-4b70-8e12-6d54d32b01a3" providerId="ADAL" clId="{DE80CFAE-6707-4FDE-B875-0F457F49933B}" dt="2023-06-08T06:12:42.510" v="1383" actId="20577"/>
        <pc:sldMkLst>
          <pc:docMk/>
          <pc:sldMk cId="1700866248" sldId="2147469832"/>
        </pc:sldMkLst>
        <pc:spChg chg="mod">
          <ac:chgData name="Paul LEGEARD" userId="73b5704d-da1d-4b70-8e12-6d54d32b01a3" providerId="ADAL" clId="{DE80CFAE-6707-4FDE-B875-0F457F49933B}" dt="2023-06-08T06:12:42.510" v="1383" actId="20577"/>
          <ac:spMkLst>
            <pc:docMk/>
            <pc:sldMk cId="1700866248" sldId="2147469832"/>
            <ac:spMk id="7" creationId="{A42F734F-C679-41EE-BF16-ADF349D744C0}"/>
          </ac:spMkLst>
        </pc:spChg>
      </pc:sldChg>
      <pc:sldChg chg="add del">
        <pc:chgData name="Paul LEGEARD" userId="73b5704d-da1d-4b70-8e12-6d54d32b01a3" providerId="ADAL" clId="{DE80CFAE-6707-4FDE-B875-0F457F49933B}" dt="2023-06-08T06:12:01.658" v="1114" actId="2696"/>
        <pc:sldMkLst>
          <pc:docMk/>
          <pc:sldMk cId="4111940433" sldId="2147469832"/>
        </pc:sldMkLst>
      </pc:sldChg>
      <pc:sldChg chg="del">
        <pc:chgData name="Paul LEGEARD" userId="73b5704d-da1d-4b70-8e12-6d54d32b01a3" providerId="ADAL" clId="{DE80CFAE-6707-4FDE-B875-0F457F49933B}" dt="2023-06-08T06:13:04.841" v="1387" actId="47"/>
        <pc:sldMkLst>
          <pc:docMk/>
          <pc:sldMk cId="796615112" sldId="2147469839"/>
        </pc:sldMkLst>
      </pc:sldChg>
      <pc:sldChg chg="addSp delSp modSp mod">
        <pc:chgData name="Paul LEGEARD" userId="73b5704d-da1d-4b70-8e12-6d54d32b01a3" providerId="ADAL" clId="{DE80CFAE-6707-4FDE-B875-0F457F49933B}" dt="2023-06-08T06:08:00.611" v="553" actId="478"/>
        <pc:sldMkLst>
          <pc:docMk/>
          <pc:sldMk cId="1760373903" sldId="2147469841"/>
        </pc:sldMkLst>
        <pc:spChg chg="add mod">
          <ac:chgData name="Paul LEGEARD" userId="73b5704d-da1d-4b70-8e12-6d54d32b01a3" providerId="ADAL" clId="{DE80CFAE-6707-4FDE-B875-0F457F49933B}" dt="2023-06-08T06:07:58.203" v="551"/>
          <ac:spMkLst>
            <pc:docMk/>
            <pc:sldMk cId="1760373903" sldId="2147469841"/>
            <ac:spMk id="2" creationId="{D11DD2C8-DF7B-6061-1524-FBE33624B740}"/>
          </ac:spMkLst>
        </pc:spChg>
        <pc:spChg chg="del">
          <ac:chgData name="Paul LEGEARD" userId="73b5704d-da1d-4b70-8e12-6d54d32b01a3" providerId="ADAL" clId="{DE80CFAE-6707-4FDE-B875-0F457F49933B}" dt="2023-06-08T06:07:51.559" v="550" actId="478"/>
          <ac:spMkLst>
            <pc:docMk/>
            <pc:sldMk cId="1760373903" sldId="2147469841"/>
            <ac:spMk id="3" creationId="{868D8618-14FB-16D5-024A-4010A2700A05}"/>
          </ac:spMkLst>
        </pc:spChg>
        <pc:spChg chg="mod">
          <ac:chgData name="Paul LEGEARD" userId="73b5704d-da1d-4b70-8e12-6d54d32b01a3" providerId="ADAL" clId="{DE80CFAE-6707-4FDE-B875-0F457F49933B}" dt="2023-06-08T06:07:46.649" v="547" actId="20577"/>
          <ac:spMkLst>
            <pc:docMk/>
            <pc:sldMk cId="1760373903" sldId="2147469841"/>
            <ac:spMk id="4" creationId="{52AFB3F8-88A7-4D69-8A52-45D00774625C}"/>
          </ac:spMkLst>
        </pc:spChg>
        <pc:spChg chg="add del mod">
          <ac:chgData name="Paul LEGEARD" userId="73b5704d-da1d-4b70-8e12-6d54d32b01a3" providerId="ADAL" clId="{DE80CFAE-6707-4FDE-B875-0F457F49933B}" dt="2023-06-08T06:08:00.611" v="553" actId="478"/>
          <ac:spMkLst>
            <pc:docMk/>
            <pc:sldMk cId="1760373903" sldId="2147469841"/>
            <ac:spMk id="5" creationId="{E7127955-5318-9BDF-A2D1-A80B25CF7985}"/>
          </ac:spMkLst>
        </pc:spChg>
        <pc:spChg chg="del">
          <ac:chgData name="Paul LEGEARD" userId="73b5704d-da1d-4b70-8e12-6d54d32b01a3" providerId="ADAL" clId="{DE80CFAE-6707-4FDE-B875-0F457F49933B}" dt="2023-06-08T06:07:51.559" v="550" actId="478"/>
          <ac:spMkLst>
            <pc:docMk/>
            <pc:sldMk cId="1760373903" sldId="2147469841"/>
            <ac:spMk id="11" creationId="{BBD4C998-F61B-11EC-D7BA-8CC4A4438633}"/>
          </ac:spMkLst>
        </pc:spChg>
        <pc:spChg chg="del">
          <ac:chgData name="Paul LEGEARD" userId="73b5704d-da1d-4b70-8e12-6d54d32b01a3" providerId="ADAL" clId="{DE80CFAE-6707-4FDE-B875-0F457F49933B}" dt="2023-06-08T06:07:51.559" v="550" actId="478"/>
          <ac:spMkLst>
            <pc:docMk/>
            <pc:sldMk cId="1760373903" sldId="2147469841"/>
            <ac:spMk id="14" creationId="{B66A1D62-CAF4-FC08-0664-A4C977496351}"/>
          </ac:spMkLst>
        </pc:spChg>
        <pc:spChg chg="del mod">
          <ac:chgData name="Paul LEGEARD" userId="73b5704d-da1d-4b70-8e12-6d54d32b01a3" providerId="ADAL" clId="{DE80CFAE-6707-4FDE-B875-0F457F49933B}" dt="2023-06-08T06:07:51.559" v="550" actId="478"/>
          <ac:spMkLst>
            <pc:docMk/>
            <pc:sldMk cId="1760373903" sldId="2147469841"/>
            <ac:spMk id="16" creationId="{D3C71103-432D-A1B4-CFC5-95BAB846BD47}"/>
          </ac:spMkLst>
        </pc:spChg>
        <pc:spChg chg="del">
          <ac:chgData name="Paul LEGEARD" userId="73b5704d-da1d-4b70-8e12-6d54d32b01a3" providerId="ADAL" clId="{DE80CFAE-6707-4FDE-B875-0F457F49933B}" dt="2023-06-08T06:07:51.559" v="550" actId="478"/>
          <ac:spMkLst>
            <pc:docMk/>
            <pc:sldMk cId="1760373903" sldId="2147469841"/>
            <ac:spMk id="17" creationId="{8B1D9E07-6CE4-9EEF-BC72-0452D9E9DE54}"/>
          </ac:spMkLst>
        </pc:spChg>
        <pc:spChg chg="del">
          <ac:chgData name="Paul LEGEARD" userId="73b5704d-da1d-4b70-8e12-6d54d32b01a3" providerId="ADAL" clId="{DE80CFAE-6707-4FDE-B875-0F457F49933B}" dt="2023-06-08T06:07:51.559" v="550" actId="478"/>
          <ac:spMkLst>
            <pc:docMk/>
            <pc:sldMk cId="1760373903" sldId="2147469841"/>
            <ac:spMk id="24" creationId="{E7FB68C9-BA4F-694B-4F8A-F6489CA436E3}"/>
          </ac:spMkLst>
        </pc:spChg>
        <pc:spChg chg="del">
          <ac:chgData name="Paul LEGEARD" userId="73b5704d-da1d-4b70-8e12-6d54d32b01a3" providerId="ADAL" clId="{DE80CFAE-6707-4FDE-B875-0F457F49933B}" dt="2023-06-08T06:07:51.559" v="550" actId="478"/>
          <ac:spMkLst>
            <pc:docMk/>
            <pc:sldMk cId="1760373903" sldId="2147469841"/>
            <ac:spMk id="28" creationId="{799337D2-BF00-8CCC-981F-7F23EBAD5088}"/>
          </ac:spMkLst>
        </pc:spChg>
        <pc:spChg chg="del">
          <ac:chgData name="Paul LEGEARD" userId="73b5704d-da1d-4b70-8e12-6d54d32b01a3" providerId="ADAL" clId="{DE80CFAE-6707-4FDE-B875-0F457F49933B}" dt="2023-06-08T06:07:51.559" v="550" actId="478"/>
          <ac:spMkLst>
            <pc:docMk/>
            <pc:sldMk cId="1760373903" sldId="2147469841"/>
            <ac:spMk id="29" creationId="{E4AB7EC6-8D76-348F-D989-50593C8CA42B}"/>
          </ac:spMkLst>
        </pc:spChg>
        <pc:spChg chg="del">
          <ac:chgData name="Paul LEGEARD" userId="73b5704d-da1d-4b70-8e12-6d54d32b01a3" providerId="ADAL" clId="{DE80CFAE-6707-4FDE-B875-0F457F49933B}" dt="2023-06-08T06:07:51.559" v="550" actId="478"/>
          <ac:spMkLst>
            <pc:docMk/>
            <pc:sldMk cId="1760373903" sldId="2147469841"/>
            <ac:spMk id="31" creationId="{9507987D-C793-F78F-0773-1B20406454F7}"/>
          </ac:spMkLst>
        </pc:spChg>
        <pc:spChg chg="del">
          <ac:chgData name="Paul LEGEARD" userId="73b5704d-da1d-4b70-8e12-6d54d32b01a3" providerId="ADAL" clId="{DE80CFAE-6707-4FDE-B875-0F457F49933B}" dt="2023-06-08T06:07:51.559" v="550" actId="478"/>
          <ac:spMkLst>
            <pc:docMk/>
            <pc:sldMk cId="1760373903" sldId="2147469841"/>
            <ac:spMk id="36" creationId="{81DE215E-8491-D942-CBE0-5E903EBEE6E9}"/>
          </ac:spMkLst>
        </pc:spChg>
        <pc:spChg chg="del">
          <ac:chgData name="Paul LEGEARD" userId="73b5704d-da1d-4b70-8e12-6d54d32b01a3" providerId="ADAL" clId="{DE80CFAE-6707-4FDE-B875-0F457F49933B}" dt="2023-06-08T06:07:51.559" v="550" actId="478"/>
          <ac:spMkLst>
            <pc:docMk/>
            <pc:sldMk cId="1760373903" sldId="2147469841"/>
            <ac:spMk id="37" creationId="{21F5AE47-9593-69FC-C3A2-204CC0F6FD94}"/>
          </ac:spMkLst>
        </pc:spChg>
        <pc:spChg chg="del">
          <ac:chgData name="Paul LEGEARD" userId="73b5704d-da1d-4b70-8e12-6d54d32b01a3" providerId="ADAL" clId="{DE80CFAE-6707-4FDE-B875-0F457F49933B}" dt="2023-06-08T06:07:51.559" v="550" actId="478"/>
          <ac:spMkLst>
            <pc:docMk/>
            <pc:sldMk cId="1760373903" sldId="2147469841"/>
            <ac:spMk id="38" creationId="{D556DC16-60D0-1756-4D21-B7FEE30E8240}"/>
          </ac:spMkLst>
        </pc:spChg>
        <pc:picChg chg="del">
          <ac:chgData name="Paul LEGEARD" userId="73b5704d-da1d-4b70-8e12-6d54d32b01a3" providerId="ADAL" clId="{DE80CFAE-6707-4FDE-B875-0F457F49933B}" dt="2023-06-08T06:07:51.559" v="550" actId="478"/>
          <ac:picMkLst>
            <pc:docMk/>
            <pc:sldMk cId="1760373903" sldId="2147469841"/>
            <ac:picMk id="13" creationId="{0EB5BF46-D5C2-39BE-A57B-BBCF9E2CA004}"/>
          </ac:picMkLst>
        </pc:picChg>
        <pc:picChg chg="del">
          <ac:chgData name="Paul LEGEARD" userId="73b5704d-da1d-4b70-8e12-6d54d32b01a3" providerId="ADAL" clId="{DE80CFAE-6707-4FDE-B875-0F457F49933B}" dt="2023-06-08T06:07:51.559" v="550" actId="478"/>
          <ac:picMkLst>
            <pc:docMk/>
            <pc:sldMk cId="1760373903" sldId="2147469841"/>
            <ac:picMk id="19" creationId="{B2CCE6E9-C54B-9C42-266D-3D404C6E07E0}"/>
          </ac:picMkLst>
        </pc:picChg>
        <pc:picChg chg="del">
          <ac:chgData name="Paul LEGEARD" userId="73b5704d-da1d-4b70-8e12-6d54d32b01a3" providerId="ADAL" clId="{DE80CFAE-6707-4FDE-B875-0F457F49933B}" dt="2023-06-08T06:07:51.559" v="550" actId="478"/>
          <ac:picMkLst>
            <pc:docMk/>
            <pc:sldMk cId="1760373903" sldId="2147469841"/>
            <ac:picMk id="26" creationId="{22815548-EFF1-D305-4AFA-1848DC1A726F}"/>
          </ac:picMkLst>
        </pc:picChg>
        <pc:picChg chg="del">
          <ac:chgData name="Paul LEGEARD" userId="73b5704d-da1d-4b70-8e12-6d54d32b01a3" providerId="ADAL" clId="{DE80CFAE-6707-4FDE-B875-0F457F49933B}" dt="2023-06-08T06:07:51.559" v="550" actId="478"/>
          <ac:picMkLst>
            <pc:docMk/>
            <pc:sldMk cId="1760373903" sldId="2147469841"/>
            <ac:picMk id="33" creationId="{46C72049-24B1-B10D-D62B-04F24B33FA3E}"/>
          </ac:picMkLst>
        </pc:picChg>
        <pc:picChg chg="del">
          <ac:chgData name="Paul LEGEARD" userId="73b5704d-da1d-4b70-8e12-6d54d32b01a3" providerId="ADAL" clId="{DE80CFAE-6707-4FDE-B875-0F457F49933B}" dt="2023-06-08T06:07:51.559" v="550" actId="478"/>
          <ac:picMkLst>
            <pc:docMk/>
            <pc:sldMk cId="1760373903" sldId="2147469841"/>
            <ac:picMk id="41" creationId="{0C69ED5E-EA4B-632E-ACA7-916AB767D5AA}"/>
          </ac:picMkLst>
        </pc:picChg>
        <pc:picChg chg="del">
          <ac:chgData name="Paul LEGEARD" userId="73b5704d-da1d-4b70-8e12-6d54d32b01a3" providerId="ADAL" clId="{DE80CFAE-6707-4FDE-B875-0F457F49933B}" dt="2023-06-08T06:07:51.559" v="550" actId="478"/>
          <ac:picMkLst>
            <pc:docMk/>
            <pc:sldMk cId="1760373903" sldId="2147469841"/>
            <ac:picMk id="43" creationId="{9554E0CB-F6D0-3889-041E-21F918A1BAF5}"/>
          </ac:picMkLst>
        </pc:picChg>
        <pc:picChg chg="del">
          <ac:chgData name="Paul LEGEARD" userId="73b5704d-da1d-4b70-8e12-6d54d32b01a3" providerId="ADAL" clId="{DE80CFAE-6707-4FDE-B875-0F457F49933B}" dt="2023-06-08T06:07:51.559" v="550" actId="478"/>
          <ac:picMkLst>
            <pc:docMk/>
            <pc:sldMk cId="1760373903" sldId="2147469841"/>
            <ac:picMk id="45" creationId="{B46FB3E7-BDB2-C4F9-DE10-050C0D26D758}"/>
          </ac:picMkLst>
        </pc:picChg>
        <pc:picChg chg="add del">
          <ac:chgData name="Paul LEGEARD" userId="73b5704d-da1d-4b70-8e12-6d54d32b01a3" providerId="ADAL" clId="{DE80CFAE-6707-4FDE-B875-0F457F49933B}" dt="2023-06-08T06:06:27.755" v="423"/>
          <ac:picMkLst>
            <pc:docMk/>
            <pc:sldMk cId="1760373903" sldId="2147469841"/>
            <ac:picMk id="2050" creationId="{F5733185-32B7-F0E5-F799-4B83F025ABCC}"/>
          </ac:picMkLst>
        </pc:picChg>
      </pc:sldChg>
      <pc:sldChg chg="del">
        <pc:chgData name="Paul LEGEARD" userId="73b5704d-da1d-4b70-8e12-6d54d32b01a3" providerId="ADAL" clId="{DE80CFAE-6707-4FDE-B875-0F457F49933B}" dt="2023-06-08T06:04:26.828" v="281" actId="47"/>
        <pc:sldMkLst>
          <pc:docMk/>
          <pc:sldMk cId="925870861" sldId="2147469842"/>
        </pc:sldMkLst>
      </pc:sldChg>
      <pc:sldChg chg="add">
        <pc:chgData name="Paul LEGEARD" userId="73b5704d-da1d-4b70-8e12-6d54d32b01a3" providerId="ADAL" clId="{DE80CFAE-6707-4FDE-B875-0F457F49933B}" dt="2023-06-08T06:13:15.260" v="1390"/>
        <pc:sldMkLst>
          <pc:docMk/>
          <pc:sldMk cId="12710396" sldId="2147469843"/>
        </pc:sldMkLst>
      </pc:sldChg>
      <pc:sldChg chg="del">
        <pc:chgData name="Paul LEGEARD" userId="73b5704d-da1d-4b70-8e12-6d54d32b01a3" providerId="ADAL" clId="{DE80CFAE-6707-4FDE-B875-0F457F49933B}" dt="2023-06-08T06:13:13.528" v="1389" actId="2696"/>
        <pc:sldMkLst>
          <pc:docMk/>
          <pc:sldMk cId="1748526257" sldId="2147469843"/>
        </pc:sldMkLst>
      </pc:sldChg>
      <pc:sldChg chg="addSp delSp modSp del mod">
        <pc:chgData name="Paul LEGEARD" userId="73b5704d-da1d-4b70-8e12-6d54d32b01a3" providerId="ADAL" clId="{DE80CFAE-6707-4FDE-B875-0F457F49933B}" dt="2023-06-08T06:13:13.528" v="1389" actId="2696"/>
        <pc:sldMkLst>
          <pc:docMk/>
          <pc:sldMk cId="2262956167" sldId="2147469844"/>
        </pc:sldMkLst>
        <pc:spChg chg="del">
          <ac:chgData name="Paul LEGEARD" userId="73b5704d-da1d-4b70-8e12-6d54d32b01a3" providerId="ADAL" clId="{DE80CFAE-6707-4FDE-B875-0F457F49933B}" dt="2023-06-08T06:06:15.099" v="420" actId="478"/>
          <ac:spMkLst>
            <pc:docMk/>
            <pc:sldMk cId="2262956167" sldId="2147469844"/>
            <ac:spMk id="2" creationId="{F0003610-ECB2-D62E-BE3D-5E0AB4D9D1CB}"/>
          </ac:spMkLst>
        </pc:spChg>
        <pc:spChg chg="del">
          <ac:chgData name="Paul LEGEARD" userId="73b5704d-da1d-4b70-8e12-6d54d32b01a3" providerId="ADAL" clId="{DE80CFAE-6707-4FDE-B875-0F457F49933B}" dt="2023-06-08T06:05:53.173" v="416" actId="478"/>
          <ac:spMkLst>
            <pc:docMk/>
            <pc:sldMk cId="2262956167" sldId="2147469844"/>
            <ac:spMk id="3" creationId="{E07A262A-B7A1-3F9C-4BDC-B5EAA677F020}"/>
          </ac:spMkLst>
        </pc:spChg>
        <pc:spChg chg="mod">
          <ac:chgData name="Paul LEGEARD" userId="73b5704d-da1d-4b70-8e12-6d54d32b01a3" providerId="ADAL" clId="{DE80CFAE-6707-4FDE-B875-0F457F49933B}" dt="2023-06-08T06:05:11.683" v="408" actId="20577"/>
          <ac:spMkLst>
            <pc:docMk/>
            <pc:sldMk cId="2262956167" sldId="2147469844"/>
            <ac:spMk id="4" creationId="{52AFB3F8-88A7-4D69-8A52-45D00774625C}"/>
          </ac:spMkLst>
        </pc:spChg>
        <pc:spChg chg="del">
          <ac:chgData name="Paul LEGEARD" userId="73b5704d-da1d-4b70-8e12-6d54d32b01a3" providerId="ADAL" clId="{DE80CFAE-6707-4FDE-B875-0F457F49933B}" dt="2023-06-08T06:06:13.304" v="419" actId="478"/>
          <ac:spMkLst>
            <pc:docMk/>
            <pc:sldMk cId="2262956167" sldId="2147469844"/>
            <ac:spMk id="5" creationId="{D784FBD7-C8A9-73F2-3BE3-D101C65137E9}"/>
          </ac:spMkLst>
        </pc:spChg>
        <pc:spChg chg="del">
          <ac:chgData name="Paul LEGEARD" userId="73b5704d-da1d-4b70-8e12-6d54d32b01a3" providerId="ADAL" clId="{DE80CFAE-6707-4FDE-B875-0F457F49933B}" dt="2023-06-08T06:05:39.766" v="413" actId="478"/>
          <ac:spMkLst>
            <pc:docMk/>
            <pc:sldMk cId="2262956167" sldId="2147469844"/>
            <ac:spMk id="7" creationId="{2AFF4FFE-C847-24A9-F9BD-71323C175895}"/>
          </ac:spMkLst>
        </pc:spChg>
        <pc:spChg chg="del">
          <ac:chgData name="Paul LEGEARD" userId="73b5704d-da1d-4b70-8e12-6d54d32b01a3" providerId="ADAL" clId="{DE80CFAE-6707-4FDE-B875-0F457F49933B}" dt="2023-06-08T06:05:39.766" v="413" actId="478"/>
          <ac:spMkLst>
            <pc:docMk/>
            <pc:sldMk cId="2262956167" sldId="2147469844"/>
            <ac:spMk id="9" creationId="{75FDA101-D453-956A-1E26-7CE285D04EB0}"/>
          </ac:spMkLst>
        </pc:spChg>
        <pc:spChg chg="del">
          <ac:chgData name="Paul LEGEARD" userId="73b5704d-da1d-4b70-8e12-6d54d32b01a3" providerId="ADAL" clId="{DE80CFAE-6707-4FDE-B875-0F457F49933B}" dt="2023-06-08T06:05:37.566" v="412" actId="478"/>
          <ac:spMkLst>
            <pc:docMk/>
            <pc:sldMk cId="2262956167" sldId="2147469844"/>
            <ac:spMk id="11" creationId="{36570248-188F-5A58-D713-64286703C66A}"/>
          </ac:spMkLst>
        </pc:spChg>
        <pc:spChg chg="add mod">
          <ac:chgData name="Paul LEGEARD" userId="73b5704d-da1d-4b70-8e12-6d54d32b01a3" providerId="ADAL" clId="{DE80CFAE-6707-4FDE-B875-0F457F49933B}" dt="2023-06-08T06:06:40.621" v="452" actId="1076"/>
          <ac:spMkLst>
            <pc:docMk/>
            <pc:sldMk cId="2262956167" sldId="2147469844"/>
            <ac:spMk id="13" creationId="{5E1A4F6A-403C-34F1-AF2B-456EF9E3DFE1}"/>
          </ac:spMkLst>
        </pc:spChg>
        <pc:spChg chg="del">
          <ac:chgData name="Paul LEGEARD" userId="73b5704d-da1d-4b70-8e12-6d54d32b01a3" providerId="ADAL" clId="{DE80CFAE-6707-4FDE-B875-0F457F49933B}" dt="2023-06-08T06:05:54.228" v="417" actId="478"/>
          <ac:spMkLst>
            <pc:docMk/>
            <pc:sldMk cId="2262956167" sldId="2147469844"/>
            <ac:spMk id="14" creationId="{28B08419-3AED-8A09-D648-A19139EFA748}"/>
          </ac:spMkLst>
        </pc:spChg>
        <pc:spChg chg="add mod">
          <ac:chgData name="Paul LEGEARD" userId="73b5704d-da1d-4b70-8e12-6d54d32b01a3" providerId="ADAL" clId="{DE80CFAE-6707-4FDE-B875-0F457F49933B}" dt="2023-06-08T06:06:54.645" v="518" actId="20577"/>
          <ac:spMkLst>
            <pc:docMk/>
            <pc:sldMk cId="2262956167" sldId="2147469844"/>
            <ac:spMk id="17" creationId="{1DC3825A-58E0-61CB-33D0-EF0B3490064F}"/>
          </ac:spMkLst>
        </pc:spChg>
        <pc:spChg chg="mod">
          <ac:chgData name="Paul LEGEARD" userId="73b5704d-da1d-4b70-8e12-6d54d32b01a3" providerId="ADAL" clId="{DE80CFAE-6707-4FDE-B875-0F457F49933B}" dt="2023-06-08T06:06:19.978" v="421" actId="1076"/>
          <ac:spMkLst>
            <pc:docMk/>
            <pc:sldMk cId="2262956167" sldId="2147469844"/>
            <ac:spMk id="23" creationId="{F7F69A0C-5BA8-8DBC-E72F-4EB06D676B96}"/>
          </ac:spMkLst>
        </pc:spChg>
        <pc:spChg chg="del">
          <ac:chgData name="Paul LEGEARD" userId="73b5704d-da1d-4b70-8e12-6d54d32b01a3" providerId="ADAL" clId="{DE80CFAE-6707-4FDE-B875-0F457F49933B}" dt="2023-06-08T06:05:39.766" v="413" actId="478"/>
          <ac:spMkLst>
            <pc:docMk/>
            <pc:sldMk cId="2262956167" sldId="2147469844"/>
            <ac:spMk id="39" creationId="{05F26576-78FB-19C0-A608-C117F11F95DD}"/>
          </ac:spMkLst>
        </pc:spChg>
        <pc:graphicFrameChg chg="mod modGraphic">
          <ac:chgData name="Paul LEGEARD" userId="73b5704d-da1d-4b70-8e12-6d54d32b01a3" providerId="ADAL" clId="{DE80CFAE-6707-4FDE-B875-0F457F49933B}" dt="2023-06-08T06:06:19.978" v="421" actId="1076"/>
          <ac:graphicFrameMkLst>
            <pc:docMk/>
            <pc:sldMk cId="2262956167" sldId="2147469844"/>
            <ac:graphicFrameMk id="10" creationId="{C6B30C97-CBAA-3C98-4F2A-BAEF0F990C49}"/>
          </ac:graphicFrameMkLst>
        </pc:graphicFrameChg>
        <pc:picChg chg="mod">
          <ac:chgData name="Paul LEGEARD" userId="73b5704d-da1d-4b70-8e12-6d54d32b01a3" providerId="ADAL" clId="{DE80CFAE-6707-4FDE-B875-0F457F49933B}" dt="2023-06-08T06:06:19.978" v="421" actId="1076"/>
          <ac:picMkLst>
            <pc:docMk/>
            <pc:sldMk cId="2262956167" sldId="2147469844"/>
            <ac:picMk id="6" creationId="{E0730B0E-44F3-E317-66E6-3576AA4D9482}"/>
          </ac:picMkLst>
        </pc:picChg>
        <pc:picChg chg="mod">
          <ac:chgData name="Paul LEGEARD" userId="73b5704d-da1d-4b70-8e12-6d54d32b01a3" providerId="ADAL" clId="{DE80CFAE-6707-4FDE-B875-0F457F49933B}" dt="2023-06-08T06:06:19.978" v="421" actId="1076"/>
          <ac:picMkLst>
            <pc:docMk/>
            <pc:sldMk cId="2262956167" sldId="2147469844"/>
            <ac:picMk id="12" creationId="{74F9D390-8C3F-25CD-8B25-FFD0A4271A3B}"/>
          </ac:picMkLst>
        </pc:picChg>
        <pc:picChg chg="mod">
          <ac:chgData name="Paul LEGEARD" userId="73b5704d-da1d-4b70-8e12-6d54d32b01a3" providerId="ADAL" clId="{DE80CFAE-6707-4FDE-B875-0F457F49933B}" dt="2023-06-08T06:06:19.978" v="421" actId="1076"/>
          <ac:picMkLst>
            <pc:docMk/>
            <pc:sldMk cId="2262956167" sldId="2147469844"/>
            <ac:picMk id="15" creationId="{85F52B30-27F0-3EDF-5C85-48D499623CE0}"/>
          </ac:picMkLst>
        </pc:picChg>
        <pc:picChg chg="mod">
          <ac:chgData name="Paul LEGEARD" userId="73b5704d-da1d-4b70-8e12-6d54d32b01a3" providerId="ADAL" clId="{DE80CFAE-6707-4FDE-B875-0F457F49933B}" dt="2023-06-08T06:06:19.978" v="421" actId="1076"/>
          <ac:picMkLst>
            <pc:docMk/>
            <pc:sldMk cId="2262956167" sldId="2147469844"/>
            <ac:picMk id="18" creationId="{DCDAA4FE-DC89-7972-5F55-20457717E68B}"/>
          </ac:picMkLst>
        </pc:picChg>
        <pc:picChg chg="del">
          <ac:chgData name="Paul LEGEARD" userId="73b5704d-da1d-4b70-8e12-6d54d32b01a3" providerId="ADAL" clId="{DE80CFAE-6707-4FDE-B875-0F457F49933B}" dt="2023-06-08T06:05:39.766" v="413" actId="478"/>
          <ac:picMkLst>
            <pc:docMk/>
            <pc:sldMk cId="2262956167" sldId="2147469844"/>
            <ac:picMk id="27" creationId="{69DC3292-9359-3240-B380-6CD73E3B86D2}"/>
          </ac:picMkLst>
        </pc:picChg>
        <pc:picChg chg="del">
          <ac:chgData name="Paul LEGEARD" userId="73b5704d-da1d-4b70-8e12-6d54d32b01a3" providerId="ADAL" clId="{DE80CFAE-6707-4FDE-B875-0F457F49933B}" dt="2023-06-08T06:05:39.766" v="413" actId="478"/>
          <ac:picMkLst>
            <pc:docMk/>
            <pc:sldMk cId="2262956167" sldId="2147469844"/>
            <ac:picMk id="30" creationId="{56E320E6-7926-02FB-01E6-31763117BDC3}"/>
          </ac:picMkLst>
        </pc:picChg>
        <pc:picChg chg="del">
          <ac:chgData name="Paul LEGEARD" userId="73b5704d-da1d-4b70-8e12-6d54d32b01a3" providerId="ADAL" clId="{DE80CFAE-6707-4FDE-B875-0F457F49933B}" dt="2023-06-08T06:05:39.766" v="413" actId="478"/>
          <ac:picMkLst>
            <pc:docMk/>
            <pc:sldMk cId="2262956167" sldId="2147469844"/>
            <ac:picMk id="32" creationId="{0B72C91A-B39E-7E81-2448-2E032C990076}"/>
          </ac:picMkLst>
        </pc:picChg>
        <pc:cxnChg chg="del">
          <ac:chgData name="Paul LEGEARD" userId="73b5704d-da1d-4b70-8e12-6d54d32b01a3" providerId="ADAL" clId="{DE80CFAE-6707-4FDE-B875-0F457F49933B}" dt="2023-06-08T06:05:48.807" v="415" actId="478"/>
          <ac:cxnSpMkLst>
            <pc:docMk/>
            <pc:sldMk cId="2262956167" sldId="2147469844"/>
            <ac:cxnSpMk id="35" creationId="{8243DB35-C530-2A11-0705-AE5560207C62}"/>
          </ac:cxnSpMkLst>
        </pc:cxnChg>
      </pc:sldChg>
      <pc:sldChg chg="add">
        <pc:chgData name="Paul LEGEARD" userId="73b5704d-da1d-4b70-8e12-6d54d32b01a3" providerId="ADAL" clId="{DE80CFAE-6707-4FDE-B875-0F457F49933B}" dt="2023-06-08T06:13:15.260" v="1390"/>
        <pc:sldMkLst>
          <pc:docMk/>
          <pc:sldMk cId="3084881790" sldId="2147469844"/>
        </pc:sldMkLst>
      </pc:sldChg>
      <pc:sldChg chg="add delCm">
        <pc:chgData name="Paul LEGEARD" userId="73b5704d-da1d-4b70-8e12-6d54d32b01a3" providerId="ADAL" clId="{DE80CFAE-6707-4FDE-B875-0F457F49933B}" dt="2023-06-08T06:18:56.255" v="1950"/>
        <pc:sldMkLst>
          <pc:docMk/>
          <pc:sldMk cId="97446653" sldId="2147469847"/>
        </pc:sldMkLst>
      </pc:sldChg>
      <pc:sldChg chg="add">
        <pc:chgData name="Paul LEGEARD" userId="73b5704d-da1d-4b70-8e12-6d54d32b01a3" providerId="ADAL" clId="{DE80CFAE-6707-4FDE-B875-0F457F49933B}" dt="2023-06-08T06:19:21.092" v="1951"/>
        <pc:sldMkLst>
          <pc:docMk/>
          <pc:sldMk cId="2883938312" sldId="2147469849"/>
        </pc:sldMkLst>
      </pc:sldChg>
      <pc:sldChg chg="add">
        <pc:chgData name="Paul LEGEARD" userId="73b5704d-da1d-4b70-8e12-6d54d32b01a3" providerId="ADAL" clId="{DE80CFAE-6707-4FDE-B875-0F457F49933B}" dt="2023-06-08T06:19:52.739" v="1952"/>
        <pc:sldMkLst>
          <pc:docMk/>
          <pc:sldMk cId="167709760" sldId="2147469854"/>
        </pc:sldMkLst>
      </pc:sldChg>
      <pc:sldChg chg="add">
        <pc:chgData name="Paul LEGEARD" userId="73b5704d-da1d-4b70-8e12-6d54d32b01a3" providerId="ADAL" clId="{DE80CFAE-6707-4FDE-B875-0F457F49933B}" dt="2023-06-08T06:21:00.432" v="1956"/>
        <pc:sldMkLst>
          <pc:docMk/>
          <pc:sldMk cId="580911753" sldId="2147469860"/>
        </pc:sldMkLst>
      </pc:sldChg>
      <pc:sldChg chg="add">
        <pc:chgData name="Paul LEGEARD" userId="73b5704d-da1d-4b70-8e12-6d54d32b01a3" providerId="ADAL" clId="{DE80CFAE-6707-4FDE-B875-0F457F49933B}" dt="2023-06-08T06:20:02.970" v="1953"/>
        <pc:sldMkLst>
          <pc:docMk/>
          <pc:sldMk cId="2468326204" sldId="2147469863"/>
        </pc:sldMkLst>
      </pc:sldChg>
      <pc:sldChg chg="add">
        <pc:chgData name="Paul LEGEARD" userId="73b5704d-da1d-4b70-8e12-6d54d32b01a3" providerId="ADAL" clId="{DE80CFAE-6707-4FDE-B875-0F457F49933B}" dt="2023-06-08T06:21:26.700" v="1957"/>
        <pc:sldMkLst>
          <pc:docMk/>
          <pc:sldMk cId="337012790" sldId="2147469872"/>
        </pc:sldMkLst>
      </pc:sldChg>
      <pc:sldChg chg="add">
        <pc:chgData name="Paul LEGEARD" userId="73b5704d-da1d-4b70-8e12-6d54d32b01a3" providerId="ADAL" clId="{DE80CFAE-6707-4FDE-B875-0F457F49933B}" dt="2023-06-08T06:20:50.448" v="1955"/>
        <pc:sldMkLst>
          <pc:docMk/>
          <pc:sldMk cId="2279472351" sldId="2147469873"/>
        </pc:sldMkLst>
      </pc:sldChg>
      <pc:sldChg chg="add">
        <pc:chgData name="Paul LEGEARD" userId="73b5704d-da1d-4b70-8e12-6d54d32b01a3" providerId="ADAL" clId="{DE80CFAE-6707-4FDE-B875-0F457F49933B}" dt="2023-06-08T06:34:53.207" v="1964"/>
        <pc:sldMkLst>
          <pc:docMk/>
          <pc:sldMk cId="3151543047" sldId="2147469874"/>
        </pc:sldMkLst>
      </pc:sldChg>
      <pc:sldChg chg="add">
        <pc:chgData name="Paul LEGEARD" userId="73b5704d-da1d-4b70-8e12-6d54d32b01a3" providerId="ADAL" clId="{DE80CFAE-6707-4FDE-B875-0F457F49933B}" dt="2023-06-08T06:21:43.648" v="1958"/>
        <pc:sldMkLst>
          <pc:docMk/>
          <pc:sldMk cId="1866467994" sldId="2147469879"/>
        </pc:sldMkLst>
      </pc:sldChg>
      <pc:sldChg chg="add">
        <pc:chgData name="Paul LEGEARD" userId="73b5704d-da1d-4b70-8e12-6d54d32b01a3" providerId="ADAL" clId="{DE80CFAE-6707-4FDE-B875-0F457F49933B}" dt="2023-06-08T06:09:20.501" v="556"/>
        <pc:sldMkLst>
          <pc:docMk/>
          <pc:sldMk cId="3168541585" sldId="2147469880"/>
        </pc:sldMkLst>
      </pc:sldChg>
      <pc:sldChg chg="add">
        <pc:chgData name="Paul LEGEARD" userId="73b5704d-da1d-4b70-8e12-6d54d32b01a3" providerId="ADAL" clId="{DE80CFAE-6707-4FDE-B875-0F457F49933B}" dt="2023-06-08T06:22:36.779" v="1959"/>
        <pc:sldMkLst>
          <pc:docMk/>
          <pc:sldMk cId="3497689514" sldId="2147469882"/>
        </pc:sldMkLst>
      </pc:sldChg>
      <pc:sldChg chg="add">
        <pc:chgData name="Paul LEGEARD" userId="73b5704d-da1d-4b70-8e12-6d54d32b01a3" providerId="ADAL" clId="{DE80CFAE-6707-4FDE-B875-0F457F49933B}" dt="2023-06-08T06:22:36.779" v="1959"/>
        <pc:sldMkLst>
          <pc:docMk/>
          <pc:sldMk cId="3504001298" sldId="2147469883"/>
        </pc:sldMkLst>
      </pc:sldChg>
      <pc:sldChg chg="add">
        <pc:chgData name="Paul LEGEARD" userId="73b5704d-da1d-4b70-8e12-6d54d32b01a3" providerId="ADAL" clId="{DE80CFAE-6707-4FDE-B875-0F457F49933B}" dt="2023-06-08T06:23:18.818" v="1960"/>
        <pc:sldMkLst>
          <pc:docMk/>
          <pc:sldMk cId="746696022" sldId="2147469885"/>
        </pc:sldMkLst>
      </pc:sldChg>
      <pc:sldChg chg="addSp modSp add mod">
        <pc:chgData name="Paul LEGEARD" userId="73b5704d-da1d-4b70-8e12-6d54d32b01a3" providerId="ADAL" clId="{DE80CFAE-6707-4FDE-B875-0F457F49933B}" dt="2023-06-08T06:13:41.564" v="1491" actId="20577"/>
        <pc:sldMkLst>
          <pc:docMk/>
          <pc:sldMk cId="2845898111" sldId="2147469886"/>
        </pc:sldMkLst>
        <pc:spChg chg="add mod">
          <ac:chgData name="Paul LEGEARD" userId="73b5704d-da1d-4b70-8e12-6d54d32b01a3" providerId="ADAL" clId="{DE80CFAE-6707-4FDE-B875-0F457F49933B}" dt="2023-06-08T06:13:41.564" v="1491" actId="20577"/>
          <ac:spMkLst>
            <pc:docMk/>
            <pc:sldMk cId="2845898111" sldId="2147469886"/>
            <ac:spMk id="10" creationId="{C99D3972-5559-786B-27EF-3CF3782BC7A1}"/>
          </ac:spMkLst>
        </pc:spChg>
      </pc:sldChg>
      <pc:sldChg chg="add">
        <pc:chgData name="Paul LEGEARD" userId="73b5704d-da1d-4b70-8e12-6d54d32b01a3" providerId="ADAL" clId="{DE80CFAE-6707-4FDE-B875-0F457F49933B}" dt="2023-06-08T06:20:29.858" v="1954"/>
        <pc:sldMkLst>
          <pc:docMk/>
          <pc:sldMk cId="1474748993" sldId="2147469892"/>
        </pc:sldMkLst>
      </pc:sldChg>
      <pc:sldChg chg="add">
        <pc:chgData name="Paul LEGEARD" userId="73b5704d-da1d-4b70-8e12-6d54d32b01a3" providerId="ADAL" clId="{DE80CFAE-6707-4FDE-B875-0F457F49933B}" dt="2023-06-08T06:21:26.700" v="1957"/>
        <pc:sldMkLst>
          <pc:docMk/>
          <pc:sldMk cId="1483734172" sldId="2147469896"/>
        </pc:sldMkLst>
      </pc:sldChg>
      <pc:sldChg chg="add">
        <pc:chgData name="Paul LEGEARD" userId="73b5704d-da1d-4b70-8e12-6d54d32b01a3" providerId="ADAL" clId="{DE80CFAE-6707-4FDE-B875-0F457F49933B}" dt="2023-06-08T06:30:16.881" v="1963"/>
        <pc:sldMkLst>
          <pc:docMk/>
          <pc:sldMk cId="2598858083" sldId="2147469914"/>
        </pc:sldMkLst>
      </pc:sldChg>
      <pc:sldChg chg="add">
        <pc:chgData name="Paul LEGEARD" userId="73b5704d-da1d-4b70-8e12-6d54d32b01a3" providerId="ADAL" clId="{DE80CFAE-6707-4FDE-B875-0F457F49933B}" dt="2023-06-08T06:30:01.446" v="1962"/>
        <pc:sldMkLst>
          <pc:docMk/>
          <pc:sldMk cId="1263689602" sldId="2147469935"/>
        </pc:sldMkLst>
      </pc:sldChg>
      <pc:sldChg chg="add">
        <pc:chgData name="Paul LEGEARD" userId="73b5704d-da1d-4b70-8e12-6d54d32b01a3" providerId="ADAL" clId="{DE80CFAE-6707-4FDE-B875-0F457F49933B}" dt="2023-06-08T06:30:01.446" v="1962"/>
        <pc:sldMkLst>
          <pc:docMk/>
          <pc:sldMk cId="2911073086" sldId="2147469936"/>
        </pc:sldMkLst>
      </pc:sldChg>
      <pc:sldChg chg="add">
        <pc:chgData name="Paul LEGEARD" userId="73b5704d-da1d-4b70-8e12-6d54d32b01a3" providerId="ADAL" clId="{DE80CFAE-6707-4FDE-B875-0F457F49933B}" dt="2023-06-08T06:30:01.446" v="1962"/>
        <pc:sldMkLst>
          <pc:docMk/>
          <pc:sldMk cId="4137036792" sldId="2147469937"/>
        </pc:sldMkLst>
      </pc:sldChg>
      <pc:sldChg chg="add">
        <pc:chgData name="Paul LEGEARD" userId="73b5704d-da1d-4b70-8e12-6d54d32b01a3" providerId="ADAL" clId="{DE80CFAE-6707-4FDE-B875-0F457F49933B}" dt="2023-06-08T06:30:01.446" v="1962"/>
        <pc:sldMkLst>
          <pc:docMk/>
          <pc:sldMk cId="1277252004" sldId="2147469938"/>
        </pc:sldMkLst>
      </pc:sldChg>
      <pc:sldChg chg="add del">
        <pc:chgData name="Paul LEGEARD" userId="73b5704d-da1d-4b70-8e12-6d54d32b01a3" providerId="ADAL" clId="{DE80CFAE-6707-4FDE-B875-0F457F49933B}" dt="2023-06-08T06:09:27.347" v="557" actId="47"/>
        <pc:sldMkLst>
          <pc:docMk/>
          <pc:sldMk cId="3436192451" sldId="2147470715"/>
        </pc:sldMkLst>
      </pc:sldChg>
      <pc:sldChg chg="del">
        <pc:chgData name="Paul LEGEARD" userId="73b5704d-da1d-4b70-8e12-6d54d32b01a3" providerId="ADAL" clId="{DE80CFAE-6707-4FDE-B875-0F457F49933B}" dt="2023-06-08T06:13:13.528" v="1389" actId="2696"/>
        <pc:sldMkLst>
          <pc:docMk/>
          <pc:sldMk cId="1067783265" sldId="2147471253"/>
        </pc:sldMkLst>
      </pc:sldChg>
      <pc:sldChg chg="add">
        <pc:chgData name="Paul LEGEARD" userId="73b5704d-da1d-4b70-8e12-6d54d32b01a3" providerId="ADAL" clId="{DE80CFAE-6707-4FDE-B875-0F457F49933B}" dt="2023-06-08T06:13:15.260" v="1390"/>
        <pc:sldMkLst>
          <pc:docMk/>
          <pc:sldMk cId="3447046164" sldId="2147471253"/>
        </pc:sldMkLst>
      </pc:sldChg>
      <pc:sldChg chg="addSp delSp modSp mod">
        <pc:chgData name="Paul LEGEARD" userId="73b5704d-da1d-4b70-8e12-6d54d32b01a3" providerId="ADAL" clId="{DE80CFAE-6707-4FDE-B875-0F457F49933B}" dt="2023-06-08T06:03:52.187" v="279" actId="1076"/>
        <pc:sldMkLst>
          <pc:docMk/>
          <pc:sldMk cId="1362949440" sldId="2147471256"/>
        </pc:sldMkLst>
        <pc:spChg chg="mod">
          <ac:chgData name="Paul LEGEARD" userId="73b5704d-da1d-4b70-8e12-6d54d32b01a3" providerId="ADAL" clId="{DE80CFAE-6707-4FDE-B875-0F457F49933B}" dt="2023-06-08T06:02:08.075" v="240" actId="1036"/>
          <ac:spMkLst>
            <pc:docMk/>
            <pc:sldMk cId="1362949440" sldId="2147471256"/>
            <ac:spMk id="2" creationId="{48B27D31-FF6E-DB60-8457-B021897C9A1E}"/>
          </ac:spMkLst>
        </pc:spChg>
        <pc:spChg chg="add del mod">
          <ac:chgData name="Paul LEGEARD" userId="73b5704d-da1d-4b70-8e12-6d54d32b01a3" providerId="ADAL" clId="{DE80CFAE-6707-4FDE-B875-0F457F49933B}" dt="2023-06-08T06:02:50.277" v="243"/>
          <ac:spMkLst>
            <pc:docMk/>
            <pc:sldMk cId="1362949440" sldId="2147471256"/>
            <ac:spMk id="3" creationId="{71CBB03B-70E7-AEEA-BA9D-8CAEC92CCEDE}"/>
          </ac:spMkLst>
        </pc:spChg>
        <pc:spChg chg="add mod">
          <ac:chgData name="Paul LEGEARD" userId="73b5704d-da1d-4b70-8e12-6d54d32b01a3" providerId="ADAL" clId="{DE80CFAE-6707-4FDE-B875-0F457F49933B}" dt="2023-06-08T06:03:16.272" v="271" actId="20577"/>
          <ac:spMkLst>
            <pc:docMk/>
            <pc:sldMk cId="1362949440" sldId="2147471256"/>
            <ac:spMk id="7" creationId="{777D76FD-9961-25F2-29CF-063EE4B1A9B3}"/>
          </ac:spMkLst>
        </pc:spChg>
        <pc:spChg chg="mod">
          <ac:chgData name="Paul LEGEARD" userId="73b5704d-da1d-4b70-8e12-6d54d32b01a3" providerId="ADAL" clId="{DE80CFAE-6707-4FDE-B875-0F457F49933B}" dt="2023-06-08T06:02:08.075" v="240" actId="1036"/>
          <ac:spMkLst>
            <pc:docMk/>
            <pc:sldMk cId="1362949440" sldId="2147471256"/>
            <ac:spMk id="15" creationId="{67F25EA4-CE9C-42D2-F4E4-A816978C6305}"/>
          </ac:spMkLst>
        </pc:spChg>
        <pc:spChg chg="mod">
          <ac:chgData name="Paul LEGEARD" userId="73b5704d-da1d-4b70-8e12-6d54d32b01a3" providerId="ADAL" clId="{DE80CFAE-6707-4FDE-B875-0F457F49933B}" dt="2023-06-08T06:02:10.431" v="241" actId="14100"/>
          <ac:spMkLst>
            <pc:docMk/>
            <pc:sldMk cId="1362949440" sldId="2147471256"/>
            <ac:spMk id="29" creationId="{5BAF18CC-9345-6B9E-7B40-37E259D5599F}"/>
          </ac:spMkLst>
        </pc:spChg>
        <pc:picChg chg="mod">
          <ac:chgData name="Paul LEGEARD" userId="73b5704d-da1d-4b70-8e12-6d54d32b01a3" providerId="ADAL" clId="{DE80CFAE-6707-4FDE-B875-0F457F49933B}" dt="2023-06-08T06:02:08.075" v="240" actId="1036"/>
          <ac:picMkLst>
            <pc:docMk/>
            <pc:sldMk cId="1362949440" sldId="2147471256"/>
            <ac:picMk id="5" creationId="{ED939BE9-77DC-5050-A07C-777C5FDE9970}"/>
          </ac:picMkLst>
        </pc:picChg>
        <pc:picChg chg="add del mod">
          <ac:chgData name="Paul LEGEARD" userId="73b5704d-da1d-4b70-8e12-6d54d32b01a3" providerId="ADAL" clId="{DE80CFAE-6707-4FDE-B875-0F457F49933B}" dt="2023-06-08T06:02:50.277" v="243"/>
          <ac:picMkLst>
            <pc:docMk/>
            <pc:sldMk cId="1362949440" sldId="2147471256"/>
            <ac:picMk id="6" creationId="{0CF857F0-86BC-BF23-AEE6-B2AFA292E241}"/>
          </ac:picMkLst>
        </pc:picChg>
        <pc:picChg chg="add del mod">
          <ac:chgData name="Paul LEGEARD" userId="73b5704d-da1d-4b70-8e12-6d54d32b01a3" providerId="ADAL" clId="{DE80CFAE-6707-4FDE-B875-0F457F49933B}" dt="2023-06-08T06:03:25.726" v="272" actId="478"/>
          <ac:picMkLst>
            <pc:docMk/>
            <pc:sldMk cId="1362949440" sldId="2147471256"/>
            <ac:picMk id="9" creationId="{21C84F26-77C2-1EFA-9C05-8C0180B98326}"/>
          </ac:picMkLst>
        </pc:picChg>
        <pc:picChg chg="add mod">
          <ac:chgData name="Paul LEGEARD" userId="73b5704d-da1d-4b70-8e12-6d54d32b01a3" providerId="ADAL" clId="{DE80CFAE-6707-4FDE-B875-0F457F49933B}" dt="2023-06-08T06:03:52.187" v="279" actId="1076"/>
          <ac:picMkLst>
            <pc:docMk/>
            <pc:sldMk cId="1362949440" sldId="2147471256"/>
            <ac:picMk id="10" creationId="{6378FEA5-5454-86E2-91E3-27D857F10EC3}"/>
          </ac:picMkLst>
        </pc:picChg>
        <pc:picChg chg="add del">
          <ac:chgData name="Paul LEGEARD" userId="73b5704d-da1d-4b70-8e12-6d54d32b01a3" providerId="ADAL" clId="{DE80CFAE-6707-4FDE-B875-0F457F49933B}" dt="2023-06-08T06:03:29.487" v="274" actId="478"/>
          <ac:picMkLst>
            <pc:docMk/>
            <pc:sldMk cId="1362949440" sldId="2147471256"/>
            <ac:picMk id="1026" creationId="{94BEE784-5F1D-29CD-4F15-BEE79442BCF6}"/>
          </ac:picMkLst>
        </pc:picChg>
        <pc:picChg chg="mod">
          <ac:chgData name="Paul LEGEARD" userId="73b5704d-da1d-4b70-8e12-6d54d32b01a3" providerId="ADAL" clId="{DE80CFAE-6707-4FDE-B875-0F457F49933B}" dt="2023-06-08T06:02:08.075" v="240" actId="1036"/>
          <ac:picMkLst>
            <pc:docMk/>
            <pc:sldMk cId="1362949440" sldId="2147471256"/>
            <ac:picMk id="1028" creationId="{55DF913C-954B-6682-F65A-43BFDEFBE7BE}"/>
          </ac:picMkLst>
        </pc:picChg>
      </pc:sldChg>
      <pc:sldChg chg="add">
        <pc:chgData name="Paul LEGEARD" userId="73b5704d-da1d-4b70-8e12-6d54d32b01a3" providerId="ADAL" clId="{DE80CFAE-6707-4FDE-B875-0F457F49933B}" dt="2023-06-08T06:06:59.662" v="519"/>
        <pc:sldMkLst>
          <pc:docMk/>
          <pc:sldMk cId="2868073232" sldId="2147471257"/>
        </pc:sldMkLst>
      </pc:sldChg>
      <pc:sldChg chg="add del">
        <pc:chgData name="Paul LEGEARD" userId="73b5704d-da1d-4b70-8e12-6d54d32b01a3" providerId="ADAL" clId="{DE80CFAE-6707-4FDE-B875-0F457F49933B}" dt="2023-06-08T06:13:10.461" v="1388" actId="47"/>
        <pc:sldMkLst>
          <pc:docMk/>
          <pc:sldMk cId="1936150926" sldId="2147471258"/>
        </pc:sldMkLst>
      </pc:sldChg>
      <pc:sldChg chg="modSp add mod">
        <pc:chgData name="Paul LEGEARD" userId="73b5704d-da1d-4b70-8e12-6d54d32b01a3" providerId="ADAL" clId="{DE80CFAE-6707-4FDE-B875-0F457F49933B}" dt="2023-06-08T06:11:28.777" v="1033" actId="20577"/>
        <pc:sldMkLst>
          <pc:docMk/>
          <pc:sldMk cId="3159908514" sldId="2147471259"/>
        </pc:sldMkLst>
        <pc:spChg chg="mod">
          <ac:chgData name="Paul LEGEARD" userId="73b5704d-da1d-4b70-8e12-6d54d32b01a3" providerId="ADAL" clId="{DE80CFAE-6707-4FDE-B875-0F457F49933B}" dt="2023-06-08T06:09:53.958" v="620" actId="20577"/>
          <ac:spMkLst>
            <pc:docMk/>
            <pc:sldMk cId="3159908514" sldId="2147471259"/>
            <ac:spMk id="4" creationId="{ACB4794A-76EB-46DE-B578-2F3EF674C0D8}"/>
          </ac:spMkLst>
        </pc:spChg>
        <pc:spChg chg="mod">
          <ac:chgData name="Paul LEGEARD" userId="73b5704d-da1d-4b70-8e12-6d54d32b01a3" providerId="ADAL" clId="{DE80CFAE-6707-4FDE-B875-0F457F49933B}" dt="2023-06-08T06:11:28.777" v="1033" actId="20577"/>
          <ac:spMkLst>
            <pc:docMk/>
            <pc:sldMk cId="3159908514" sldId="2147471259"/>
            <ac:spMk id="7" creationId="{15FEA66E-6319-49B8-8EDD-263A9682E243}"/>
          </ac:spMkLst>
        </pc:spChg>
      </pc:sldChg>
      <pc:sldChg chg="modSp add mod">
        <pc:chgData name="Paul LEGEARD" userId="73b5704d-da1d-4b70-8e12-6d54d32b01a3" providerId="ADAL" clId="{DE80CFAE-6707-4FDE-B875-0F457F49933B}" dt="2023-06-08T06:11:54.164" v="1112" actId="20577"/>
        <pc:sldMkLst>
          <pc:docMk/>
          <pc:sldMk cId="484923472" sldId="2147471260"/>
        </pc:sldMkLst>
        <pc:spChg chg="mod">
          <ac:chgData name="Paul LEGEARD" userId="73b5704d-da1d-4b70-8e12-6d54d32b01a3" providerId="ADAL" clId="{DE80CFAE-6707-4FDE-B875-0F457F49933B}" dt="2023-06-08T06:10:41.633" v="843" actId="20577"/>
          <ac:spMkLst>
            <pc:docMk/>
            <pc:sldMk cId="484923472" sldId="2147471260"/>
            <ac:spMk id="4" creationId="{ACB4794A-76EB-46DE-B578-2F3EF674C0D8}"/>
          </ac:spMkLst>
        </pc:spChg>
        <pc:spChg chg="mod">
          <ac:chgData name="Paul LEGEARD" userId="73b5704d-da1d-4b70-8e12-6d54d32b01a3" providerId="ADAL" clId="{DE80CFAE-6707-4FDE-B875-0F457F49933B}" dt="2023-06-08T06:11:54.164" v="1112" actId="20577"/>
          <ac:spMkLst>
            <pc:docMk/>
            <pc:sldMk cId="484923472" sldId="2147471260"/>
            <ac:spMk id="7" creationId="{15FEA66E-6319-49B8-8EDD-263A9682E243}"/>
          </ac:spMkLst>
        </pc:spChg>
      </pc:sldChg>
      <pc:sldChg chg="delSp modSp add mod">
        <pc:chgData name="Paul LEGEARD" userId="73b5704d-da1d-4b70-8e12-6d54d32b01a3" providerId="ADAL" clId="{DE80CFAE-6707-4FDE-B875-0F457F49933B}" dt="2023-06-08T06:14:28.382" v="1689" actId="20577"/>
        <pc:sldMkLst>
          <pc:docMk/>
          <pc:sldMk cId="478606570" sldId="2147471261"/>
        </pc:sldMkLst>
        <pc:spChg chg="del">
          <ac:chgData name="Paul LEGEARD" userId="73b5704d-da1d-4b70-8e12-6d54d32b01a3" providerId="ADAL" clId="{DE80CFAE-6707-4FDE-B875-0F457F49933B}" dt="2023-06-08T06:13:50.071" v="1493" actId="478"/>
          <ac:spMkLst>
            <pc:docMk/>
            <pc:sldMk cId="478606570" sldId="2147471261"/>
            <ac:spMk id="2" creationId="{E4E7DEE7-98D2-3941-D383-C48447CA3A2B}"/>
          </ac:spMkLst>
        </pc:spChg>
        <pc:spChg chg="del">
          <ac:chgData name="Paul LEGEARD" userId="73b5704d-da1d-4b70-8e12-6d54d32b01a3" providerId="ADAL" clId="{DE80CFAE-6707-4FDE-B875-0F457F49933B}" dt="2023-06-08T06:13:50.071" v="1493" actId="478"/>
          <ac:spMkLst>
            <pc:docMk/>
            <pc:sldMk cId="478606570" sldId="2147471261"/>
            <ac:spMk id="9" creationId="{47524A90-D340-53EA-2DAF-A595DA0A932F}"/>
          </ac:spMkLst>
        </pc:spChg>
        <pc:spChg chg="mod">
          <ac:chgData name="Paul LEGEARD" userId="73b5704d-da1d-4b70-8e12-6d54d32b01a3" providerId="ADAL" clId="{DE80CFAE-6707-4FDE-B875-0F457F49933B}" dt="2023-06-08T06:14:28.382" v="1689" actId="20577"/>
          <ac:spMkLst>
            <pc:docMk/>
            <pc:sldMk cId="478606570" sldId="2147471261"/>
            <ac:spMk id="10" creationId="{C99D3972-5559-786B-27EF-3CF3782BC7A1}"/>
          </ac:spMkLst>
        </pc:spChg>
        <pc:graphicFrameChg chg="del">
          <ac:chgData name="Paul LEGEARD" userId="73b5704d-da1d-4b70-8e12-6d54d32b01a3" providerId="ADAL" clId="{DE80CFAE-6707-4FDE-B875-0F457F49933B}" dt="2023-06-08T06:13:50.071" v="1493" actId="478"/>
          <ac:graphicFrameMkLst>
            <pc:docMk/>
            <pc:sldMk cId="478606570" sldId="2147471261"/>
            <ac:graphicFrameMk id="3" creationId="{815BA094-A92D-6DCB-CEDF-3CC883305288}"/>
          </ac:graphicFrameMkLst>
        </pc:graphicFrameChg>
        <pc:graphicFrameChg chg="del">
          <ac:chgData name="Paul LEGEARD" userId="73b5704d-da1d-4b70-8e12-6d54d32b01a3" providerId="ADAL" clId="{DE80CFAE-6707-4FDE-B875-0F457F49933B}" dt="2023-06-08T06:13:50.071" v="1493" actId="478"/>
          <ac:graphicFrameMkLst>
            <pc:docMk/>
            <pc:sldMk cId="478606570" sldId="2147471261"/>
            <ac:graphicFrameMk id="7" creationId="{6D92C9FF-0E73-04C1-3553-5277B5F7DCF3}"/>
          </ac:graphicFrameMkLst>
        </pc:graphicFrameChg>
        <pc:picChg chg="del">
          <ac:chgData name="Paul LEGEARD" userId="73b5704d-da1d-4b70-8e12-6d54d32b01a3" providerId="ADAL" clId="{DE80CFAE-6707-4FDE-B875-0F457F49933B}" dt="2023-06-08T06:13:50.071" v="1493" actId="478"/>
          <ac:picMkLst>
            <pc:docMk/>
            <pc:sldMk cId="478606570" sldId="2147471261"/>
            <ac:picMk id="8" creationId="{E94C557F-0858-B157-9DE1-7E5365D57F0E}"/>
          </ac:picMkLst>
        </pc:picChg>
        <pc:picChg chg="del">
          <ac:chgData name="Paul LEGEARD" userId="73b5704d-da1d-4b70-8e12-6d54d32b01a3" providerId="ADAL" clId="{DE80CFAE-6707-4FDE-B875-0F457F49933B}" dt="2023-06-08T06:13:50.071" v="1493" actId="478"/>
          <ac:picMkLst>
            <pc:docMk/>
            <pc:sldMk cId="478606570" sldId="2147471261"/>
            <ac:picMk id="1026" creationId="{DC4C680A-2468-6BCE-456C-2F79AB2E7D0D}"/>
          </ac:picMkLst>
        </pc:picChg>
      </pc:sldChg>
      <pc:sldChg chg="modSp add mod">
        <pc:chgData name="Paul LEGEARD" userId="73b5704d-da1d-4b70-8e12-6d54d32b01a3" providerId="ADAL" clId="{DE80CFAE-6707-4FDE-B875-0F457F49933B}" dt="2023-06-08T06:14:39.907" v="1751" actId="20577"/>
        <pc:sldMkLst>
          <pc:docMk/>
          <pc:sldMk cId="3169786814" sldId="2147471262"/>
        </pc:sldMkLst>
        <pc:spChg chg="mod">
          <ac:chgData name="Paul LEGEARD" userId="73b5704d-da1d-4b70-8e12-6d54d32b01a3" providerId="ADAL" clId="{DE80CFAE-6707-4FDE-B875-0F457F49933B}" dt="2023-06-08T06:14:39.907" v="1751" actId="20577"/>
          <ac:spMkLst>
            <pc:docMk/>
            <pc:sldMk cId="3169786814" sldId="2147471262"/>
            <ac:spMk id="10" creationId="{C99D3972-5559-786B-27EF-3CF3782BC7A1}"/>
          </ac:spMkLst>
        </pc:spChg>
      </pc:sldChg>
      <pc:sldChg chg="modSp add mod">
        <pc:chgData name="Paul LEGEARD" userId="73b5704d-da1d-4b70-8e12-6d54d32b01a3" providerId="ADAL" clId="{DE80CFAE-6707-4FDE-B875-0F457F49933B}" dt="2023-06-08T06:14:49.678" v="1792" actId="20577"/>
        <pc:sldMkLst>
          <pc:docMk/>
          <pc:sldMk cId="3816995396" sldId="2147471263"/>
        </pc:sldMkLst>
        <pc:spChg chg="mod">
          <ac:chgData name="Paul LEGEARD" userId="73b5704d-da1d-4b70-8e12-6d54d32b01a3" providerId="ADAL" clId="{DE80CFAE-6707-4FDE-B875-0F457F49933B}" dt="2023-06-08T06:14:49.678" v="1792" actId="20577"/>
          <ac:spMkLst>
            <pc:docMk/>
            <pc:sldMk cId="3816995396" sldId="2147471263"/>
            <ac:spMk id="10" creationId="{C99D3972-5559-786B-27EF-3CF3782BC7A1}"/>
          </ac:spMkLst>
        </pc:spChg>
      </pc:sldChg>
    </pc:docChg>
  </pc:docChgLst>
  <pc:docChgLst>
    <pc:chgData name="Paul LEGEARD" userId="73b5704d-da1d-4b70-8e12-6d54d32b01a3" providerId="ADAL" clId="{775B50DC-746B-4D38-A475-9C9D543CF4D9}"/>
    <pc:docChg chg="undo custSel addSld delSld modSld sldOrd">
      <pc:chgData name="Paul LEGEARD" userId="73b5704d-da1d-4b70-8e12-6d54d32b01a3" providerId="ADAL" clId="{775B50DC-746B-4D38-A475-9C9D543CF4D9}" dt="2023-04-26T12:47:26.854" v="2917" actId="113"/>
      <pc:docMkLst>
        <pc:docMk/>
      </pc:docMkLst>
      <pc:sldChg chg="modSp mod">
        <pc:chgData name="Paul LEGEARD" userId="73b5704d-da1d-4b70-8e12-6d54d32b01a3" providerId="ADAL" clId="{775B50DC-746B-4D38-A475-9C9D543CF4D9}" dt="2023-04-26T07:17:16.165" v="1040" actId="1038"/>
        <pc:sldMkLst>
          <pc:docMk/>
          <pc:sldMk cId="144615472" sldId="2147374870"/>
        </pc:sldMkLst>
        <pc:spChg chg="mod">
          <ac:chgData name="Paul LEGEARD" userId="73b5704d-da1d-4b70-8e12-6d54d32b01a3" providerId="ADAL" clId="{775B50DC-746B-4D38-A475-9C9D543CF4D9}" dt="2023-04-26T07:17:16.165" v="1040" actId="1038"/>
          <ac:spMkLst>
            <pc:docMk/>
            <pc:sldMk cId="144615472" sldId="2147374870"/>
            <ac:spMk id="65" creationId="{FA2AC4DA-E236-5805-D1DC-F28274BAC1EB}"/>
          </ac:spMkLst>
        </pc:spChg>
        <pc:spChg chg="mod">
          <ac:chgData name="Paul LEGEARD" userId="73b5704d-da1d-4b70-8e12-6d54d32b01a3" providerId="ADAL" clId="{775B50DC-746B-4D38-A475-9C9D543CF4D9}" dt="2023-04-26T07:17:16.165" v="1040" actId="1038"/>
          <ac:spMkLst>
            <pc:docMk/>
            <pc:sldMk cId="144615472" sldId="2147374870"/>
            <ac:spMk id="66" creationId="{63CBC255-3AB4-FE5B-0763-B5A0A250691E}"/>
          </ac:spMkLst>
        </pc:spChg>
      </pc:sldChg>
      <pc:sldChg chg="addSp delSp modSp mod">
        <pc:chgData name="Paul LEGEARD" userId="73b5704d-da1d-4b70-8e12-6d54d32b01a3" providerId="ADAL" clId="{775B50DC-746B-4D38-A475-9C9D543CF4D9}" dt="2023-04-26T08:06:45.096" v="2111" actId="1076"/>
        <pc:sldMkLst>
          <pc:docMk/>
          <pc:sldMk cId="3648747636" sldId="2147469794"/>
        </pc:sldMkLst>
        <pc:spChg chg="mod">
          <ac:chgData name="Paul LEGEARD" userId="73b5704d-da1d-4b70-8e12-6d54d32b01a3" providerId="ADAL" clId="{775B50DC-746B-4D38-A475-9C9D543CF4D9}" dt="2023-04-26T08:06:45.096" v="2111" actId="1076"/>
          <ac:spMkLst>
            <pc:docMk/>
            <pc:sldMk cId="3648747636" sldId="2147469794"/>
            <ac:spMk id="2" creationId="{48B27D31-FF6E-DB60-8457-B021897C9A1E}"/>
          </ac:spMkLst>
        </pc:spChg>
        <pc:spChg chg="add del mod">
          <ac:chgData name="Paul LEGEARD" userId="73b5704d-da1d-4b70-8e12-6d54d32b01a3" providerId="ADAL" clId="{775B50DC-746B-4D38-A475-9C9D543CF4D9}" dt="2023-04-26T08:05:52.071" v="2092" actId="478"/>
          <ac:spMkLst>
            <pc:docMk/>
            <pc:sldMk cId="3648747636" sldId="2147469794"/>
            <ac:spMk id="3" creationId="{59DE5EC3-B656-E03B-2A33-F80FF63772A8}"/>
          </ac:spMkLst>
        </pc:spChg>
        <pc:spChg chg="mod">
          <ac:chgData name="Paul LEGEARD" userId="73b5704d-da1d-4b70-8e12-6d54d32b01a3" providerId="ADAL" clId="{775B50DC-746B-4D38-A475-9C9D543CF4D9}" dt="2023-04-24T09:23:58.707" v="30" actId="313"/>
          <ac:spMkLst>
            <pc:docMk/>
            <pc:sldMk cId="3648747636" sldId="2147469794"/>
            <ac:spMk id="4" creationId="{52AFB3F8-88A7-4D69-8A52-45D00774625C}"/>
          </ac:spMkLst>
        </pc:spChg>
        <pc:spChg chg="del mod">
          <ac:chgData name="Paul LEGEARD" userId="73b5704d-da1d-4b70-8e12-6d54d32b01a3" providerId="ADAL" clId="{775B50DC-746B-4D38-A475-9C9D543CF4D9}" dt="2023-04-26T08:05:50.759" v="2091" actId="478"/>
          <ac:spMkLst>
            <pc:docMk/>
            <pc:sldMk cId="3648747636" sldId="2147469794"/>
            <ac:spMk id="6" creationId="{19F7E7EE-88BA-0FCB-688D-1D202C9136CC}"/>
          </ac:spMkLst>
        </pc:spChg>
        <pc:spChg chg="mod">
          <ac:chgData name="Paul LEGEARD" userId="73b5704d-da1d-4b70-8e12-6d54d32b01a3" providerId="ADAL" clId="{775B50DC-746B-4D38-A475-9C9D543CF4D9}" dt="2023-04-24T09:26:31.110" v="146" actId="14100"/>
          <ac:spMkLst>
            <pc:docMk/>
            <pc:sldMk cId="3648747636" sldId="2147469794"/>
            <ac:spMk id="11" creationId="{C5E9AE5C-92E8-F2E6-B9DB-DDE3D2CFBC5D}"/>
          </ac:spMkLst>
        </pc:spChg>
        <pc:spChg chg="mod">
          <ac:chgData name="Paul LEGEARD" userId="73b5704d-da1d-4b70-8e12-6d54d32b01a3" providerId="ADAL" clId="{775B50DC-746B-4D38-A475-9C9D543CF4D9}" dt="2023-04-26T08:06:45.096" v="2111" actId="1076"/>
          <ac:spMkLst>
            <pc:docMk/>
            <pc:sldMk cId="3648747636" sldId="2147469794"/>
            <ac:spMk id="15" creationId="{67F25EA4-CE9C-42D2-F4E4-A816978C6305}"/>
          </ac:spMkLst>
        </pc:spChg>
        <pc:spChg chg="mod">
          <ac:chgData name="Paul LEGEARD" userId="73b5704d-da1d-4b70-8e12-6d54d32b01a3" providerId="ADAL" clId="{775B50DC-746B-4D38-A475-9C9D543CF4D9}" dt="2023-04-24T09:26:17.462" v="143" actId="5793"/>
          <ac:spMkLst>
            <pc:docMk/>
            <pc:sldMk cId="3648747636" sldId="2147469794"/>
            <ac:spMk id="27" creationId="{AE4CED06-9D57-E1AB-4A5E-91C8A444EEB8}"/>
          </ac:spMkLst>
        </pc:spChg>
        <pc:spChg chg="mod">
          <ac:chgData name="Paul LEGEARD" userId="73b5704d-da1d-4b70-8e12-6d54d32b01a3" providerId="ADAL" clId="{775B50DC-746B-4D38-A475-9C9D543CF4D9}" dt="2023-04-26T08:06:45.096" v="2111" actId="1076"/>
          <ac:spMkLst>
            <pc:docMk/>
            <pc:sldMk cId="3648747636" sldId="2147469794"/>
            <ac:spMk id="29" creationId="{5BAF18CC-9345-6B9E-7B40-37E259D5599F}"/>
          </ac:spMkLst>
        </pc:spChg>
        <pc:spChg chg="mod">
          <ac:chgData name="Paul LEGEARD" userId="73b5704d-da1d-4b70-8e12-6d54d32b01a3" providerId="ADAL" clId="{775B50DC-746B-4D38-A475-9C9D543CF4D9}" dt="2023-04-26T08:06:45.096" v="2111" actId="1076"/>
          <ac:spMkLst>
            <pc:docMk/>
            <pc:sldMk cId="3648747636" sldId="2147469794"/>
            <ac:spMk id="31" creationId="{5ABF90E5-53CB-9CB7-9688-7B3A1C0DC277}"/>
          </ac:spMkLst>
        </pc:spChg>
        <pc:picChg chg="mod">
          <ac:chgData name="Paul LEGEARD" userId="73b5704d-da1d-4b70-8e12-6d54d32b01a3" providerId="ADAL" clId="{775B50DC-746B-4D38-A475-9C9D543CF4D9}" dt="2023-04-26T08:06:45.096" v="2111" actId="1076"/>
          <ac:picMkLst>
            <pc:docMk/>
            <pc:sldMk cId="3648747636" sldId="2147469794"/>
            <ac:picMk id="5" creationId="{ED939BE9-77DC-5050-A07C-777C5FDE9970}"/>
          </ac:picMkLst>
        </pc:picChg>
        <pc:picChg chg="mod">
          <ac:chgData name="Paul LEGEARD" userId="73b5704d-da1d-4b70-8e12-6d54d32b01a3" providerId="ADAL" clId="{775B50DC-746B-4D38-A475-9C9D543CF4D9}" dt="2023-04-26T08:06:45.096" v="2111" actId="1076"/>
          <ac:picMkLst>
            <pc:docMk/>
            <pc:sldMk cId="3648747636" sldId="2147469794"/>
            <ac:picMk id="21" creationId="{AE59EB7E-E191-1262-4391-983B9FF2B935}"/>
          </ac:picMkLst>
        </pc:picChg>
        <pc:picChg chg="mod">
          <ac:chgData name="Paul LEGEARD" userId="73b5704d-da1d-4b70-8e12-6d54d32b01a3" providerId="ADAL" clId="{775B50DC-746B-4D38-A475-9C9D543CF4D9}" dt="2023-04-26T08:06:45.096" v="2111" actId="1076"/>
          <ac:picMkLst>
            <pc:docMk/>
            <pc:sldMk cId="3648747636" sldId="2147469794"/>
            <ac:picMk id="23" creationId="{51A95395-3F30-015E-1ED2-A29536B821F7}"/>
          </ac:picMkLst>
        </pc:picChg>
        <pc:picChg chg="del">
          <ac:chgData name="Paul LEGEARD" userId="73b5704d-da1d-4b70-8e12-6d54d32b01a3" providerId="ADAL" clId="{775B50DC-746B-4D38-A475-9C9D543CF4D9}" dt="2023-04-26T08:05:50.759" v="2091" actId="478"/>
          <ac:picMkLst>
            <pc:docMk/>
            <pc:sldMk cId="3648747636" sldId="2147469794"/>
            <ac:picMk id="1026" creationId="{F29677F2-4CA7-9C8E-5EE0-48B81EFEB04D}"/>
          </ac:picMkLst>
        </pc:picChg>
        <pc:picChg chg="mod">
          <ac:chgData name="Paul LEGEARD" userId="73b5704d-da1d-4b70-8e12-6d54d32b01a3" providerId="ADAL" clId="{775B50DC-746B-4D38-A475-9C9D543CF4D9}" dt="2023-04-26T08:06:45.096" v="2111" actId="1076"/>
          <ac:picMkLst>
            <pc:docMk/>
            <pc:sldMk cId="3648747636" sldId="2147469794"/>
            <ac:picMk id="1028" creationId="{55DF913C-954B-6682-F65A-43BFDEFBE7BE}"/>
          </ac:picMkLst>
        </pc:picChg>
      </pc:sldChg>
      <pc:sldChg chg="addSp delSp modSp add mod ord">
        <pc:chgData name="Paul LEGEARD" userId="73b5704d-da1d-4b70-8e12-6d54d32b01a3" providerId="ADAL" clId="{775B50DC-746B-4D38-A475-9C9D543CF4D9}" dt="2023-04-26T10:00:31.943" v="2333" actId="14100"/>
        <pc:sldMkLst>
          <pc:docMk/>
          <pc:sldMk cId="487642081" sldId="2147469795"/>
        </pc:sldMkLst>
        <pc:spChg chg="mod">
          <ac:chgData name="Paul LEGEARD" userId="73b5704d-da1d-4b70-8e12-6d54d32b01a3" providerId="ADAL" clId="{775B50DC-746B-4D38-A475-9C9D543CF4D9}" dt="2023-04-26T07:19:36.679" v="1181" actId="1035"/>
          <ac:spMkLst>
            <pc:docMk/>
            <pc:sldMk cId="487642081" sldId="2147469795"/>
            <ac:spMk id="2" creationId="{C583C801-00C2-3C77-CBD7-51F7543965E7}"/>
          </ac:spMkLst>
        </pc:spChg>
        <pc:spChg chg="mod ord">
          <ac:chgData name="Paul LEGEARD" userId="73b5704d-da1d-4b70-8e12-6d54d32b01a3" providerId="ADAL" clId="{775B50DC-746B-4D38-A475-9C9D543CF4D9}" dt="2023-04-26T07:49:28.883" v="1886" actId="2085"/>
          <ac:spMkLst>
            <pc:docMk/>
            <pc:sldMk cId="487642081" sldId="2147469795"/>
            <ac:spMk id="3" creationId="{23880B30-4D3C-2CE5-C20E-1ECD1A3082E4}"/>
          </ac:spMkLst>
        </pc:spChg>
        <pc:spChg chg="mod">
          <ac:chgData name="Paul LEGEARD" userId="73b5704d-da1d-4b70-8e12-6d54d32b01a3" providerId="ADAL" clId="{775B50DC-746B-4D38-A475-9C9D543CF4D9}" dt="2023-04-26T07:19:36.679" v="1181" actId="1035"/>
          <ac:spMkLst>
            <pc:docMk/>
            <pc:sldMk cId="487642081" sldId="2147469795"/>
            <ac:spMk id="13" creationId="{C6320FF4-3DAD-C8B4-7A3A-020E7EAC7B9A}"/>
          </ac:spMkLst>
        </pc:spChg>
        <pc:spChg chg="mod">
          <ac:chgData name="Paul LEGEARD" userId="73b5704d-da1d-4b70-8e12-6d54d32b01a3" providerId="ADAL" clId="{775B50DC-746B-4D38-A475-9C9D543CF4D9}" dt="2023-04-26T07:19:13.252" v="1141" actId="207"/>
          <ac:spMkLst>
            <pc:docMk/>
            <pc:sldMk cId="487642081" sldId="2147469795"/>
            <ac:spMk id="14" creationId="{A4E99F72-3119-4CE3-2280-580BAE5C0B43}"/>
          </ac:spMkLst>
        </pc:spChg>
        <pc:spChg chg="mod">
          <ac:chgData name="Paul LEGEARD" userId="73b5704d-da1d-4b70-8e12-6d54d32b01a3" providerId="ADAL" clId="{775B50DC-746B-4D38-A475-9C9D543CF4D9}" dt="2023-04-26T07:19:36.679" v="1181" actId="1035"/>
          <ac:spMkLst>
            <pc:docMk/>
            <pc:sldMk cId="487642081" sldId="2147469795"/>
            <ac:spMk id="17" creationId="{C0578604-03EF-23E5-0BAC-2BD93EF38A4F}"/>
          </ac:spMkLst>
        </pc:spChg>
        <pc:spChg chg="mod">
          <ac:chgData name="Paul LEGEARD" userId="73b5704d-da1d-4b70-8e12-6d54d32b01a3" providerId="ADAL" clId="{775B50DC-746B-4D38-A475-9C9D543CF4D9}" dt="2023-04-26T07:19:36.679" v="1181" actId="1035"/>
          <ac:spMkLst>
            <pc:docMk/>
            <pc:sldMk cId="487642081" sldId="2147469795"/>
            <ac:spMk id="36" creationId="{AA0C9A06-6A18-8C40-4D2D-A006C71107CE}"/>
          </ac:spMkLst>
        </pc:spChg>
        <pc:spChg chg="mod">
          <ac:chgData name="Paul LEGEARD" userId="73b5704d-da1d-4b70-8e12-6d54d32b01a3" providerId="ADAL" clId="{775B50DC-746B-4D38-A475-9C9D543CF4D9}" dt="2023-04-26T07:49:28.883" v="1886" actId="2085"/>
          <ac:spMkLst>
            <pc:docMk/>
            <pc:sldMk cId="487642081" sldId="2147469795"/>
            <ac:spMk id="37" creationId="{FF140C7D-FA42-E545-8874-219F260CC8DB}"/>
          </ac:spMkLst>
        </pc:spChg>
        <pc:spChg chg="add mod">
          <ac:chgData name="Paul LEGEARD" userId="73b5704d-da1d-4b70-8e12-6d54d32b01a3" providerId="ADAL" clId="{775B50DC-746B-4D38-A475-9C9D543CF4D9}" dt="2023-04-26T07:19:25.114" v="1143" actId="1076"/>
          <ac:spMkLst>
            <pc:docMk/>
            <pc:sldMk cId="487642081" sldId="2147469795"/>
            <ac:spMk id="38" creationId="{4CC4B7EB-9922-64FF-415E-45EF56B787CD}"/>
          </ac:spMkLst>
        </pc:spChg>
        <pc:spChg chg="mod">
          <ac:chgData name="Paul LEGEARD" userId="73b5704d-da1d-4b70-8e12-6d54d32b01a3" providerId="ADAL" clId="{775B50DC-746B-4D38-A475-9C9D543CF4D9}" dt="2023-04-26T07:19:36.679" v="1181" actId="1035"/>
          <ac:spMkLst>
            <pc:docMk/>
            <pc:sldMk cId="487642081" sldId="2147469795"/>
            <ac:spMk id="41" creationId="{92EF87CB-7BCE-CB2B-1FCE-AEA2400A2C71}"/>
          </ac:spMkLst>
        </pc:spChg>
        <pc:spChg chg="mod">
          <ac:chgData name="Paul LEGEARD" userId="73b5704d-da1d-4b70-8e12-6d54d32b01a3" providerId="ADAL" clId="{775B50DC-746B-4D38-A475-9C9D543CF4D9}" dt="2023-04-26T07:49:28.883" v="1886" actId="2085"/>
          <ac:spMkLst>
            <pc:docMk/>
            <pc:sldMk cId="487642081" sldId="2147469795"/>
            <ac:spMk id="42" creationId="{6B714DB7-306A-393A-71A2-4CD7CF4487DF}"/>
          </ac:spMkLst>
        </pc:spChg>
        <pc:spChg chg="mod ord">
          <ac:chgData name="Paul LEGEARD" userId="73b5704d-da1d-4b70-8e12-6d54d32b01a3" providerId="ADAL" clId="{775B50DC-746B-4D38-A475-9C9D543CF4D9}" dt="2023-04-26T07:49:28.883" v="1886" actId="2085"/>
          <ac:spMkLst>
            <pc:docMk/>
            <pc:sldMk cId="487642081" sldId="2147469795"/>
            <ac:spMk id="44" creationId="{09F50408-81DD-7DDB-84BE-825176AD6522}"/>
          </ac:spMkLst>
        </pc:spChg>
        <pc:spChg chg="mod">
          <ac:chgData name="Paul LEGEARD" userId="73b5704d-da1d-4b70-8e12-6d54d32b01a3" providerId="ADAL" clId="{775B50DC-746B-4D38-A475-9C9D543CF4D9}" dt="2023-04-26T07:49:28.883" v="1886" actId="2085"/>
          <ac:spMkLst>
            <pc:docMk/>
            <pc:sldMk cId="487642081" sldId="2147469795"/>
            <ac:spMk id="45" creationId="{E5D41454-3C67-6844-5FE3-048C373FEA45}"/>
          </ac:spMkLst>
        </pc:spChg>
        <pc:spChg chg="mod">
          <ac:chgData name="Paul LEGEARD" userId="73b5704d-da1d-4b70-8e12-6d54d32b01a3" providerId="ADAL" clId="{775B50DC-746B-4D38-A475-9C9D543CF4D9}" dt="2023-04-26T07:49:28.883" v="1886" actId="2085"/>
          <ac:spMkLst>
            <pc:docMk/>
            <pc:sldMk cId="487642081" sldId="2147469795"/>
            <ac:spMk id="46" creationId="{516A7726-B039-63B6-BC43-A082DF3222A6}"/>
          </ac:spMkLst>
        </pc:spChg>
        <pc:spChg chg="mod">
          <ac:chgData name="Paul LEGEARD" userId="73b5704d-da1d-4b70-8e12-6d54d32b01a3" providerId="ADAL" clId="{775B50DC-746B-4D38-A475-9C9D543CF4D9}" dt="2023-04-26T07:49:28.883" v="1886" actId="2085"/>
          <ac:spMkLst>
            <pc:docMk/>
            <pc:sldMk cId="487642081" sldId="2147469795"/>
            <ac:spMk id="47" creationId="{CBFB7CA8-5362-DA49-53BC-4A3CB3D71A22}"/>
          </ac:spMkLst>
        </pc:spChg>
        <pc:spChg chg="mod">
          <ac:chgData name="Paul LEGEARD" userId="73b5704d-da1d-4b70-8e12-6d54d32b01a3" providerId="ADAL" clId="{775B50DC-746B-4D38-A475-9C9D543CF4D9}" dt="2023-04-26T07:19:36.679" v="1181" actId="1035"/>
          <ac:spMkLst>
            <pc:docMk/>
            <pc:sldMk cId="487642081" sldId="2147469795"/>
            <ac:spMk id="53" creationId="{916C0228-5611-DF59-E834-8664410D7B90}"/>
          </ac:spMkLst>
        </pc:spChg>
        <pc:spChg chg="mod">
          <ac:chgData name="Paul LEGEARD" userId="73b5704d-da1d-4b70-8e12-6d54d32b01a3" providerId="ADAL" clId="{775B50DC-746B-4D38-A475-9C9D543CF4D9}" dt="2023-04-26T07:19:36.679" v="1181" actId="1035"/>
          <ac:spMkLst>
            <pc:docMk/>
            <pc:sldMk cId="487642081" sldId="2147469795"/>
            <ac:spMk id="55" creationId="{05A86FA6-446A-FE1D-8630-F5260213E528}"/>
          </ac:spMkLst>
        </pc:spChg>
        <pc:spChg chg="del">
          <ac:chgData name="Paul LEGEARD" userId="73b5704d-da1d-4b70-8e12-6d54d32b01a3" providerId="ADAL" clId="{775B50DC-746B-4D38-A475-9C9D543CF4D9}" dt="2023-04-26T07:18:32.752" v="1135" actId="478"/>
          <ac:spMkLst>
            <pc:docMk/>
            <pc:sldMk cId="487642081" sldId="2147469795"/>
            <ac:spMk id="56" creationId="{8F88E245-9801-1861-4F8A-2FF33C8F66FE}"/>
          </ac:spMkLst>
        </pc:spChg>
        <pc:spChg chg="mod">
          <ac:chgData name="Paul LEGEARD" userId="73b5704d-da1d-4b70-8e12-6d54d32b01a3" providerId="ADAL" clId="{775B50DC-746B-4D38-A475-9C9D543CF4D9}" dt="2023-04-26T07:19:36.679" v="1181" actId="1035"/>
          <ac:spMkLst>
            <pc:docMk/>
            <pc:sldMk cId="487642081" sldId="2147469795"/>
            <ac:spMk id="57" creationId="{1D2B96CF-D3A8-A7AF-E22A-9C477B02C357}"/>
          </ac:spMkLst>
        </pc:spChg>
        <pc:spChg chg="mod">
          <ac:chgData name="Paul LEGEARD" userId="73b5704d-da1d-4b70-8e12-6d54d32b01a3" providerId="ADAL" clId="{775B50DC-746B-4D38-A475-9C9D543CF4D9}" dt="2023-04-26T07:19:36.679" v="1181" actId="1035"/>
          <ac:spMkLst>
            <pc:docMk/>
            <pc:sldMk cId="487642081" sldId="2147469795"/>
            <ac:spMk id="58" creationId="{AE347CBC-7DF4-B618-8CD7-F9F7BB7C0457}"/>
          </ac:spMkLst>
        </pc:spChg>
        <pc:spChg chg="mod">
          <ac:chgData name="Paul LEGEARD" userId="73b5704d-da1d-4b70-8e12-6d54d32b01a3" providerId="ADAL" clId="{775B50DC-746B-4D38-A475-9C9D543CF4D9}" dt="2023-04-26T10:00:31.943" v="2333" actId="14100"/>
          <ac:spMkLst>
            <pc:docMk/>
            <pc:sldMk cId="487642081" sldId="2147469795"/>
            <ac:spMk id="72" creationId="{5E95B548-961A-6B48-7587-6F4651A33E02}"/>
          </ac:spMkLst>
        </pc:spChg>
        <pc:spChg chg="mod">
          <ac:chgData name="Paul LEGEARD" userId="73b5704d-da1d-4b70-8e12-6d54d32b01a3" providerId="ADAL" clId="{775B50DC-746B-4D38-A475-9C9D543CF4D9}" dt="2023-04-26T07:18:22.113" v="1134" actId="20577"/>
          <ac:spMkLst>
            <pc:docMk/>
            <pc:sldMk cId="487642081" sldId="2147469795"/>
            <ac:spMk id="79" creationId="{9007893F-DE3F-4277-8B72-135CF4773651}"/>
          </ac:spMkLst>
        </pc:spChg>
        <pc:spChg chg="mod">
          <ac:chgData name="Paul LEGEARD" userId="73b5704d-da1d-4b70-8e12-6d54d32b01a3" providerId="ADAL" clId="{775B50DC-746B-4D38-A475-9C9D543CF4D9}" dt="2023-04-26T07:50:00.290" v="1889" actId="1582"/>
          <ac:spMkLst>
            <pc:docMk/>
            <pc:sldMk cId="487642081" sldId="2147469795"/>
            <ac:spMk id="81" creationId="{F2BA1E53-9631-28E3-0388-53BCC060C6D3}"/>
          </ac:spMkLst>
        </pc:spChg>
        <pc:spChg chg="add mod">
          <ac:chgData name="Paul LEGEARD" userId="73b5704d-da1d-4b70-8e12-6d54d32b01a3" providerId="ADAL" clId="{775B50DC-746B-4D38-A475-9C9D543CF4D9}" dt="2023-04-26T07:19:31.701" v="1172" actId="20577"/>
          <ac:spMkLst>
            <pc:docMk/>
            <pc:sldMk cId="487642081" sldId="2147469795"/>
            <ac:spMk id="82" creationId="{BB61A4F4-3393-F569-76C8-A122CA30810F}"/>
          </ac:spMkLst>
        </pc:spChg>
        <pc:spChg chg="mod">
          <ac:chgData name="Paul LEGEARD" userId="73b5704d-da1d-4b70-8e12-6d54d32b01a3" providerId="ADAL" clId="{775B50DC-746B-4D38-A475-9C9D543CF4D9}" dt="2023-04-26T07:50:25.087" v="1891" actId="14100"/>
          <ac:spMkLst>
            <pc:docMk/>
            <pc:sldMk cId="487642081" sldId="2147469795"/>
            <ac:spMk id="90" creationId="{C5F3094E-1AF9-8075-FF17-F2F4C97EA236}"/>
          </ac:spMkLst>
        </pc:spChg>
        <pc:spChg chg="mod topLvl">
          <ac:chgData name="Paul LEGEARD" userId="73b5704d-da1d-4b70-8e12-6d54d32b01a3" providerId="ADAL" clId="{775B50DC-746B-4D38-A475-9C9D543CF4D9}" dt="2023-04-26T07:23:33.193" v="1235" actId="478"/>
          <ac:spMkLst>
            <pc:docMk/>
            <pc:sldMk cId="487642081" sldId="2147469795"/>
            <ac:spMk id="92" creationId="{582F218E-D646-B0AA-85BA-6CB92AF97285}"/>
          </ac:spMkLst>
        </pc:spChg>
        <pc:spChg chg="add del mod topLvl">
          <ac:chgData name="Paul LEGEARD" userId="73b5704d-da1d-4b70-8e12-6d54d32b01a3" providerId="ADAL" clId="{775B50DC-746B-4D38-A475-9C9D543CF4D9}" dt="2023-04-26T07:50:31.122" v="1893" actId="14100"/>
          <ac:spMkLst>
            <pc:docMk/>
            <pc:sldMk cId="487642081" sldId="2147469795"/>
            <ac:spMk id="93" creationId="{BF913262-C223-1295-0907-29F1C09111B6}"/>
          </ac:spMkLst>
        </pc:spChg>
        <pc:grpChg chg="del">
          <ac:chgData name="Paul LEGEARD" userId="73b5704d-da1d-4b70-8e12-6d54d32b01a3" providerId="ADAL" clId="{775B50DC-746B-4D38-A475-9C9D543CF4D9}" dt="2023-04-26T07:19:56.600" v="1183" actId="478"/>
          <ac:grpSpMkLst>
            <pc:docMk/>
            <pc:sldMk cId="487642081" sldId="2147469795"/>
            <ac:grpSpMk id="22" creationId="{30399903-B91B-68C8-98ED-4B962A44B4D3}"/>
          </ac:grpSpMkLst>
        </pc:grpChg>
        <pc:grpChg chg="del">
          <ac:chgData name="Paul LEGEARD" userId="73b5704d-da1d-4b70-8e12-6d54d32b01a3" providerId="ADAL" clId="{775B50DC-746B-4D38-A475-9C9D543CF4D9}" dt="2023-04-26T07:49:05.012" v="1880" actId="478"/>
          <ac:grpSpMkLst>
            <pc:docMk/>
            <pc:sldMk cId="487642081" sldId="2147469795"/>
            <ac:grpSpMk id="25" creationId="{7C7BBD98-6253-61D6-09D4-D6E4E534FE0E}"/>
          </ac:grpSpMkLst>
        </pc:grpChg>
        <pc:grpChg chg="add del">
          <ac:chgData name="Paul LEGEARD" userId="73b5704d-da1d-4b70-8e12-6d54d32b01a3" providerId="ADAL" clId="{775B50DC-746B-4D38-A475-9C9D543CF4D9}" dt="2023-04-26T07:49:09.591" v="1882" actId="478"/>
          <ac:grpSpMkLst>
            <pc:docMk/>
            <pc:sldMk cId="487642081" sldId="2147469795"/>
            <ac:grpSpMk id="40" creationId="{410E7750-ECF6-B43C-3741-064EF2E8EDE7}"/>
          </ac:grpSpMkLst>
        </pc:grpChg>
        <pc:grpChg chg="mod">
          <ac:chgData name="Paul LEGEARD" userId="73b5704d-da1d-4b70-8e12-6d54d32b01a3" providerId="ADAL" clId="{775B50DC-746B-4D38-A475-9C9D543CF4D9}" dt="2023-04-26T07:22:32.937" v="1226" actId="1076"/>
          <ac:grpSpMkLst>
            <pc:docMk/>
            <pc:sldMk cId="487642081" sldId="2147469795"/>
            <ac:grpSpMk id="49" creationId="{A027B165-8E3F-26C7-1C97-0D80060A37A0}"/>
          </ac:grpSpMkLst>
        </pc:grpChg>
        <pc:grpChg chg="add del">
          <ac:chgData name="Paul LEGEARD" userId="73b5704d-da1d-4b70-8e12-6d54d32b01a3" providerId="ADAL" clId="{775B50DC-746B-4D38-A475-9C9D543CF4D9}" dt="2023-04-26T07:49:10.433" v="1883" actId="478"/>
          <ac:grpSpMkLst>
            <pc:docMk/>
            <pc:sldMk cId="487642081" sldId="2147469795"/>
            <ac:grpSpMk id="52" creationId="{A4BC7C42-C30E-292C-5E06-F768A38396A0}"/>
          </ac:grpSpMkLst>
        </pc:grpChg>
        <pc:grpChg chg="del">
          <ac:chgData name="Paul LEGEARD" userId="73b5704d-da1d-4b70-8e12-6d54d32b01a3" providerId="ADAL" clId="{775B50DC-746B-4D38-A475-9C9D543CF4D9}" dt="2023-04-26T07:49:07.948" v="1881" actId="478"/>
          <ac:grpSpMkLst>
            <pc:docMk/>
            <pc:sldMk cId="487642081" sldId="2147469795"/>
            <ac:grpSpMk id="68" creationId="{F94FCC21-0805-EF36-5127-EBBBAB43F909}"/>
          </ac:grpSpMkLst>
        </pc:grpChg>
        <pc:grpChg chg="mod">
          <ac:chgData name="Paul LEGEARD" userId="73b5704d-da1d-4b70-8e12-6d54d32b01a3" providerId="ADAL" clId="{775B50DC-746B-4D38-A475-9C9D543CF4D9}" dt="2023-04-26T10:00:26.038" v="2332" actId="1076"/>
          <ac:grpSpMkLst>
            <pc:docMk/>
            <pc:sldMk cId="487642081" sldId="2147469795"/>
            <ac:grpSpMk id="71" creationId="{056DB0F9-8B01-EDB9-051E-9E828FE5DBC5}"/>
          </ac:grpSpMkLst>
        </pc:grpChg>
        <pc:grpChg chg="del">
          <ac:chgData name="Paul LEGEARD" userId="73b5704d-da1d-4b70-8e12-6d54d32b01a3" providerId="ADAL" clId="{775B50DC-746B-4D38-A475-9C9D543CF4D9}" dt="2023-04-26T07:49:12.226" v="1884" actId="478"/>
          <ac:grpSpMkLst>
            <pc:docMk/>
            <pc:sldMk cId="487642081" sldId="2147469795"/>
            <ac:grpSpMk id="74" creationId="{65A667EA-64EF-DBB6-62CC-48D95DDB7D65}"/>
          </ac:grpSpMkLst>
        </pc:grpChg>
        <pc:grpChg chg="mod">
          <ac:chgData name="Paul LEGEARD" userId="73b5704d-da1d-4b70-8e12-6d54d32b01a3" providerId="ADAL" clId="{775B50DC-746B-4D38-A475-9C9D543CF4D9}" dt="2023-04-26T07:24:07.099" v="1251" actId="14100"/>
          <ac:grpSpMkLst>
            <pc:docMk/>
            <pc:sldMk cId="487642081" sldId="2147469795"/>
            <ac:grpSpMk id="77" creationId="{5D4FCC40-9EB8-2D6F-9F4E-677E1F937815}"/>
          </ac:grpSpMkLst>
        </pc:grpChg>
        <pc:grpChg chg="del">
          <ac:chgData name="Paul LEGEARD" userId="73b5704d-da1d-4b70-8e12-6d54d32b01a3" providerId="ADAL" clId="{775B50DC-746B-4D38-A475-9C9D543CF4D9}" dt="2023-04-26T07:49:13.179" v="1885" actId="478"/>
          <ac:grpSpMkLst>
            <pc:docMk/>
            <pc:sldMk cId="487642081" sldId="2147469795"/>
            <ac:grpSpMk id="85" creationId="{F1546EA7-D7CC-B46C-C4B7-E20DC4DE7F2F}"/>
          </ac:grpSpMkLst>
        </pc:grpChg>
        <pc:grpChg chg="mod">
          <ac:chgData name="Paul LEGEARD" userId="73b5704d-da1d-4b70-8e12-6d54d32b01a3" providerId="ADAL" clId="{775B50DC-746B-4D38-A475-9C9D543CF4D9}" dt="2023-04-26T07:23:15.416" v="1232" actId="14100"/>
          <ac:grpSpMkLst>
            <pc:docMk/>
            <pc:sldMk cId="487642081" sldId="2147469795"/>
            <ac:grpSpMk id="88" creationId="{E49E122A-204E-28E0-3D08-477B2B926E56}"/>
          </ac:grpSpMkLst>
        </pc:grpChg>
        <pc:grpChg chg="add del mod">
          <ac:chgData name="Paul LEGEARD" userId="73b5704d-da1d-4b70-8e12-6d54d32b01a3" providerId="ADAL" clId="{775B50DC-746B-4D38-A475-9C9D543CF4D9}" dt="2023-04-26T07:23:33.193" v="1235" actId="478"/>
          <ac:grpSpMkLst>
            <pc:docMk/>
            <pc:sldMk cId="487642081" sldId="2147469795"/>
            <ac:grpSpMk id="91" creationId="{D8DB5EFC-462C-4776-BAB0-51BA91FF4AF9}"/>
          </ac:grpSpMkLst>
        </pc:grpChg>
        <pc:grpChg chg="mod">
          <ac:chgData name="Paul LEGEARD" userId="73b5704d-da1d-4b70-8e12-6d54d32b01a3" providerId="ADAL" clId="{775B50DC-746B-4D38-A475-9C9D543CF4D9}" dt="2023-04-26T07:24:11.373" v="1252" actId="14100"/>
          <ac:grpSpMkLst>
            <pc:docMk/>
            <pc:sldMk cId="487642081" sldId="2147469795"/>
            <ac:grpSpMk id="94" creationId="{E7FAD2B7-7A4B-1C0E-16E4-E3598506417C}"/>
          </ac:grpSpMkLst>
        </pc:grpChg>
      </pc:sldChg>
      <pc:sldChg chg="modSp del mod">
        <pc:chgData name="Paul LEGEARD" userId="73b5704d-da1d-4b70-8e12-6d54d32b01a3" providerId="ADAL" clId="{775B50DC-746B-4D38-A475-9C9D543CF4D9}" dt="2023-04-26T07:22:11.162" v="1223" actId="47"/>
        <pc:sldMkLst>
          <pc:docMk/>
          <pc:sldMk cId="2686501270" sldId="2147469838"/>
        </pc:sldMkLst>
        <pc:spChg chg="mod">
          <ac:chgData name="Paul LEGEARD" userId="73b5704d-da1d-4b70-8e12-6d54d32b01a3" providerId="ADAL" clId="{775B50DC-746B-4D38-A475-9C9D543CF4D9}" dt="2023-04-24T09:38:56.975" v="513" actId="20577"/>
          <ac:spMkLst>
            <pc:docMk/>
            <pc:sldMk cId="2686501270" sldId="2147469838"/>
            <ac:spMk id="11" creationId="{EB36FA0A-875A-8BA4-9E1E-E70B73638EC6}"/>
          </ac:spMkLst>
        </pc:spChg>
        <pc:spChg chg="mod">
          <ac:chgData name="Paul LEGEARD" userId="73b5704d-da1d-4b70-8e12-6d54d32b01a3" providerId="ADAL" clId="{775B50DC-746B-4D38-A475-9C9D543CF4D9}" dt="2023-04-26T07:17:53.488" v="1088" actId="20577"/>
          <ac:spMkLst>
            <pc:docMk/>
            <pc:sldMk cId="2686501270" sldId="2147469838"/>
            <ac:spMk id="16" creationId="{448DE8CF-0EE1-EDBE-1FAD-0557485FA636}"/>
          </ac:spMkLst>
        </pc:spChg>
        <pc:spChg chg="mod">
          <ac:chgData name="Paul LEGEARD" userId="73b5704d-da1d-4b70-8e12-6d54d32b01a3" providerId="ADAL" clId="{775B50DC-746B-4D38-A475-9C9D543CF4D9}" dt="2023-04-26T07:17:58.519" v="1092" actId="6549"/>
          <ac:spMkLst>
            <pc:docMk/>
            <pc:sldMk cId="2686501270" sldId="2147469838"/>
            <ac:spMk id="17" creationId="{5D52EEF0-9622-C290-020D-3D7C007EC820}"/>
          </ac:spMkLst>
        </pc:spChg>
        <pc:spChg chg="mod">
          <ac:chgData name="Paul LEGEARD" userId="73b5704d-da1d-4b70-8e12-6d54d32b01a3" providerId="ADAL" clId="{775B50DC-746B-4D38-A475-9C9D543CF4D9}" dt="2023-04-26T07:17:57.318" v="1091" actId="6549"/>
          <ac:spMkLst>
            <pc:docMk/>
            <pc:sldMk cId="2686501270" sldId="2147469838"/>
            <ac:spMk id="18" creationId="{AAB2CA58-048B-F2EC-1689-93EBB5125E4A}"/>
          </ac:spMkLst>
        </pc:spChg>
        <pc:spChg chg="mod">
          <ac:chgData name="Paul LEGEARD" userId="73b5704d-da1d-4b70-8e12-6d54d32b01a3" providerId="ADAL" clId="{775B50DC-746B-4D38-A475-9C9D543CF4D9}" dt="2023-04-26T07:17:56.512" v="1090" actId="6549"/>
          <ac:spMkLst>
            <pc:docMk/>
            <pc:sldMk cId="2686501270" sldId="2147469838"/>
            <ac:spMk id="19" creationId="{B55F8F77-760D-80BE-EDBF-DE36A964D958}"/>
          </ac:spMkLst>
        </pc:spChg>
        <pc:spChg chg="mod">
          <ac:chgData name="Paul LEGEARD" userId="73b5704d-da1d-4b70-8e12-6d54d32b01a3" providerId="ADAL" clId="{775B50DC-746B-4D38-A475-9C9D543CF4D9}" dt="2023-04-26T07:17:54.594" v="1089" actId="6549"/>
          <ac:spMkLst>
            <pc:docMk/>
            <pc:sldMk cId="2686501270" sldId="2147469838"/>
            <ac:spMk id="20" creationId="{779C9063-E3CD-87B4-A907-20F0BF664ED7}"/>
          </ac:spMkLst>
        </pc:spChg>
        <pc:spChg chg="mod">
          <ac:chgData name="Paul LEGEARD" userId="73b5704d-da1d-4b70-8e12-6d54d32b01a3" providerId="ADAL" clId="{775B50DC-746B-4D38-A475-9C9D543CF4D9}" dt="2023-04-25T12:44:46.967" v="998" actId="404"/>
          <ac:spMkLst>
            <pc:docMk/>
            <pc:sldMk cId="2686501270" sldId="2147469838"/>
            <ac:spMk id="21" creationId="{95DF4B14-75B9-2780-BCD5-0EFE6EFB5129}"/>
          </ac:spMkLst>
        </pc:spChg>
      </pc:sldChg>
      <pc:sldChg chg="addSp delSp modSp mod ord modNotesTx">
        <pc:chgData name="Paul LEGEARD" userId="73b5704d-da1d-4b70-8e12-6d54d32b01a3" providerId="ADAL" clId="{775B50DC-746B-4D38-A475-9C9D543CF4D9}" dt="2023-04-26T12:47:26.854" v="2917" actId="113"/>
        <pc:sldMkLst>
          <pc:docMk/>
          <pc:sldMk cId="796615112" sldId="2147469839"/>
        </pc:sldMkLst>
        <pc:spChg chg="del">
          <ac:chgData name="Paul LEGEARD" userId="73b5704d-da1d-4b70-8e12-6d54d32b01a3" providerId="ADAL" clId="{775B50DC-746B-4D38-A475-9C9D543CF4D9}" dt="2023-04-26T07:24:53.638" v="1262" actId="478"/>
          <ac:spMkLst>
            <pc:docMk/>
            <pc:sldMk cId="796615112" sldId="2147469839"/>
            <ac:spMk id="5" creationId="{E11F70F4-0FFB-CADB-AA35-592CD41EF5A3}"/>
          </ac:spMkLst>
        </pc:spChg>
        <pc:spChg chg="add del mod">
          <ac:chgData name="Paul LEGEARD" userId="73b5704d-da1d-4b70-8e12-6d54d32b01a3" providerId="ADAL" clId="{775B50DC-746B-4D38-A475-9C9D543CF4D9}" dt="2023-04-25T12:45:34.544" v="1000"/>
          <ac:spMkLst>
            <pc:docMk/>
            <pc:sldMk cId="796615112" sldId="2147469839"/>
            <ac:spMk id="6" creationId="{18B000CB-89CD-4827-6E66-68989417D582}"/>
          </ac:spMkLst>
        </pc:spChg>
        <pc:spChg chg="add mod">
          <ac:chgData name="Paul LEGEARD" userId="73b5704d-da1d-4b70-8e12-6d54d32b01a3" providerId="ADAL" clId="{775B50DC-746B-4D38-A475-9C9D543CF4D9}" dt="2023-04-26T08:17:37.497" v="2294" actId="207"/>
          <ac:spMkLst>
            <pc:docMk/>
            <pc:sldMk cId="796615112" sldId="2147469839"/>
            <ac:spMk id="6" creationId="{A81BD83D-783B-C33E-A9AA-F0E2B69C3D9A}"/>
          </ac:spMkLst>
        </pc:spChg>
        <pc:graphicFrameChg chg="mod modGraphic">
          <ac:chgData name="Paul LEGEARD" userId="73b5704d-da1d-4b70-8e12-6d54d32b01a3" providerId="ADAL" clId="{775B50DC-746B-4D38-A475-9C9D543CF4D9}" dt="2023-04-26T11:55:03.036" v="2838" actId="20577"/>
          <ac:graphicFrameMkLst>
            <pc:docMk/>
            <pc:sldMk cId="796615112" sldId="2147469839"/>
            <ac:graphicFrameMk id="3" creationId="{E55CB80B-B5B0-5FF0-291A-5D7D28DD4786}"/>
          </ac:graphicFrameMkLst>
        </pc:graphicFrameChg>
        <pc:picChg chg="add mod">
          <ac:chgData name="Paul LEGEARD" userId="73b5704d-da1d-4b70-8e12-6d54d32b01a3" providerId="ADAL" clId="{775B50DC-746B-4D38-A475-9C9D543CF4D9}" dt="2023-04-26T08:17:43.018" v="2295" actId="207"/>
          <ac:picMkLst>
            <pc:docMk/>
            <pc:sldMk cId="796615112" sldId="2147469839"/>
            <ac:picMk id="9" creationId="{AF6B62BC-D8FF-ADA1-273F-0ED3FB3540E7}"/>
          </ac:picMkLst>
        </pc:picChg>
        <pc:picChg chg="del mod">
          <ac:chgData name="Paul LEGEARD" userId="73b5704d-da1d-4b70-8e12-6d54d32b01a3" providerId="ADAL" clId="{775B50DC-746B-4D38-A475-9C9D543CF4D9}" dt="2023-04-26T11:27:27.274" v="2774" actId="478"/>
          <ac:picMkLst>
            <pc:docMk/>
            <pc:sldMk cId="796615112" sldId="2147469839"/>
            <ac:picMk id="10" creationId="{43C41EA7-F73F-B002-4B54-9F861632C8AA}"/>
          </ac:picMkLst>
        </pc:picChg>
        <pc:picChg chg="add mod">
          <ac:chgData name="Paul LEGEARD" userId="73b5704d-da1d-4b70-8e12-6d54d32b01a3" providerId="ADAL" clId="{775B50DC-746B-4D38-A475-9C9D543CF4D9}" dt="2023-04-26T11:28:06.411" v="2783" actId="1076"/>
          <ac:picMkLst>
            <pc:docMk/>
            <pc:sldMk cId="796615112" sldId="2147469839"/>
            <ac:picMk id="11" creationId="{163F3548-A38C-E678-A163-845B39D460EE}"/>
          </ac:picMkLst>
        </pc:picChg>
      </pc:sldChg>
      <pc:sldChg chg="modSp mod">
        <pc:chgData name="Paul LEGEARD" userId="73b5704d-da1d-4b70-8e12-6d54d32b01a3" providerId="ADAL" clId="{775B50DC-746B-4D38-A475-9C9D543CF4D9}" dt="2023-04-26T11:55:53.351" v="2840" actId="108"/>
        <pc:sldMkLst>
          <pc:docMk/>
          <pc:sldMk cId="1760373903" sldId="2147469841"/>
        </pc:sldMkLst>
        <pc:spChg chg="mod">
          <ac:chgData name="Paul LEGEARD" userId="73b5704d-da1d-4b70-8e12-6d54d32b01a3" providerId="ADAL" clId="{775B50DC-746B-4D38-A475-9C9D543CF4D9}" dt="2023-04-24T09:31:23.866" v="433" actId="6549"/>
          <ac:spMkLst>
            <pc:docMk/>
            <pc:sldMk cId="1760373903" sldId="2147469841"/>
            <ac:spMk id="3" creationId="{868D8618-14FB-16D5-024A-4010A2700A05}"/>
          </ac:spMkLst>
        </pc:spChg>
        <pc:spChg chg="mod">
          <ac:chgData name="Paul LEGEARD" userId="73b5704d-da1d-4b70-8e12-6d54d32b01a3" providerId="ADAL" clId="{775B50DC-746B-4D38-A475-9C9D543CF4D9}" dt="2023-04-26T11:55:53.351" v="2840" actId="108"/>
          <ac:spMkLst>
            <pc:docMk/>
            <pc:sldMk cId="1760373903" sldId="2147469841"/>
            <ac:spMk id="16" creationId="{D3C71103-432D-A1B4-CFC5-95BAB846BD47}"/>
          </ac:spMkLst>
        </pc:spChg>
        <pc:spChg chg="mod">
          <ac:chgData name="Paul LEGEARD" userId="73b5704d-da1d-4b70-8e12-6d54d32b01a3" providerId="ADAL" clId="{775B50DC-746B-4D38-A475-9C9D543CF4D9}" dt="2023-04-24T09:27:27.580" v="167" actId="14100"/>
          <ac:spMkLst>
            <pc:docMk/>
            <pc:sldMk cId="1760373903" sldId="2147469841"/>
            <ac:spMk id="28" creationId="{799337D2-BF00-8CCC-981F-7F23EBAD5088}"/>
          </ac:spMkLst>
        </pc:spChg>
        <pc:spChg chg="mod">
          <ac:chgData name="Paul LEGEARD" userId="73b5704d-da1d-4b70-8e12-6d54d32b01a3" providerId="ADAL" clId="{775B50DC-746B-4D38-A475-9C9D543CF4D9}" dt="2023-04-24T09:30:41.615" v="397" actId="20577"/>
          <ac:spMkLst>
            <pc:docMk/>
            <pc:sldMk cId="1760373903" sldId="2147469841"/>
            <ac:spMk id="36" creationId="{81DE215E-8491-D942-CBE0-5E903EBEE6E9}"/>
          </ac:spMkLst>
        </pc:spChg>
      </pc:sldChg>
      <pc:sldChg chg="modSp mod">
        <pc:chgData name="Paul LEGEARD" userId="73b5704d-da1d-4b70-8e12-6d54d32b01a3" providerId="ADAL" clId="{775B50DC-746B-4D38-A475-9C9D543CF4D9}" dt="2023-04-24T09:38:36.684" v="481" actId="20577"/>
        <pc:sldMkLst>
          <pc:docMk/>
          <pc:sldMk cId="925870861" sldId="2147469842"/>
        </pc:sldMkLst>
        <pc:spChg chg="mod">
          <ac:chgData name="Paul LEGEARD" userId="73b5704d-da1d-4b70-8e12-6d54d32b01a3" providerId="ADAL" clId="{775B50DC-746B-4D38-A475-9C9D543CF4D9}" dt="2023-04-24T09:38:36.684" v="481" actId="20577"/>
          <ac:spMkLst>
            <pc:docMk/>
            <pc:sldMk cId="925870861" sldId="2147469842"/>
            <ac:spMk id="2" creationId="{F0003610-ECB2-D62E-BE3D-5E0AB4D9D1CB}"/>
          </ac:spMkLst>
        </pc:spChg>
        <pc:spChg chg="mod">
          <ac:chgData name="Paul LEGEARD" userId="73b5704d-da1d-4b70-8e12-6d54d32b01a3" providerId="ADAL" clId="{775B50DC-746B-4D38-A475-9C9D543CF4D9}" dt="2023-04-24T09:32:48.315" v="456" actId="20577"/>
          <ac:spMkLst>
            <pc:docMk/>
            <pc:sldMk cId="925870861" sldId="2147469842"/>
            <ac:spMk id="4" creationId="{52AFB3F8-88A7-4D69-8A52-45D00774625C}"/>
          </ac:spMkLst>
        </pc:spChg>
        <pc:spChg chg="mod">
          <ac:chgData name="Paul LEGEARD" userId="73b5704d-da1d-4b70-8e12-6d54d32b01a3" providerId="ADAL" clId="{775B50DC-746B-4D38-A475-9C9D543CF4D9}" dt="2023-04-24T09:32:28.745" v="454" actId="20577"/>
          <ac:spMkLst>
            <pc:docMk/>
            <pc:sldMk cId="925870861" sldId="2147469842"/>
            <ac:spMk id="16" creationId="{D3C71103-432D-A1B4-CFC5-95BAB846BD47}"/>
          </ac:spMkLst>
        </pc:spChg>
        <pc:graphicFrameChg chg="modGraphic">
          <ac:chgData name="Paul LEGEARD" userId="73b5704d-da1d-4b70-8e12-6d54d32b01a3" providerId="ADAL" clId="{775B50DC-746B-4D38-A475-9C9D543CF4D9}" dt="2023-04-24T09:23:38.923" v="29" actId="6549"/>
          <ac:graphicFrameMkLst>
            <pc:docMk/>
            <pc:sldMk cId="925870861" sldId="2147469842"/>
            <ac:graphicFrameMk id="10" creationId="{C6B30C97-CBAA-3C98-4F2A-BAEF0F990C49}"/>
          </ac:graphicFrameMkLst>
        </pc:graphicFrameChg>
      </pc:sldChg>
      <pc:sldChg chg="addSp delSp modSp mod">
        <pc:chgData name="Paul LEGEARD" userId="73b5704d-da1d-4b70-8e12-6d54d32b01a3" providerId="ADAL" clId="{775B50DC-746B-4D38-A475-9C9D543CF4D9}" dt="2023-04-26T09:41:17.153" v="2296" actId="1076"/>
        <pc:sldMkLst>
          <pc:docMk/>
          <pc:sldMk cId="1748526257" sldId="2147469843"/>
        </pc:sldMkLst>
        <pc:spChg chg="add mod">
          <ac:chgData name="Paul LEGEARD" userId="73b5704d-da1d-4b70-8e12-6d54d32b01a3" providerId="ADAL" clId="{775B50DC-746B-4D38-A475-9C9D543CF4D9}" dt="2023-04-26T09:41:17.153" v="2296" actId="1076"/>
          <ac:spMkLst>
            <pc:docMk/>
            <pc:sldMk cId="1748526257" sldId="2147469843"/>
            <ac:spMk id="2" creationId="{50A3CE69-7A5C-99D2-EAE2-A9EA1500662D}"/>
          </ac:spMkLst>
        </pc:spChg>
        <pc:spChg chg="mod">
          <ac:chgData name="Paul LEGEARD" userId="73b5704d-da1d-4b70-8e12-6d54d32b01a3" providerId="ADAL" clId="{775B50DC-746B-4D38-A475-9C9D543CF4D9}" dt="2023-04-26T08:13:17.379" v="2232" actId="1036"/>
          <ac:spMkLst>
            <pc:docMk/>
            <pc:sldMk cId="1748526257" sldId="2147469843"/>
            <ac:spMk id="3" creationId="{DC67C7AA-E0DC-D4B4-1432-BF9AF65FC39B}"/>
          </ac:spMkLst>
        </pc:spChg>
        <pc:spChg chg="add del mod">
          <ac:chgData name="Paul LEGEARD" userId="73b5704d-da1d-4b70-8e12-6d54d32b01a3" providerId="ADAL" clId="{775B50DC-746B-4D38-A475-9C9D543CF4D9}" dt="2023-04-25T12:42:11.448" v="751" actId="478"/>
          <ac:spMkLst>
            <pc:docMk/>
            <pc:sldMk cId="1748526257" sldId="2147469843"/>
            <ac:spMk id="5" creationId="{E190F39C-9DA9-0867-628A-BD731BEC5C43}"/>
          </ac:spMkLst>
        </pc:spChg>
        <pc:spChg chg="add del mod">
          <ac:chgData name="Paul LEGEARD" userId="73b5704d-da1d-4b70-8e12-6d54d32b01a3" providerId="ADAL" clId="{775B50DC-746B-4D38-A475-9C9D543CF4D9}" dt="2023-04-26T08:12:58.469" v="2181" actId="478"/>
          <ac:spMkLst>
            <pc:docMk/>
            <pc:sldMk cId="1748526257" sldId="2147469843"/>
            <ac:spMk id="6" creationId="{701CD259-9C9E-77BF-4AB9-22329A3D9C4D}"/>
          </ac:spMkLst>
        </pc:spChg>
        <pc:spChg chg="mod">
          <ac:chgData name="Paul LEGEARD" userId="73b5704d-da1d-4b70-8e12-6d54d32b01a3" providerId="ADAL" clId="{775B50DC-746B-4D38-A475-9C9D543CF4D9}" dt="2023-04-26T08:13:17.379" v="2232" actId="1036"/>
          <ac:spMkLst>
            <pc:docMk/>
            <pc:sldMk cId="1748526257" sldId="2147469843"/>
            <ac:spMk id="19" creationId="{6FB9D570-1B64-EF19-8042-D83F5F98AED9}"/>
          </ac:spMkLst>
        </pc:spChg>
        <pc:spChg chg="mod">
          <ac:chgData name="Paul LEGEARD" userId="73b5704d-da1d-4b70-8e12-6d54d32b01a3" providerId="ADAL" clId="{775B50DC-746B-4D38-A475-9C9D543CF4D9}" dt="2023-04-26T08:13:12.216" v="2214" actId="1036"/>
          <ac:spMkLst>
            <pc:docMk/>
            <pc:sldMk cId="1748526257" sldId="2147469843"/>
            <ac:spMk id="22" creationId="{F51496F9-119E-CA0D-AF38-6E6AD153793C}"/>
          </ac:spMkLst>
        </pc:spChg>
        <pc:spChg chg="mod">
          <ac:chgData name="Paul LEGEARD" userId="73b5704d-da1d-4b70-8e12-6d54d32b01a3" providerId="ADAL" clId="{775B50DC-746B-4D38-A475-9C9D543CF4D9}" dt="2023-04-26T08:13:12.216" v="2214" actId="1036"/>
          <ac:spMkLst>
            <pc:docMk/>
            <pc:sldMk cId="1748526257" sldId="2147469843"/>
            <ac:spMk id="24" creationId="{690E815F-040E-4130-2B74-8F2F2823F8C1}"/>
          </ac:spMkLst>
        </pc:spChg>
        <pc:spChg chg="mod">
          <ac:chgData name="Paul LEGEARD" userId="73b5704d-da1d-4b70-8e12-6d54d32b01a3" providerId="ADAL" clId="{775B50DC-746B-4D38-A475-9C9D543CF4D9}" dt="2023-04-26T08:13:12.216" v="2214" actId="1036"/>
          <ac:spMkLst>
            <pc:docMk/>
            <pc:sldMk cId="1748526257" sldId="2147469843"/>
            <ac:spMk id="25" creationId="{D4F2149B-A312-0739-76DF-1BF4FEEA1CF1}"/>
          </ac:spMkLst>
        </pc:spChg>
        <pc:spChg chg="mod">
          <ac:chgData name="Paul LEGEARD" userId="73b5704d-da1d-4b70-8e12-6d54d32b01a3" providerId="ADAL" clId="{775B50DC-746B-4D38-A475-9C9D543CF4D9}" dt="2023-04-26T08:13:17.379" v="2232" actId="1036"/>
          <ac:spMkLst>
            <pc:docMk/>
            <pc:sldMk cId="1748526257" sldId="2147469843"/>
            <ac:spMk id="26" creationId="{2FDC0B78-9F6A-6810-4BBD-2FB7CD22F8C5}"/>
          </ac:spMkLst>
        </pc:spChg>
        <pc:spChg chg="mod">
          <ac:chgData name="Paul LEGEARD" userId="73b5704d-da1d-4b70-8e12-6d54d32b01a3" providerId="ADAL" clId="{775B50DC-746B-4D38-A475-9C9D543CF4D9}" dt="2023-04-26T08:13:27.439" v="2233" actId="14100"/>
          <ac:spMkLst>
            <pc:docMk/>
            <pc:sldMk cId="1748526257" sldId="2147469843"/>
            <ac:spMk id="28" creationId="{E3A8EF27-5916-A417-2B33-76B9A858A630}"/>
          </ac:spMkLst>
        </pc:spChg>
        <pc:spChg chg="mod">
          <ac:chgData name="Paul LEGEARD" userId="73b5704d-da1d-4b70-8e12-6d54d32b01a3" providerId="ADAL" clId="{775B50DC-746B-4D38-A475-9C9D543CF4D9}" dt="2023-04-26T08:13:17.379" v="2232" actId="1036"/>
          <ac:spMkLst>
            <pc:docMk/>
            <pc:sldMk cId="1748526257" sldId="2147469843"/>
            <ac:spMk id="45" creationId="{89C922EC-137B-0990-BF58-CC27B65A0FAC}"/>
          </ac:spMkLst>
        </pc:spChg>
        <pc:spChg chg="mod">
          <ac:chgData name="Paul LEGEARD" userId="73b5704d-da1d-4b70-8e12-6d54d32b01a3" providerId="ADAL" clId="{775B50DC-746B-4D38-A475-9C9D543CF4D9}" dt="2023-04-26T08:13:17.379" v="2232" actId="1036"/>
          <ac:spMkLst>
            <pc:docMk/>
            <pc:sldMk cId="1748526257" sldId="2147469843"/>
            <ac:spMk id="46" creationId="{B5C74E4A-CDE8-5115-A097-B477F99C3242}"/>
          </ac:spMkLst>
        </pc:spChg>
        <pc:spChg chg="mod">
          <ac:chgData name="Paul LEGEARD" userId="73b5704d-da1d-4b70-8e12-6d54d32b01a3" providerId="ADAL" clId="{775B50DC-746B-4D38-A475-9C9D543CF4D9}" dt="2023-04-26T08:13:17.379" v="2232" actId="1036"/>
          <ac:spMkLst>
            <pc:docMk/>
            <pc:sldMk cId="1748526257" sldId="2147469843"/>
            <ac:spMk id="47" creationId="{819A92A1-32E6-DCD1-3CF6-DD5E2F5B6D41}"/>
          </ac:spMkLst>
        </pc:spChg>
        <pc:picChg chg="add del mod">
          <ac:chgData name="Paul LEGEARD" userId="73b5704d-da1d-4b70-8e12-6d54d32b01a3" providerId="ADAL" clId="{775B50DC-746B-4D38-A475-9C9D543CF4D9}" dt="2023-04-25T12:41:54.888" v="738" actId="478"/>
          <ac:picMkLst>
            <pc:docMk/>
            <pc:sldMk cId="1748526257" sldId="2147469843"/>
            <ac:picMk id="7" creationId="{2B581DC0-DBE0-3B87-0137-769958E05ADF}"/>
          </ac:picMkLst>
        </pc:picChg>
        <pc:picChg chg="add del mod">
          <ac:chgData name="Paul LEGEARD" userId="73b5704d-da1d-4b70-8e12-6d54d32b01a3" providerId="ADAL" clId="{775B50DC-746B-4D38-A475-9C9D543CF4D9}" dt="2023-04-26T08:13:08.238" v="2197" actId="478"/>
          <ac:picMkLst>
            <pc:docMk/>
            <pc:sldMk cId="1748526257" sldId="2147469843"/>
            <ac:picMk id="10" creationId="{07C94998-EB22-0ACD-C213-CD36130D7598}"/>
          </ac:picMkLst>
        </pc:picChg>
        <pc:picChg chg="mod">
          <ac:chgData name="Paul LEGEARD" userId="73b5704d-da1d-4b70-8e12-6d54d32b01a3" providerId="ADAL" clId="{775B50DC-746B-4D38-A475-9C9D543CF4D9}" dt="2023-04-26T08:13:12.216" v="2214" actId="1036"/>
          <ac:picMkLst>
            <pc:docMk/>
            <pc:sldMk cId="1748526257" sldId="2147469843"/>
            <ac:picMk id="20" creationId="{17AC73AE-09CD-1A0C-9579-6D292FCB50E1}"/>
          </ac:picMkLst>
        </pc:picChg>
        <pc:picChg chg="mod">
          <ac:chgData name="Paul LEGEARD" userId="73b5704d-da1d-4b70-8e12-6d54d32b01a3" providerId="ADAL" clId="{775B50DC-746B-4D38-A475-9C9D543CF4D9}" dt="2023-04-26T08:13:12.216" v="2214" actId="1036"/>
          <ac:picMkLst>
            <pc:docMk/>
            <pc:sldMk cId="1748526257" sldId="2147469843"/>
            <ac:picMk id="34" creationId="{7089B073-1869-BD76-5A2D-36DE94D4B654}"/>
          </ac:picMkLst>
        </pc:picChg>
        <pc:picChg chg="mod">
          <ac:chgData name="Paul LEGEARD" userId="73b5704d-da1d-4b70-8e12-6d54d32b01a3" providerId="ADAL" clId="{775B50DC-746B-4D38-A475-9C9D543CF4D9}" dt="2023-04-26T08:13:12.216" v="2214" actId="1036"/>
          <ac:picMkLst>
            <pc:docMk/>
            <pc:sldMk cId="1748526257" sldId="2147469843"/>
            <ac:picMk id="37" creationId="{4CC7F4B1-A1CC-FBFE-B610-7589799424C9}"/>
          </ac:picMkLst>
        </pc:picChg>
        <pc:cxnChg chg="mod">
          <ac:chgData name="Paul LEGEARD" userId="73b5704d-da1d-4b70-8e12-6d54d32b01a3" providerId="ADAL" clId="{775B50DC-746B-4D38-A475-9C9D543CF4D9}" dt="2023-04-26T08:13:17.379" v="2232" actId="1036"/>
          <ac:cxnSpMkLst>
            <pc:docMk/>
            <pc:sldMk cId="1748526257" sldId="2147469843"/>
            <ac:cxnSpMk id="43" creationId="{05E50EDD-C1F8-F87B-7BBE-86B1120DA553}"/>
          </ac:cxnSpMkLst>
        </pc:cxnChg>
        <pc:cxnChg chg="mod">
          <ac:chgData name="Paul LEGEARD" userId="73b5704d-da1d-4b70-8e12-6d54d32b01a3" providerId="ADAL" clId="{775B50DC-746B-4D38-A475-9C9D543CF4D9}" dt="2023-04-26T08:13:17.379" v="2232" actId="1036"/>
          <ac:cxnSpMkLst>
            <pc:docMk/>
            <pc:sldMk cId="1748526257" sldId="2147469843"/>
            <ac:cxnSpMk id="50" creationId="{4DE2D6FD-5257-E475-6349-A19FCA503FBB}"/>
          </ac:cxnSpMkLst>
        </pc:cxnChg>
        <pc:cxnChg chg="mod">
          <ac:chgData name="Paul LEGEARD" userId="73b5704d-da1d-4b70-8e12-6d54d32b01a3" providerId="ADAL" clId="{775B50DC-746B-4D38-A475-9C9D543CF4D9}" dt="2023-04-26T08:13:17.379" v="2232" actId="1036"/>
          <ac:cxnSpMkLst>
            <pc:docMk/>
            <pc:sldMk cId="1748526257" sldId="2147469843"/>
            <ac:cxnSpMk id="51" creationId="{C74AFBBE-19D3-B7B0-73BE-F6AEF2741FD2}"/>
          </ac:cxnSpMkLst>
        </pc:cxnChg>
      </pc:sldChg>
      <pc:sldChg chg="addSp delSp modSp mod">
        <pc:chgData name="Paul LEGEARD" userId="73b5704d-da1d-4b70-8e12-6d54d32b01a3" providerId="ADAL" clId="{775B50DC-746B-4D38-A475-9C9D543CF4D9}" dt="2023-04-26T08:07:12.939" v="2131" actId="20577"/>
        <pc:sldMkLst>
          <pc:docMk/>
          <pc:sldMk cId="2262956167" sldId="2147469844"/>
        </pc:sldMkLst>
        <pc:spChg chg="mod">
          <ac:chgData name="Paul LEGEARD" userId="73b5704d-da1d-4b70-8e12-6d54d32b01a3" providerId="ADAL" clId="{775B50DC-746B-4D38-A475-9C9D543CF4D9}" dt="2023-04-24T09:38:42.858" v="496" actId="20577"/>
          <ac:spMkLst>
            <pc:docMk/>
            <pc:sldMk cId="2262956167" sldId="2147469844"/>
            <ac:spMk id="2" creationId="{F0003610-ECB2-D62E-BE3D-5E0AB4D9D1CB}"/>
          </ac:spMkLst>
        </pc:spChg>
        <pc:spChg chg="mod">
          <ac:chgData name="Paul LEGEARD" userId="73b5704d-da1d-4b70-8e12-6d54d32b01a3" providerId="ADAL" clId="{775B50DC-746B-4D38-A475-9C9D543CF4D9}" dt="2023-04-24T09:32:45.502" v="455" actId="20577"/>
          <ac:spMkLst>
            <pc:docMk/>
            <pc:sldMk cId="2262956167" sldId="2147469844"/>
            <ac:spMk id="4" creationId="{52AFB3F8-88A7-4D69-8A52-45D00774625C}"/>
          </ac:spMkLst>
        </pc:spChg>
        <pc:spChg chg="add del mod">
          <ac:chgData name="Paul LEGEARD" userId="73b5704d-da1d-4b70-8e12-6d54d32b01a3" providerId="ADAL" clId="{775B50DC-746B-4D38-A475-9C9D543CF4D9}" dt="2023-04-25T12:44:29.546" v="996"/>
          <ac:spMkLst>
            <pc:docMk/>
            <pc:sldMk cId="2262956167" sldId="2147469844"/>
            <ac:spMk id="13" creationId="{3F3B480D-B808-C45F-F3CA-BB29E43D5DFB}"/>
          </ac:spMkLst>
        </pc:spChg>
        <pc:spChg chg="add mod">
          <ac:chgData name="Paul LEGEARD" userId="73b5704d-da1d-4b70-8e12-6d54d32b01a3" providerId="ADAL" clId="{775B50DC-746B-4D38-A475-9C9D543CF4D9}" dt="2023-04-25T12:44:16.159" v="942" actId="1076"/>
          <ac:spMkLst>
            <pc:docMk/>
            <pc:sldMk cId="2262956167" sldId="2147469844"/>
            <ac:spMk id="14" creationId="{28B08419-3AED-8A09-D648-A19139EFA748}"/>
          </ac:spMkLst>
        </pc:spChg>
        <pc:spChg chg="add mod">
          <ac:chgData name="Paul LEGEARD" userId="73b5704d-da1d-4b70-8e12-6d54d32b01a3" providerId="ADAL" clId="{775B50DC-746B-4D38-A475-9C9D543CF4D9}" dt="2023-04-26T08:07:12.939" v="2131" actId="20577"/>
          <ac:spMkLst>
            <pc:docMk/>
            <pc:sldMk cId="2262956167" sldId="2147469844"/>
            <ac:spMk id="16" creationId="{23CBFC01-8D63-884D-61C9-DBFF92386F41}"/>
          </ac:spMkLst>
        </pc:spChg>
      </pc:sldChg>
      <pc:sldChg chg="modSp add mod">
        <pc:chgData name="Paul LEGEARD" userId="73b5704d-da1d-4b70-8e12-6d54d32b01a3" providerId="ADAL" clId="{775B50DC-746B-4D38-A475-9C9D543CF4D9}" dt="2023-04-25T12:45:44.285" v="1025" actId="14100"/>
        <pc:sldMkLst>
          <pc:docMk/>
          <pc:sldMk cId="895213724" sldId="2147469845"/>
        </pc:sldMkLst>
        <pc:spChg chg="mod">
          <ac:chgData name="Paul LEGEARD" userId="73b5704d-da1d-4b70-8e12-6d54d32b01a3" providerId="ADAL" clId="{775B50DC-746B-4D38-A475-9C9D543CF4D9}" dt="2023-04-25T12:45:44.285" v="1025" actId="14100"/>
          <ac:spMkLst>
            <pc:docMk/>
            <pc:sldMk cId="895213724" sldId="2147469845"/>
            <ac:spMk id="2" creationId="{81BA7D8F-F811-489A-AC70-FD79EE27800F}"/>
          </ac:spMkLst>
        </pc:spChg>
      </pc:sldChg>
      <pc:sldChg chg="add del">
        <pc:chgData name="Paul LEGEARD" userId="73b5704d-da1d-4b70-8e12-6d54d32b01a3" providerId="ADAL" clId="{775B50DC-746B-4D38-A475-9C9D543CF4D9}" dt="2023-04-26T07:57:39.077" v="2076" actId="47"/>
        <pc:sldMkLst>
          <pc:docMk/>
          <pc:sldMk cId="872694192" sldId="2147471252"/>
        </pc:sldMkLst>
      </pc:sldChg>
      <pc:sldChg chg="add">
        <pc:chgData name="Paul LEGEARD" userId="73b5704d-da1d-4b70-8e12-6d54d32b01a3" providerId="ADAL" clId="{775B50DC-746B-4D38-A475-9C9D543CF4D9}" dt="2023-04-26T07:20:49.937" v="1185"/>
        <pc:sldMkLst>
          <pc:docMk/>
          <pc:sldMk cId="1067783265" sldId="2147471253"/>
        </pc:sldMkLst>
      </pc:sldChg>
      <pc:sldChg chg="modSp add del mod">
        <pc:chgData name="Paul LEGEARD" userId="73b5704d-da1d-4b70-8e12-6d54d32b01a3" providerId="ADAL" clId="{775B50DC-746B-4D38-A475-9C9D543CF4D9}" dt="2023-04-26T07:57:38.194" v="2075" actId="47"/>
        <pc:sldMkLst>
          <pc:docMk/>
          <pc:sldMk cId="2055222430" sldId="2147471254"/>
        </pc:sldMkLst>
        <pc:spChg chg="mod">
          <ac:chgData name="Paul LEGEARD" userId="73b5704d-da1d-4b70-8e12-6d54d32b01a3" providerId="ADAL" clId="{775B50DC-746B-4D38-A475-9C9D543CF4D9}" dt="2023-04-26T07:49:47.402" v="1887" actId="2085"/>
          <ac:spMkLst>
            <pc:docMk/>
            <pc:sldMk cId="2055222430" sldId="2147471254"/>
            <ac:spMk id="3" creationId="{23880B30-4D3C-2CE5-C20E-1ECD1A3082E4}"/>
          </ac:spMkLst>
        </pc:spChg>
        <pc:spChg chg="mod">
          <ac:chgData name="Paul LEGEARD" userId="73b5704d-da1d-4b70-8e12-6d54d32b01a3" providerId="ADAL" clId="{775B50DC-746B-4D38-A475-9C9D543CF4D9}" dt="2023-04-26T07:49:47.402" v="1887" actId="2085"/>
          <ac:spMkLst>
            <pc:docMk/>
            <pc:sldMk cId="2055222430" sldId="2147471254"/>
            <ac:spMk id="37" creationId="{FF140C7D-FA42-E545-8874-219F260CC8DB}"/>
          </ac:spMkLst>
        </pc:spChg>
        <pc:spChg chg="mod">
          <ac:chgData name="Paul LEGEARD" userId="73b5704d-da1d-4b70-8e12-6d54d32b01a3" providerId="ADAL" clId="{775B50DC-746B-4D38-A475-9C9D543CF4D9}" dt="2023-04-26T07:49:47.402" v="1887" actId="2085"/>
          <ac:spMkLst>
            <pc:docMk/>
            <pc:sldMk cId="2055222430" sldId="2147471254"/>
            <ac:spMk id="42" creationId="{6B714DB7-306A-393A-71A2-4CD7CF4487DF}"/>
          </ac:spMkLst>
        </pc:spChg>
        <pc:spChg chg="mod">
          <ac:chgData name="Paul LEGEARD" userId="73b5704d-da1d-4b70-8e12-6d54d32b01a3" providerId="ADAL" clId="{775B50DC-746B-4D38-A475-9C9D543CF4D9}" dt="2023-04-26T07:49:47.402" v="1887" actId="2085"/>
          <ac:spMkLst>
            <pc:docMk/>
            <pc:sldMk cId="2055222430" sldId="2147471254"/>
            <ac:spMk id="44" creationId="{09F50408-81DD-7DDB-84BE-825176AD6522}"/>
          </ac:spMkLst>
        </pc:spChg>
        <pc:spChg chg="mod">
          <ac:chgData name="Paul LEGEARD" userId="73b5704d-da1d-4b70-8e12-6d54d32b01a3" providerId="ADAL" clId="{775B50DC-746B-4D38-A475-9C9D543CF4D9}" dt="2023-04-26T07:49:47.402" v="1887" actId="2085"/>
          <ac:spMkLst>
            <pc:docMk/>
            <pc:sldMk cId="2055222430" sldId="2147471254"/>
            <ac:spMk id="45" creationId="{E5D41454-3C67-6844-5FE3-048C373FEA45}"/>
          </ac:spMkLst>
        </pc:spChg>
        <pc:spChg chg="mod">
          <ac:chgData name="Paul LEGEARD" userId="73b5704d-da1d-4b70-8e12-6d54d32b01a3" providerId="ADAL" clId="{775B50DC-746B-4D38-A475-9C9D543CF4D9}" dt="2023-04-26T07:49:47.402" v="1887" actId="2085"/>
          <ac:spMkLst>
            <pc:docMk/>
            <pc:sldMk cId="2055222430" sldId="2147471254"/>
            <ac:spMk id="46" creationId="{516A7726-B039-63B6-BC43-A082DF3222A6}"/>
          </ac:spMkLst>
        </pc:spChg>
        <pc:spChg chg="mod">
          <ac:chgData name="Paul LEGEARD" userId="73b5704d-da1d-4b70-8e12-6d54d32b01a3" providerId="ADAL" clId="{775B50DC-746B-4D38-A475-9C9D543CF4D9}" dt="2023-04-26T07:49:47.402" v="1887" actId="2085"/>
          <ac:spMkLst>
            <pc:docMk/>
            <pc:sldMk cId="2055222430" sldId="2147471254"/>
            <ac:spMk id="47" creationId="{CBFB7CA8-5362-DA49-53BC-4A3CB3D71A22}"/>
          </ac:spMkLst>
        </pc:spChg>
      </pc:sldChg>
      <pc:sldChg chg="modSp add del mod ord">
        <pc:chgData name="Paul LEGEARD" userId="73b5704d-da1d-4b70-8e12-6d54d32b01a3" providerId="ADAL" clId="{775B50DC-746B-4D38-A475-9C9D543CF4D9}" dt="2023-04-26T11:49:54.774" v="2784" actId="2696"/>
        <pc:sldMkLst>
          <pc:docMk/>
          <pc:sldMk cId="2526054179" sldId="2147471255"/>
        </pc:sldMkLst>
        <pc:spChg chg="mod">
          <ac:chgData name="Paul LEGEARD" userId="73b5704d-da1d-4b70-8e12-6d54d32b01a3" providerId="ADAL" clId="{775B50DC-746B-4D38-A475-9C9D543CF4D9}" dt="2023-04-26T07:52:49.017" v="1923" actId="1076"/>
          <ac:spMkLst>
            <pc:docMk/>
            <pc:sldMk cId="2526054179" sldId="2147471255"/>
            <ac:spMk id="7" creationId="{9BC126E8-407F-1D59-C680-8B4DE20F37D7}"/>
          </ac:spMkLst>
        </pc:spChg>
        <pc:graphicFrameChg chg="mod modGraphic">
          <ac:chgData name="Paul LEGEARD" userId="73b5704d-da1d-4b70-8e12-6d54d32b01a3" providerId="ADAL" clId="{775B50DC-746B-4D38-A475-9C9D543CF4D9}" dt="2023-04-26T10:17:20.742" v="2771" actId="122"/>
          <ac:graphicFrameMkLst>
            <pc:docMk/>
            <pc:sldMk cId="2526054179" sldId="2147471255"/>
            <ac:graphicFrameMk id="3" creationId="{E55CB80B-B5B0-5FF0-291A-5D7D28DD4786}"/>
          </ac:graphicFrameMkLst>
        </pc:graphicFrameChg>
        <pc:picChg chg="mod">
          <ac:chgData name="Paul LEGEARD" userId="73b5704d-da1d-4b70-8e12-6d54d32b01a3" providerId="ADAL" clId="{775B50DC-746B-4D38-A475-9C9D543CF4D9}" dt="2023-04-26T07:52:49.017" v="1923" actId="1076"/>
          <ac:picMkLst>
            <pc:docMk/>
            <pc:sldMk cId="2526054179" sldId="2147471255"/>
            <ac:picMk id="2" creationId="{7BDDA423-5ECB-6EA2-438C-00833E96E7F3}"/>
          </ac:picMkLst>
        </pc:picChg>
        <pc:picChg chg="mod">
          <ac:chgData name="Paul LEGEARD" userId="73b5704d-da1d-4b70-8e12-6d54d32b01a3" providerId="ADAL" clId="{775B50DC-746B-4D38-A475-9C9D543CF4D9}" dt="2023-04-26T07:52:51.829" v="1924" actId="1076"/>
          <ac:picMkLst>
            <pc:docMk/>
            <pc:sldMk cId="2526054179" sldId="2147471255"/>
            <ac:picMk id="10" creationId="{43C41EA7-F73F-B002-4B54-9F861632C8AA}"/>
          </ac:picMkLst>
        </pc:picChg>
      </pc:sldChg>
      <pc:sldChg chg="add">
        <pc:chgData name="Paul LEGEARD" userId="73b5704d-da1d-4b70-8e12-6d54d32b01a3" providerId="ADAL" clId="{775B50DC-746B-4D38-A475-9C9D543CF4D9}" dt="2023-04-26T08:06:04.582" v="2094"/>
        <pc:sldMkLst>
          <pc:docMk/>
          <pc:sldMk cId="1362949440" sldId="2147471256"/>
        </pc:sldMkLst>
      </pc:sldChg>
      <pc:sldMasterChg chg="delSldLayout">
        <pc:chgData name="Paul LEGEARD" userId="73b5704d-da1d-4b70-8e12-6d54d32b01a3" providerId="ADAL" clId="{775B50DC-746B-4D38-A475-9C9D543CF4D9}" dt="2023-04-26T07:57:39.077" v="2076" actId="47"/>
        <pc:sldMasterMkLst>
          <pc:docMk/>
          <pc:sldMasterMk cId="3605024799" sldId="2147484446"/>
        </pc:sldMasterMkLst>
        <pc:sldLayoutChg chg="del">
          <pc:chgData name="Paul LEGEARD" userId="73b5704d-da1d-4b70-8e12-6d54d32b01a3" providerId="ADAL" clId="{775B50DC-746B-4D38-A475-9C9D543CF4D9}" dt="2023-04-26T07:57:39.077" v="2076" actId="47"/>
          <pc:sldLayoutMkLst>
            <pc:docMk/>
            <pc:sldMasterMk cId="3605024799" sldId="2147484446"/>
            <pc:sldLayoutMk cId="4196306728" sldId="2147484565"/>
          </pc:sldLayoutMkLst>
        </pc:sldLayoutChg>
      </pc:sldMasterChg>
    </pc:docChg>
  </pc:docChgLst>
  <pc:docChgLst>
    <pc:chgData name="Paul LEGEARD" userId="S::paul.legeard_tribu-conseil.com#ext#@cacommun.onmicrosoft.com::d93005c4-da71-4b00-9907-059060be94dc" providerId="AD" clId="Web-{B11201A0-8417-419A-A6C3-E087A64D680E}"/>
    <pc:docChg chg="addSld modSld">
      <pc:chgData name="Paul LEGEARD" userId="S::paul.legeard_tribu-conseil.com#ext#@cacommun.onmicrosoft.com::d93005c4-da71-4b00-9907-059060be94dc" providerId="AD" clId="Web-{B11201A0-8417-419A-A6C3-E087A64D680E}" dt="2023-09-15T08:58:26.127" v="110" actId="20577"/>
      <pc:docMkLst>
        <pc:docMk/>
      </pc:docMkLst>
      <pc:sldChg chg="modSp add replId">
        <pc:chgData name="Paul LEGEARD" userId="S::paul.legeard_tribu-conseil.com#ext#@cacommun.onmicrosoft.com::d93005c4-da71-4b00-9907-059060be94dc" providerId="AD" clId="Web-{B11201A0-8417-419A-A6C3-E087A64D680E}" dt="2023-09-15T08:55:43.572" v="49" actId="20577"/>
        <pc:sldMkLst>
          <pc:docMk/>
          <pc:sldMk cId="1546576851" sldId="2147471315"/>
        </pc:sldMkLst>
        <pc:spChg chg="mod">
          <ac:chgData name="Paul LEGEARD" userId="S::paul.legeard_tribu-conseil.com#ext#@cacommun.onmicrosoft.com::d93005c4-da71-4b00-9907-059060be94dc" providerId="AD" clId="Web-{B11201A0-8417-419A-A6C3-E087A64D680E}" dt="2023-09-15T08:55:43.572" v="49" actId="20577"/>
          <ac:spMkLst>
            <pc:docMk/>
            <pc:sldMk cId="1546576851" sldId="2147471315"/>
            <ac:spMk id="79" creationId="{9007893F-DE3F-4277-8B72-135CF4773651}"/>
          </ac:spMkLst>
        </pc:spChg>
      </pc:sldChg>
      <pc:sldChg chg="modSp add replId">
        <pc:chgData name="Paul LEGEARD" userId="S::paul.legeard_tribu-conseil.com#ext#@cacommun.onmicrosoft.com::d93005c4-da71-4b00-9907-059060be94dc" providerId="AD" clId="Web-{B11201A0-8417-419A-A6C3-E087A64D680E}" dt="2023-09-15T08:58:26.127" v="110" actId="20577"/>
        <pc:sldMkLst>
          <pc:docMk/>
          <pc:sldMk cId="1420692517" sldId="2147471316"/>
        </pc:sldMkLst>
        <pc:spChg chg="mod">
          <ac:chgData name="Paul LEGEARD" userId="S::paul.legeard_tribu-conseil.com#ext#@cacommun.onmicrosoft.com::d93005c4-da71-4b00-9907-059060be94dc" providerId="AD" clId="Web-{B11201A0-8417-419A-A6C3-E087A64D680E}" dt="2023-09-15T08:58:26.127" v="110" actId="20577"/>
          <ac:spMkLst>
            <pc:docMk/>
            <pc:sldMk cId="1420692517" sldId="2147471316"/>
            <ac:spMk id="10" creationId="{8358D74C-4804-E26A-A663-A72EC1B44D29}"/>
          </ac:spMkLst>
        </pc:spChg>
        <pc:spChg chg="mod">
          <ac:chgData name="Paul LEGEARD" userId="S::paul.legeard_tribu-conseil.com#ext#@cacommun.onmicrosoft.com::d93005c4-da71-4b00-9907-059060be94dc" providerId="AD" clId="Web-{B11201A0-8417-419A-A6C3-E087A64D680E}" dt="2023-09-15T08:57:38.780" v="55" actId="20577"/>
          <ac:spMkLst>
            <pc:docMk/>
            <pc:sldMk cId="1420692517" sldId="2147471316"/>
            <ac:spMk id="79" creationId="{9007893F-DE3F-4277-8B72-135CF4773651}"/>
          </ac:spMkLst>
        </pc:spChg>
      </pc:sldChg>
    </pc:docChg>
  </pc:docChgLst>
  <pc:docChgLst>
    <pc:chgData name="Paul LEGEARD" userId="73b5704d-da1d-4b70-8e12-6d54d32b01a3" providerId="ADAL" clId="{6A0B0392-5B89-4C63-A1D8-1EA797692AC0}"/>
    <pc:docChg chg="undo custSel addSld delSld modSld sldOrd delMainMaster">
      <pc:chgData name="Paul LEGEARD" userId="73b5704d-da1d-4b70-8e12-6d54d32b01a3" providerId="ADAL" clId="{6A0B0392-5B89-4C63-A1D8-1EA797692AC0}" dt="2023-04-17T15:31:20.712" v="7402"/>
      <pc:docMkLst>
        <pc:docMk/>
      </pc:docMkLst>
      <pc:sldChg chg="modSp mod">
        <pc:chgData name="Paul LEGEARD" userId="73b5704d-da1d-4b70-8e12-6d54d32b01a3" providerId="ADAL" clId="{6A0B0392-5B89-4C63-A1D8-1EA797692AC0}" dt="2023-04-17T06:45:41.532" v="50" actId="313"/>
        <pc:sldMkLst>
          <pc:docMk/>
          <pc:sldMk cId="1065887249" sldId="256"/>
        </pc:sldMkLst>
        <pc:spChg chg="mod">
          <ac:chgData name="Paul LEGEARD" userId="73b5704d-da1d-4b70-8e12-6d54d32b01a3" providerId="ADAL" clId="{6A0B0392-5B89-4C63-A1D8-1EA797692AC0}" dt="2023-04-17T06:45:41.532" v="50" actId="313"/>
          <ac:spMkLst>
            <pc:docMk/>
            <pc:sldMk cId="1065887249" sldId="256"/>
            <ac:spMk id="3" creationId="{9E91F614-89FB-4354-B5E3-ECD766CDC165}"/>
          </ac:spMkLst>
        </pc:spChg>
        <pc:spChg chg="mod">
          <ac:chgData name="Paul LEGEARD" userId="73b5704d-da1d-4b70-8e12-6d54d32b01a3" providerId="ADAL" clId="{6A0B0392-5B89-4C63-A1D8-1EA797692AC0}" dt="2023-04-17T06:45:01.621" v="1" actId="20577"/>
          <ac:spMkLst>
            <pc:docMk/>
            <pc:sldMk cId="1065887249" sldId="256"/>
            <ac:spMk id="7" creationId="{BF1A3B6F-14E8-4284-B1D9-EED8011BDF16}"/>
          </ac:spMkLst>
        </pc:spChg>
      </pc:sldChg>
      <pc:sldChg chg="del">
        <pc:chgData name="Paul LEGEARD" userId="73b5704d-da1d-4b70-8e12-6d54d32b01a3" providerId="ADAL" clId="{6A0B0392-5B89-4C63-A1D8-1EA797692AC0}" dt="2023-04-17T07:43:26.117" v="3632" actId="47"/>
        <pc:sldMkLst>
          <pc:docMk/>
          <pc:sldMk cId="3001679096" sldId="258"/>
        </pc:sldMkLst>
      </pc:sldChg>
      <pc:sldChg chg="del">
        <pc:chgData name="Paul LEGEARD" userId="73b5704d-da1d-4b70-8e12-6d54d32b01a3" providerId="ADAL" clId="{6A0B0392-5B89-4C63-A1D8-1EA797692AC0}" dt="2023-04-17T07:43:26.478" v="3634" actId="47"/>
        <pc:sldMkLst>
          <pc:docMk/>
          <pc:sldMk cId="1635881331" sldId="259"/>
        </pc:sldMkLst>
      </pc:sldChg>
      <pc:sldChg chg="del">
        <pc:chgData name="Paul LEGEARD" userId="73b5704d-da1d-4b70-8e12-6d54d32b01a3" providerId="ADAL" clId="{6A0B0392-5B89-4C63-A1D8-1EA797692AC0}" dt="2023-04-17T07:43:27.970" v="3642" actId="47"/>
        <pc:sldMkLst>
          <pc:docMk/>
          <pc:sldMk cId="914707366" sldId="261"/>
        </pc:sldMkLst>
      </pc:sldChg>
      <pc:sldChg chg="del">
        <pc:chgData name="Paul LEGEARD" userId="73b5704d-da1d-4b70-8e12-6d54d32b01a3" providerId="ADAL" clId="{6A0B0392-5B89-4C63-A1D8-1EA797692AC0}" dt="2023-04-17T07:43:28.127" v="3643" actId="47"/>
        <pc:sldMkLst>
          <pc:docMk/>
          <pc:sldMk cId="2257479677" sldId="300"/>
        </pc:sldMkLst>
      </pc:sldChg>
      <pc:sldChg chg="del">
        <pc:chgData name="Paul LEGEARD" userId="73b5704d-da1d-4b70-8e12-6d54d32b01a3" providerId="ADAL" clId="{6A0B0392-5B89-4C63-A1D8-1EA797692AC0}" dt="2023-04-17T07:43:28.284" v="3644" actId="47"/>
        <pc:sldMkLst>
          <pc:docMk/>
          <pc:sldMk cId="2371040918" sldId="301"/>
        </pc:sldMkLst>
      </pc:sldChg>
      <pc:sldChg chg="del">
        <pc:chgData name="Paul LEGEARD" userId="73b5704d-da1d-4b70-8e12-6d54d32b01a3" providerId="ADAL" clId="{6A0B0392-5B89-4C63-A1D8-1EA797692AC0}" dt="2023-04-17T07:43:28.409" v="3645" actId="47"/>
        <pc:sldMkLst>
          <pc:docMk/>
          <pc:sldMk cId="1596807615" sldId="303"/>
        </pc:sldMkLst>
      </pc:sldChg>
      <pc:sldChg chg="del">
        <pc:chgData name="Paul LEGEARD" userId="73b5704d-da1d-4b70-8e12-6d54d32b01a3" providerId="ADAL" clId="{6A0B0392-5B89-4C63-A1D8-1EA797692AC0}" dt="2023-04-17T07:43:28.550" v="3646" actId="47"/>
        <pc:sldMkLst>
          <pc:docMk/>
          <pc:sldMk cId="2332633382" sldId="304"/>
        </pc:sldMkLst>
      </pc:sldChg>
      <pc:sldChg chg="del">
        <pc:chgData name="Paul LEGEARD" userId="73b5704d-da1d-4b70-8e12-6d54d32b01a3" providerId="ADAL" clId="{6A0B0392-5B89-4C63-A1D8-1EA797692AC0}" dt="2023-04-17T07:43:30.754" v="3652" actId="47"/>
        <pc:sldMkLst>
          <pc:docMk/>
          <pc:sldMk cId="3508893578" sldId="2076137333"/>
        </pc:sldMkLst>
      </pc:sldChg>
      <pc:sldChg chg="del">
        <pc:chgData name="Paul LEGEARD" userId="73b5704d-da1d-4b70-8e12-6d54d32b01a3" providerId="ADAL" clId="{6A0B0392-5B89-4C63-A1D8-1EA797692AC0}" dt="2023-04-17T07:43:26.662" v="3635" actId="47"/>
        <pc:sldMkLst>
          <pc:docMk/>
          <pc:sldMk cId="3306201414" sldId="2145706657"/>
        </pc:sldMkLst>
      </pc:sldChg>
      <pc:sldChg chg="del">
        <pc:chgData name="Paul LEGEARD" userId="73b5704d-da1d-4b70-8e12-6d54d32b01a3" providerId="ADAL" clId="{6A0B0392-5B89-4C63-A1D8-1EA797692AC0}" dt="2023-04-17T07:43:28.967" v="3647" actId="47"/>
        <pc:sldMkLst>
          <pc:docMk/>
          <pc:sldMk cId="3246775602" sldId="2145706663"/>
        </pc:sldMkLst>
      </pc:sldChg>
      <pc:sldChg chg="del">
        <pc:chgData name="Paul LEGEARD" userId="73b5704d-da1d-4b70-8e12-6d54d32b01a3" providerId="ADAL" clId="{6A0B0392-5B89-4C63-A1D8-1EA797692AC0}" dt="2023-04-17T07:43:29.226" v="3648" actId="47"/>
        <pc:sldMkLst>
          <pc:docMk/>
          <pc:sldMk cId="656782718" sldId="2145706664"/>
        </pc:sldMkLst>
      </pc:sldChg>
      <pc:sldChg chg="del">
        <pc:chgData name="Paul LEGEARD" userId="73b5704d-da1d-4b70-8e12-6d54d32b01a3" providerId="ADAL" clId="{6A0B0392-5B89-4C63-A1D8-1EA797692AC0}" dt="2023-04-17T07:43:29.415" v="3649" actId="47"/>
        <pc:sldMkLst>
          <pc:docMk/>
          <pc:sldMk cId="3106551981" sldId="2145706672"/>
        </pc:sldMkLst>
      </pc:sldChg>
      <pc:sldChg chg="del">
        <pc:chgData name="Paul LEGEARD" userId="73b5704d-da1d-4b70-8e12-6d54d32b01a3" providerId="ADAL" clId="{6A0B0392-5B89-4C63-A1D8-1EA797692AC0}" dt="2023-04-17T07:43:26.839" v="3637" actId="47"/>
        <pc:sldMkLst>
          <pc:docMk/>
          <pc:sldMk cId="3494230772" sldId="2145706679"/>
        </pc:sldMkLst>
      </pc:sldChg>
      <pc:sldChg chg="del">
        <pc:chgData name="Paul LEGEARD" userId="73b5704d-da1d-4b70-8e12-6d54d32b01a3" providerId="ADAL" clId="{6A0B0392-5B89-4C63-A1D8-1EA797692AC0}" dt="2023-04-17T07:43:26.965" v="3638" actId="47"/>
        <pc:sldMkLst>
          <pc:docMk/>
          <pc:sldMk cId="3546084662" sldId="2145706680"/>
        </pc:sldMkLst>
      </pc:sldChg>
      <pc:sldChg chg="del">
        <pc:chgData name="Paul LEGEARD" userId="73b5704d-da1d-4b70-8e12-6d54d32b01a3" providerId="ADAL" clId="{6A0B0392-5B89-4C63-A1D8-1EA797692AC0}" dt="2023-04-17T07:43:27.264" v="3640" actId="47"/>
        <pc:sldMkLst>
          <pc:docMk/>
          <pc:sldMk cId="3972430632" sldId="2145706682"/>
        </pc:sldMkLst>
      </pc:sldChg>
      <pc:sldChg chg="del">
        <pc:chgData name="Paul LEGEARD" userId="73b5704d-da1d-4b70-8e12-6d54d32b01a3" providerId="ADAL" clId="{6A0B0392-5B89-4C63-A1D8-1EA797692AC0}" dt="2023-04-17T07:43:27.435" v="3641" actId="47"/>
        <pc:sldMkLst>
          <pc:docMk/>
          <pc:sldMk cId="2038556993" sldId="2145706694"/>
        </pc:sldMkLst>
      </pc:sldChg>
      <pc:sldChg chg="del">
        <pc:chgData name="Paul LEGEARD" userId="73b5704d-da1d-4b70-8e12-6d54d32b01a3" providerId="ADAL" clId="{6A0B0392-5B89-4C63-A1D8-1EA797692AC0}" dt="2023-04-17T07:43:30.329" v="3651" actId="47"/>
        <pc:sldMkLst>
          <pc:docMk/>
          <pc:sldMk cId="2861809876" sldId="2145706695"/>
        </pc:sldMkLst>
      </pc:sldChg>
      <pc:sldChg chg="del">
        <pc:chgData name="Paul LEGEARD" userId="73b5704d-da1d-4b70-8e12-6d54d32b01a3" providerId="ADAL" clId="{6A0B0392-5B89-4C63-A1D8-1EA797692AC0}" dt="2023-04-17T07:43:29.572" v="3650" actId="47"/>
        <pc:sldMkLst>
          <pc:docMk/>
          <pc:sldMk cId="1235266948" sldId="2145706697"/>
        </pc:sldMkLst>
      </pc:sldChg>
      <pc:sldChg chg="del">
        <pc:chgData name="Paul LEGEARD" userId="73b5704d-da1d-4b70-8e12-6d54d32b01a3" providerId="ADAL" clId="{6A0B0392-5B89-4C63-A1D8-1EA797692AC0}" dt="2023-04-17T07:43:25.519" v="3630" actId="47"/>
        <pc:sldMkLst>
          <pc:docMk/>
          <pc:sldMk cId="1875023293" sldId="2145706715"/>
        </pc:sldMkLst>
      </pc:sldChg>
      <pc:sldChg chg="del">
        <pc:chgData name="Paul LEGEARD" userId="73b5704d-da1d-4b70-8e12-6d54d32b01a3" providerId="ADAL" clId="{6A0B0392-5B89-4C63-A1D8-1EA797692AC0}" dt="2023-04-17T07:43:26.698" v="3636" actId="47"/>
        <pc:sldMkLst>
          <pc:docMk/>
          <pc:sldMk cId="3285664514" sldId="2145706718"/>
        </pc:sldMkLst>
      </pc:sldChg>
      <pc:sldChg chg="del">
        <pc:chgData name="Paul LEGEARD" userId="73b5704d-da1d-4b70-8e12-6d54d32b01a3" providerId="ADAL" clId="{6A0B0392-5B89-4C63-A1D8-1EA797692AC0}" dt="2023-04-17T07:43:26.446" v="3633" actId="47"/>
        <pc:sldMkLst>
          <pc:docMk/>
          <pc:sldMk cId="2899286123" sldId="2145706719"/>
        </pc:sldMkLst>
      </pc:sldChg>
      <pc:sldChg chg="del">
        <pc:chgData name="Paul LEGEARD" userId="73b5704d-da1d-4b70-8e12-6d54d32b01a3" providerId="ADAL" clId="{6A0B0392-5B89-4C63-A1D8-1EA797692AC0}" dt="2023-04-17T07:43:24.968" v="3629" actId="47"/>
        <pc:sldMkLst>
          <pc:docMk/>
          <pc:sldMk cId="3569893162" sldId="2147374865"/>
        </pc:sldMkLst>
      </pc:sldChg>
      <pc:sldChg chg="del">
        <pc:chgData name="Paul LEGEARD" userId="73b5704d-da1d-4b70-8e12-6d54d32b01a3" providerId="ADAL" clId="{6A0B0392-5B89-4C63-A1D8-1EA797692AC0}" dt="2023-04-17T07:43:24.212" v="3627" actId="47"/>
        <pc:sldMkLst>
          <pc:docMk/>
          <pc:sldMk cId="1898269728" sldId="2147375048"/>
        </pc:sldMkLst>
      </pc:sldChg>
      <pc:sldChg chg="addSp delSp modSp mod">
        <pc:chgData name="Paul LEGEARD" userId="73b5704d-da1d-4b70-8e12-6d54d32b01a3" providerId="ADAL" clId="{6A0B0392-5B89-4C63-A1D8-1EA797692AC0}" dt="2023-04-17T13:43:39.145" v="6976" actId="20577"/>
        <pc:sldMkLst>
          <pc:docMk/>
          <pc:sldMk cId="3648747636" sldId="2147469794"/>
        </pc:sldMkLst>
        <pc:spChg chg="mod">
          <ac:chgData name="Paul LEGEARD" userId="73b5704d-da1d-4b70-8e12-6d54d32b01a3" providerId="ADAL" clId="{6A0B0392-5B89-4C63-A1D8-1EA797692AC0}" dt="2023-04-17T13:43:32.991" v="6974" actId="6549"/>
          <ac:spMkLst>
            <pc:docMk/>
            <pc:sldMk cId="3648747636" sldId="2147469794"/>
            <ac:spMk id="6" creationId="{85218550-C2C3-3ABA-C265-3AEB8EA15533}"/>
          </ac:spMkLst>
        </pc:spChg>
        <pc:spChg chg="add del">
          <ac:chgData name="Paul LEGEARD" userId="73b5704d-da1d-4b70-8e12-6d54d32b01a3" providerId="ADAL" clId="{6A0B0392-5B89-4C63-A1D8-1EA797692AC0}" dt="2023-04-17T06:49:32.314" v="58" actId="22"/>
          <ac:spMkLst>
            <pc:docMk/>
            <pc:sldMk cId="3648747636" sldId="2147469794"/>
            <ac:spMk id="7" creationId="{DFCC14A8-B806-CD75-8705-81C2F4DEB49B}"/>
          </ac:spMkLst>
        </pc:spChg>
        <pc:spChg chg="add mod">
          <ac:chgData name="Paul LEGEARD" userId="73b5704d-da1d-4b70-8e12-6d54d32b01a3" providerId="ADAL" clId="{6A0B0392-5B89-4C63-A1D8-1EA797692AC0}" dt="2023-04-17T06:50:52.177" v="162" actId="207"/>
          <ac:spMkLst>
            <pc:docMk/>
            <pc:sldMk cId="3648747636" sldId="2147469794"/>
            <ac:spMk id="9" creationId="{F65CBBED-5224-5076-0C31-381AF14C3C68}"/>
          </ac:spMkLst>
        </pc:spChg>
        <pc:spChg chg="add mod">
          <ac:chgData name="Paul LEGEARD" userId="73b5704d-da1d-4b70-8e12-6d54d32b01a3" providerId="ADAL" clId="{6A0B0392-5B89-4C63-A1D8-1EA797692AC0}" dt="2023-04-17T13:43:28.257" v="6973" actId="313"/>
          <ac:spMkLst>
            <pc:docMk/>
            <pc:sldMk cId="3648747636" sldId="2147469794"/>
            <ac:spMk id="10" creationId="{9EB876A4-742E-1318-8591-C31EE779B321}"/>
          </ac:spMkLst>
        </pc:spChg>
        <pc:spChg chg="mod">
          <ac:chgData name="Paul LEGEARD" userId="73b5704d-da1d-4b70-8e12-6d54d32b01a3" providerId="ADAL" clId="{6A0B0392-5B89-4C63-A1D8-1EA797692AC0}" dt="2023-04-17T06:49:16.252" v="53" actId="108"/>
          <ac:spMkLst>
            <pc:docMk/>
            <pc:sldMk cId="3648747636" sldId="2147469794"/>
            <ac:spMk id="17" creationId="{813F333F-BB36-886D-0017-80A1BA89C807}"/>
          </ac:spMkLst>
        </pc:spChg>
        <pc:spChg chg="del">
          <ac:chgData name="Paul LEGEARD" userId="73b5704d-da1d-4b70-8e12-6d54d32b01a3" providerId="ADAL" clId="{6A0B0392-5B89-4C63-A1D8-1EA797692AC0}" dt="2023-04-17T06:49:20.788" v="55" actId="478"/>
          <ac:spMkLst>
            <pc:docMk/>
            <pc:sldMk cId="3648747636" sldId="2147469794"/>
            <ac:spMk id="19" creationId="{39A2BCB4-0CC2-A46C-3619-4F4F933EA3A3}"/>
          </ac:spMkLst>
        </pc:spChg>
        <pc:spChg chg="mod">
          <ac:chgData name="Paul LEGEARD" userId="73b5704d-da1d-4b70-8e12-6d54d32b01a3" providerId="ADAL" clId="{6A0B0392-5B89-4C63-A1D8-1EA797692AC0}" dt="2023-04-17T06:50:52.177" v="162" actId="207"/>
          <ac:spMkLst>
            <pc:docMk/>
            <pc:sldMk cId="3648747636" sldId="2147469794"/>
            <ac:spMk id="25" creationId="{0BA4A829-7A48-2E54-1F8A-DE46A12634A3}"/>
          </ac:spMkLst>
        </pc:spChg>
        <pc:spChg chg="del">
          <ac:chgData name="Paul LEGEARD" userId="73b5704d-da1d-4b70-8e12-6d54d32b01a3" providerId="ADAL" clId="{6A0B0392-5B89-4C63-A1D8-1EA797692AC0}" dt="2023-04-17T06:49:02.665" v="51" actId="478"/>
          <ac:spMkLst>
            <pc:docMk/>
            <pc:sldMk cId="3648747636" sldId="2147469794"/>
            <ac:spMk id="39" creationId="{9C8854D1-8A9D-9005-ADE1-4FE7A49F3132}"/>
          </ac:spMkLst>
        </pc:spChg>
        <pc:spChg chg="del">
          <ac:chgData name="Paul LEGEARD" userId="73b5704d-da1d-4b70-8e12-6d54d32b01a3" providerId="ADAL" clId="{6A0B0392-5B89-4C63-A1D8-1EA797692AC0}" dt="2023-04-17T06:49:19.528" v="54" actId="478"/>
          <ac:spMkLst>
            <pc:docMk/>
            <pc:sldMk cId="3648747636" sldId="2147469794"/>
            <ac:spMk id="40" creationId="{E018C162-DCF1-A8D5-5622-8375B05D7B6E}"/>
          </ac:spMkLst>
        </pc:spChg>
        <pc:spChg chg="mod">
          <ac:chgData name="Paul LEGEARD" userId="73b5704d-da1d-4b70-8e12-6d54d32b01a3" providerId="ADAL" clId="{6A0B0392-5B89-4C63-A1D8-1EA797692AC0}" dt="2023-04-17T13:43:39.145" v="6976" actId="20577"/>
          <ac:spMkLst>
            <pc:docMk/>
            <pc:sldMk cId="3648747636" sldId="2147469794"/>
            <ac:spMk id="45" creationId="{A1FED9C3-C256-B7A6-4FB7-6F727676AEC1}"/>
          </ac:spMkLst>
        </pc:spChg>
        <pc:picChg chg="add mod">
          <ac:chgData name="Paul LEGEARD" userId="73b5704d-da1d-4b70-8e12-6d54d32b01a3" providerId="ADAL" clId="{6A0B0392-5B89-4C63-A1D8-1EA797692AC0}" dt="2023-04-17T06:49:53.265" v="93" actId="1038"/>
          <ac:picMkLst>
            <pc:docMk/>
            <pc:sldMk cId="3648747636" sldId="2147469794"/>
            <ac:picMk id="11" creationId="{9E93D060-E1B1-8134-C289-6713DD64C315}"/>
          </ac:picMkLst>
        </pc:picChg>
        <pc:cxnChg chg="mod">
          <ac:chgData name="Paul LEGEARD" userId="73b5704d-da1d-4b70-8e12-6d54d32b01a3" providerId="ADAL" clId="{6A0B0392-5B89-4C63-A1D8-1EA797692AC0}" dt="2023-04-17T06:49:25.914" v="56" actId="14100"/>
          <ac:cxnSpMkLst>
            <pc:docMk/>
            <pc:sldMk cId="3648747636" sldId="2147469794"/>
            <ac:cxnSpMk id="41" creationId="{B69364FF-74BF-81F8-8CC9-BF00A61C260D}"/>
          </ac:cxnSpMkLst>
        </pc:cxnChg>
      </pc:sldChg>
      <pc:sldChg chg="del">
        <pc:chgData name="Paul LEGEARD" userId="73b5704d-da1d-4b70-8e12-6d54d32b01a3" providerId="ADAL" clId="{6A0B0392-5B89-4C63-A1D8-1EA797692AC0}" dt="2023-04-17T07:17:20.182" v="2009" actId="47"/>
        <pc:sldMkLst>
          <pc:docMk/>
          <pc:sldMk cId="1455387451" sldId="2147469795"/>
        </pc:sldMkLst>
      </pc:sldChg>
      <pc:sldChg chg="del">
        <pc:chgData name="Paul LEGEARD" userId="73b5704d-da1d-4b70-8e12-6d54d32b01a3" providerId="ADAL" clId="{6A0B0392-5B89-4C63-A1D8-1EA797692AC0}" dt="2023-04-17T07:43:24.431" v="3628" actId="47"/>
        <pc:sldMkLst>
          <pc:docMk/>
          <pc:sldMk cId="1798829319" sldId="2147469798"/>
        </pc:sldMkLst>
      </pc:sldChg>
      <pc:sldChg chg="modSp mod">
        <pc:chgData name="Paul LEGEARD" userId="73b5704d-da1d-4b70-8e12-6d54d32b01a3" providerId="ADAL" clId="{6A0B0392-5B89-4C63-A1D8-1EA797692AC0}" dt="2023-04-17T13:36:40.709" v="6474" actId="20577"/>
        <pc:sldMkLst>
          <pc:docMk/>
          <pc:sldMk cId="1883560432" sldId="2147469799"/>
        </pc:sldMkLst>
        <pc:spChg chg="mod">
          <ac:chgData name="Paul LEGEARD" userId="73b5704d-da1d-4b70-8e12-6d54d32b01a3" providerId="ADAL" clId="{6A0B0392-5B89-4C63-A1D8-1EA797692AC0}" dt="2023-04-17T13:36:40.709" v="6474" actId="20577"/>
          <ac:spMkLst>
            <pc:docMk/>
            <pc:sldMk cId="1883560432" sldId="2147469799"/>
            <ac:spMk id="2" creationId="{81BA7D8F-F811-489A-AC70-FD79EE27800F}"/>
          </ac:spMkLst>
        </pc:spChg>
      </pc:sldChg>
      <pc:sldChg chg="del">
        <pc:chgData name="Paul LEGEARD" userId="73b5704d-da1d-4b70-8e12-6d54d32b01a3" providerId="ADAL" clId="{6A0B0392-5B89-4C63-A1D8-1EA797692AC0}" dt="2023-04-17T07:43:27.106" v="3639" actId="47"/>
        <pc:sldMkLst>
          <pc:docMk/>
          <pc:sldMk cId="2779891021" sldId="2147469800"/>
        </pc:sldMkLst>
      </pc:sldChg>
      <pc:sldChg chg="del">
        <pc:chgData name="Paul LEGEARD" userId="73b5704d-da1d-4b70-8e12-6d54d32b01a3" providerId="ADAL" clId="{6A0B0392-5B89-4C63-A1D8-1EA797692AC0}" dt="2023-04-17T07:38:49.699" v="3354" actId="47"/>
        <pc:sldMkLst>
          <pc:docMk/>
          <pc:sldMk cId="548200902" sldId="2147469803"/>
        </pc:sldMkLst>
      </pc:sldChg>
      <pc:sldChg chg="del">
        <pc:chgData name="Paul LEGEARD" userId="73b5704d-da1d-4b70-8e12-6d54d32b01a3" providerId="ADAL" clId="{6A0B0392-5B89-4C63-A1D8-1EA797692AC0}" dt="2023-04-17T07:38:50.704" v="3355" actId="47"/>
        <pc:sldMkLst>
          <pc:docMk/>
          <pc:sldMk cId="1651635564" sldId="2147469804"/>
        </pc:sldMkLst>
      </pc:sldChg>
      <pc:sldChg chg="del">
        <pc:chgData name="Paul LEGEARD" userId="73b5704d-da1d-4b70-8e12-6d54d32b01a3" providerId="ADAL" clId="{6A0B0392-5B89-4C63-A1D8-1EA797692AC0}" dt="2023-04-17T07:43:20.950" v="3621" actId="47"/>
        <pc:sldMkLst>
          <pc:docMk/>
          <pc:sldMk cId="250801734" sldId="2147469805"/>
        </pc:sldMkLst>
      </pc:sldChg>
      <pc:sldChg chg="del ord">
        <pc:chgData name="Paul LEGEARD" userId="73b5704d-da1d-4b70-8e12-6d54d32b01a3" providerId="ADAL" clId="{6A0B0392-5B89-4C63-A1D8-1EA797692AC0}" dt="2023-04-17T07:19:02.164" v="2186" actId="47"/>
        <pc:sldMkLst>
          <pc:docMk/>
          <pc:sldMk cId="3356254045" sldId="2147469806"/>
        </pc:sldMkLst>
      </pc:sldChg>
      <pc:sldChg chg="modSp add del mod">
        <pc:chgData name="Paul LEGEARD" userId="73b5704d-da1d-4b70-8e12-6d54d32b01a3" providerId="ADAL" clId="{6A0B0392-5B89-4C63-A1D8-1EA797692AC0}" dt="2023-04-17T13:46:04.985" v="7060" actId="20577"/>
        <pc:sldMkLst>
          <pc:docMk/>
          <pc:sldMk cId="276858959" sldId="2147469807"/>
        </pc:sldMkLst>
        <pc:spChg chg="mod">
          <ac:chgData name="Paul LEGEARD" userId="73b5704d-da1d-4b70-8e12-6d54d32b01a3" providerId="ADAL" clId="{6A0B0392-5B89-4C63-A1D8-1EA797692AC0}" dt="2023-04-17T13:46:04.985" v="7060" actId="20577"/>
          <ac:spMkLst>
            <pc:docMk/>
            <pc:sldMk cId="276858959" sldId="2147469807"/>
            <ac:spMk id="5" creationId="{E5368B24-78D7-3582-EBA1-2D70F35F4461}"/>
          </ac:spMkLst>
        </pc:spChg>
      </pc:sldChg>
      <pc:sldChg chg="del">
        <pc:chgData name="Paul LEGEARD" userId="73b5704d-da1d-4b70-8e12-6d54d32b01a3" providerId="ADAL" clId="{6A0B0392-5B89-4C63-A1D8-1EA797692AC0}" dt="2023-04-17T07:43:23.382" v="3623" actId="47"/>
        <pc:sldMkLst>
          <pc:docMk/>
          <pc:sldMk cId="1778774327" sldId="2147469809"/>
        </pc:sldMkLst>
      </pc:sldChg>
      <pc:sldChg chg="modSp del">
        <pc:chgData name="Paul LEGEARD" userId="73b5704d-da1d-4b70-8e12-6d54d32b01a3" providerId="ADAL" clId="{6A0B0392-5B89-4C63-A1D8-1EA797692AC0}" dt="2023-04-17T07:43:23.725" v="3624" actId="47"/>
        <pc:sldMkLst>
          <pc:docMk/>
          <pc:sldMk cId="3768843999" sldId="2147469810"/>
        </pc:sldMkLst>
        <pc:graphicFrameChg chg="mod">
          <ac:chgData name="Paul LEGEARD" userId="73b5704d-da1d-4b70-8e12-6d54d32b01a3" providerId="ADAL" clId="{6A0B0392-5B89-4C63-A1D8-1EA797692AC0}" dt="2023-04-17T07:08:07.790" v="1326"/>
          <ac:graphicFrameMkLst>
            <pc:docMk/>
            <pc:sldMk cId="3768843999" sldId="2147469810"/>
            <ac:graphicFrameMk id="19" creationId="{0E26778B-AEFD-0F5D-F86C-AF9C9A1C3034}"/>
          </ac:graphicFrameMkLst>
        </pc:graphicFrameChg>
      </pc:sldChg>
      <pc:sldChg chg="del">
        <pc:chgData name="Paul LEGEARD" userId="73b5704d-da1d-4b70-8e12-6d54d32b01a3" providerId="ADAL" clId="{6A0B0392-5B89-4C63-A1D8-1EA797692AC0}" dt="2023-04-17T07:43:23.945" v="3625" actId="47"/>
        <pc:sldMkLst>
          <pc:docMk/>
          <pc:sldMk cId="2230066738" sldId="2147469811"/>
        </pc:sldMkLst>
      </pc:sldChg>
      <pc:sldChg chg="del">
        <pc:chgData name="Paul LEGEARD" userId="73b5704d-da1d-4b70-8e12-6d54d32b01a3" providerId="ADAL" clId="{6A0B0392-5B89-4C63-A1D8-1EA797692AC0}" dt="2023-04-17T07:43:24.070" v="3626" actId="47"/>
        <pc:sldMkLst>
          <pc:docMk/>
          <pc:sldMk cId="3250338583" sldId="2147469812"/>
        </pc:sldMkLst>
      </pc:sldChg>
      <pc:sldChg chg="del">
        <pc:chgData name="Paul LEGEARD" userId="73b5704d-da1d-4b70-8e12-6d54d32b01a3" providerId="ADAL" clId="{6A0B0392-5B89-4C63-A1D8-1EA797692AC0}" dt="2023-04-17T07:43:25.929" v="3631" actId="47"/>
        <pc:sldMkLst>
          <pc:docMk/>
          <pc:sldMk cId="2181956486" sldId="2147469813"/>
        </pc:sldMkLst>
      </pc:sldChg>
      <pc:sldChg chg="addSp delSp modSp add mod">
        <pc:chgData name="Paul LEGEARD" userId="73b5704d-da1d-4b70-8e12-6d54d32b01a3" providerId="ADAL" clId="{6A0B0392-5B89-4C63-A1D8-1EA797692AC0}" dt="2023-04-17T13:44:15.066" v="7000" actId="20577"/>
        <pc:sldMkLst>
          <pc:docMk/>
          <pc:sldMk cId="3133005560" sldId="2147469814"/>
        </pc:sldMkLst>
        <pc:spChg chg="add mod">
          <ac:chgData name="Paul LEGEARD" userId="73b5704d-da1d-4b70-8e12-6d54d32b01a3" providerId="ADAL" clId="{6A0B0392-5B89-4C63-A1D8-1EA797692AC0}" dt="2023-04-17T13:44:15.066" v="7000" actId="20577"/>
          <ac:spMkLst>
            <pc:docMk/>
            <pc:sldMk cId="3133005560" sldId="2147469814"/>
            <ac:spMk id="3" creationId="{676B996D-B220-A0DD-F132-EDB5118A092B}"/>
          </ac:spMkLst>
        </pc:spChg>
        <pc:spChg chg="mod">
          <ac:chgData name="Paul LEGEARD" userId="73b5704d-da1d-4b70-8e12-6d54d32b01a3" providerId="ADAL" clId="{6A0B0392-5B89-4C63-A1D8-1EA797692AC0}" dt="2023-04-17T06:53:30.129" v="341" actId="1076"/>
          <ac:spMkLst>
            <pc:docMk/>
            <pc:sldMk cId="3133005560" sldId="2147469814"/>
            <ac:spMk id="4" creationId="{52AFB3F8-88A7-4D69-8A52-45D00774625C}"/>
          </ac:spMkLst>
        </pc:spChg>
        <pc:spChg chg="del">
          <ac:chgData name="Paul LEGEARD" userId="73b5704d-da1d-4b70-8e12-6d54d32b01a3" providerId="ADAL" clId="{6A0B0392-5B89-4C63-A1D8-1EA797692AC0}" dt="2023-04-17T06:53:36.405" v="342" actId="478"/>
          <ac:spMkLst>
            <pc:docMk/>
            <pc:sldMk cId="3133005560" sldId="2147469814"/>
            <ac:spMk id="6" creationId="{85218550-C2C3-3ABA-C265-3AEB8EA15533}"/>
          </ac:spMkLst>
        </pc:spChg>
        <pc:spChg chg="del">
          <ac:chgData name="Paul LEGEARD" userId="73b5704d-da1d-4b70-8e12-6d54d32b01a3" providerId="ADAL" clId="{6A0B0392-5B89-4C63-A1D8-1EA797692AC0}" dt="2023-04-17T06:53:36.405" v="342" actId="478"/>
          <ac:spMkLst>
            <pc:docMk/>
            <pc:sldMk cId="3133005560" sldId="2147469814"/>
            <ac:spMk id="9" creationId="{F65CBBED-5224-5076-0C31-381AF14C3C68}"/>
          </ac:spMkLst>
        </pc:spChg>
        <pc:spChg chg="del">
          <ac:chgData name="Paul LEGEARD" userId="73b5704d-da1d-4b70-8e12-6d54d32b01a3" providerId="ADAL" clId="{6A0B0392-5B89-4C63-A1D8-1EA797692AC0}" dt="2023-04-17T06:53:36.405" v="342" actId="478"/>
          <ac:spMkLst>
            <pc:docMk/>
            <pc:sldMk cId="3133005560" sldId="2147469814"/>
            <ac:spMk id="10" creationId="{9EB876A4-742E-1318-8591-C31EE779B321}"/>
          </ac:spMkLst>
        </pc:spChg>
        <pc:spChg chg="del">
          <ac:chgData name="Paul LEGEARD" userId="73b5704d-da1d-4b70-8e12-6d54d32b01a3" providerId="ADAL" clId="{6A0B0392-5B89-4C63-A1D8-1EA797692AC0}" dt="2023-04-17T06:53:36.405" v="342" actId="478"/>
          <ac:spMkLst>
            <pc:docMk/>
            <pc:sldMk cId="3133005560" sldId="2147469814"/>
            <ac:spMk id="17" creationId="{813F333F-BB36-886D-0017-80A1BA89C807}"/>
          </ac:spMkLst>
        </pc:spChg>
        <pc:spChg chg="del">
          <ac:chgData name="Paul LEGEARD" userId="73b5704d-da1d-4b70-8e12-6d54d32b01a3" providerId="ADAL" clId="{6A0B0392-5B89-4C63-A1D8-1EA797692AC0}" dt="2023-04-17T06:51:22.391" v="248" actId="478"/>
          <ac:spMkLst>
            <pc:docMk/>
            <pc:sldMk cId="3133005560" sldId="2147469814"/>
            <ac:spMk id="22" creationId="{47C475A5-710A-FDBA-369A-6AC8B9941F71}"/>
          </ac:spMkLst>
        </pc:spChg>
        <pc:spChg chg="del">
          <ac:chgData name="Paul LEGEARD" userId="73b5704d-da1d-4b70-8e12-6d54d32b01a3" providerId="ADAL" clId="{6A0B0392-5B89-4C63-A1D8-1EA797692AC0}" dt="2023-04-17T06:53:36.405" v="342" actId="478"/>
          <ac:spMkLst>
            <pc:docMk/>
            <pc:sldMk cId="3133005560" sldId="2147469814"/>
            <ac:spMk id="25" creationId="{0BA4A829-7A48-2E54-1F8A-DE46A12634A3}"/>
          </ac:spMkLst>
        </pc:spChg>
        <pc:spChg chg="del">
          <ac:chgData name="Paul LEGEARD" userId="73b5704d-da1d-4b70-8e12-6d54d32b01a3" providerId="ADAL" clId="{6A0B0392-5B89-4C63-A1D8-1EA797692AC0}" dt="2023-04-17T06:53:36.405" v="342" actId="478"/>
          <ac:spMkLst>
            <pc:docMk/>
            <pc:sldMk cId="3133005560" sldId="2147469814"/>
            <ac:spMk id="26" creationId="{47528C7D-1BD8-1D0B-290B-65F9975458AD}"/>
          </ac:spMkLst>
        </pc:spChg>
        <pc:spChg chg="del">
          <ac:chgData name="Paul LEGEARD" userId="73b5704d-da1d-4b70-8e12-6d54d32b01a3" providerId="ADAL" clId="{6A0B0392-5B89-4C63-A1D8-1EA797692AC0}" dt="2023-04-17T06:53:36.405" v="342" actId="478"/>
          <ac:spMkLst>
            <pc:docMk/>
            <pc:sldMk cId="3133005560" sldId="2147469814"/>
            <ac:spMk id="36" creationId="{2CCD79DA-D087-7117-092A-1ED114774991}"/>
          </ac:spMkLst>
        </pc:spChg>
        <pc:spChg chg="del">
          <ac:chgData name="Paul LEGEARD" userId="73b5704d-da1d-4b70-8e12-6d54d32b01a3" providerId="ADAL" clId="{6A0B0392-5B89-4C63-A1D8-1EA797692AC0}" dt="2023-04-17T06:53:36.405" v="342" actId="478"/>
          <ac:spMkLst>
            <pc:docMk/>
            <pc:sldMk cId="3133005560" sldId="2147469814"/>
            <ac:spMk id="43" creationId="{E236D620-3491-897A-01D4-AE29622018FC}"/>
          </ac:spMkLst>
        </pc:spChg>
        <pc:spChg chg="del">
          <ac:chgData name="Paul LEGEARD" userId="73b5704d-da1d-4b70-8e12-6d54d32b01a3" providerId="ADAL" clId="{6A0B0392-5B89-4C63-A1D8-1EA797692AC0}" dt="2023-04-17T06:53:36.405" v="342" actId="478"/>
          <ac:spMkLst>
            <pc:docMk/>
            <pc:sldMk cId="3133005560" sldId="2147469814"/>
            <ac:spMk id="44" creationId="{7DC99D69-5170-D330-6E5E-6D2792787C35}"/>
          </ac:spMkLst>
        </pc:spChg>
        <pc:spChg chg="del">
          <ac:chgData name="Paul LEGEARD" userId="73b5704d-da1d-4b70-8e12-6d54d32b01a3" providerId="ADAL" clId="{6A0B0392-5B89-4C63-A1D8-1EA797692AC0}" dt="2023-04-17T06:53:36.405" v="342" actId="478"/>
          <ac:spMkLst>
            <pc:docMk/>
            <pc:sldMk cId="3133005560" sldId="2147469814"/>
            <ac:spMk id="45" creationId="{A1FED9C3-C256-B7A6-4FB7-6F727676AEC1}"/>
          </ac:spMkLst>
        </pc:spChg>
        <pc:spChg chg="del">
          <ac:chgData name="Paul LEGEARD" userId="73b5704d-da1d-4b70-8e12-6d54d32b01a3" providerId="ADAL" clId="{6A0B0392-5B89-4C63-A1D8-1EA797692AC0}" dt="2023-04-17T06:53:36.405" v="342" actId="478"/>
          <ac:spMkLst>
            <pc:docMk/>
            <pc:sldMk cId="3133005560" sldId="2147469814"/>
            <ac:spMk id="46" creationId="{DAEAF24F-0861-79C6-8511-05BFB63124D9}"/>
          </ac:spMkLst>
        </pc:spChg>
        <pc:spChg chg="del">
          <ac:chgData name="Paul LEGEARD" userId="73b5704d-da1d-4b70-8e12-6d54d32b01a3" providerId="ADAL" clId="{6A0B0392-5B89-4C63-A1D8-1EA797692AC0}" dt="2023-04-17T06:53:36.405" v="342" actId="478"/>
          <ac:spMkLst>
            <pc:docMk/>
            <pc:sldMk cId="3133005560" sldId="2147469814"/>
            <ac:spMk id="47" creationId="{43938DDB-7FA7-A527-CFDB-620CD7FABAEB}"/>
          </ac:spMkLst>
        </pc:spChg>
        <pc:picChg chg="del">
          <ac:chgData name="Paul LEGEARD" userId="73b5704d-da1d-4b70-8e12-6d54d32b01a3" providerId="ADAL" clId="{6A0B0392-5B89-4C63-A1D8-1EA797692AC0}" dt="2023-04-17T06:53:36.405" v="342" actId="478"/>
          <ac:picMkLst>
            <pc:docMk/>
            <pc:sldMk cId="3133005560" sldId="2147469814"/>
            <ac:picMk id="11" creationId="{9E93D060-E1B1-8134-C289-6713DD64C315}"/>
          </ac:picMkLst>
        </pc:picChg>
        <pc:picChg chg="del">
          <ac:chgData name="Paul LEGEARD" userId="73b5704d-da1d-4b70-8e12-6d54d32b01a3" providerId="ADAL" clId="{6A0B0392-5B89-4C63-A1D8-1EA797692AC0}" dt="2023-04-17T06:53:36.405" v="342" actId="478"/>
          <ac:picMkLst>
            <pc:docMk/>
            <pc:sldMk cId="3133005560" sldId="2147469814"/>
            <ac:picMk id="24" creationId="{6D551F6A-DDEB-AD8B-07EC-28358D62A54C}"/>
          </ac:picMkLst>
        </pc:picChg>
        <pc:picChg chg="del">
          <ac:chgData name="Paul LEGEARD" userId="73b5704d-da1d-4b70-8e12-6d54d32b01a3" providerId="ADAL" clId="{6A0B0392-5B89-4C63-A1D8-1EA797692AC0}" dt="2023-04-17T06:53:36.405" v="342" actId="478"/>
          <ac:picMkLst>
            <pc:docMk/>
            <pc:sldMk cId="3133005560" sldId="2147469814"/>
            <ac:picMk id="38" creationId="{83C722D3-DE5D-1345-9435-E2AE811CF099}"/>
          </ac:picMkLst>
        </pc:picChg>
        <pc:cxnChg chg="del">
          <ac:chgData name="Paul LEGEARD" userId="73b5704d-da1d-4b70-8e12-6d54d32b01a3" providerId="ADAL" clId="{6A0B0392-5B89-4C63-A1D8-1EA797692AC0}" dt="2023-04-17T06:53:36.405" v="342" actId="478"/>
          <ac:cxnSpMkLst>
            <pc:docMk/>
            <pc:sldMk cId="3133005560" sldId="2147469814"/>
            <ac:cxnSpMk id="2" creationId="{14765310-8D7B-00FF-E6FA-22E661861B87}"/>
          </ac:cxnSpMkLst>
        </pc:cxnChg>
        <pc:cxnChg chg="del">
          <ac:chgData name="Paul LEGEARD" userId="73b5704d-da1d-4b70-8e12-6d54d32b01a3" providerId="ADAL" clId="{6A0B0392-5B89-4C63-A1D8-1EA797692AC0}" dt="2023-04-17T06:53:36.405" v="342" actId="478"/>
          <ac:cxnSpMkLst>
            <pc:docMk/>
            <pc:sldMk cId="3133005560" sldId="2147469814"/>
            <ac:cxnSpMk id="32" creationId="{E2036FF3-4F86-5495-A37A-799B6E070C3D}"/>
          </ac:cxnSpMkLst>
        </pc:cxnChg>
        <pc:cxnChg chg="del mod">
          <ac:chgData name="Paul LEGEARD" userId="73b5704d-da1d-4b70-8e12-6d54d32b01a3" providerId="ADAL" clId="{6A0B0392-5B89-4C63-A1D8-1EA797692AC0}" dt="2023-04-17T06:53:36.405" v="342" actId="478"/>
          <ac:cxnSpMkLst>
            <pc:docMk/>
            <pc:sldMk cId="3133005560" sldId="2147469814"/>
            <ac:cxnSpMk id="41" creationId="{B69364FF-74BF-81F8-8CC9-BF00A61C260D}"/>
          </ac:cxnSpMkLst>
        </pc:cxnChg>
      </pc:sldChg>
      <pc:sldChg chg="addSp delSp modSp add mod ord">
        <pc:chgData name="Paul LEGEARD" userId="73b5704d-da1d-4b70-8e12-6d54d32b01a3" providerId="ADAL" clId="{6A0B0392-5B89-4C63-A1D8-1EA797692AC0}" dt="2023-04-17T09:15:59.655" v="6329" actId="20577"/>
        <pc:sldMkLst>
          <pc:docMk/>
          <pc:sldMk cId="1579305907" sldId="2147469815"/>
        </pc:sldMkLst>
        <pc:spChg chg="add mod">
          <ac:chgData name="Paul LEGEARD" userId="73b5704d-da1d-4b70-8e12-6d54d32b01a3" providerId="ADAL" clId="{6A0B0392-5B89-4C63-A1D8-1EA797692AC0}" dt="2023-04-17T07:18:58.642" v="2185" actId="1076"/>
          <ac:spMkLst>
            <pc:docMk/>
            <pc:sldMk cId="1579305907" sldId="2147469815"/>
            <ac:spMk id="3" creationId="{2695F93A-3511-33FD-1F40-2A8EEC7FE074}"/>
          </ac:spMkLst>
        </pc:spChg>
        <pc:spChg chg="mod">
          <ac:chgData name="Paul LEGEARD" userId="73b5704d-da1d-4b70-8e12-6d54d32b01a3" providerId="ADAL" clId="{6A0B0392-5B89-4C63-A1D8-1EA797692AC0}" dt="2023-04-17T09:15:59.655" v="6329" actId="20577"/>
          <ac:spMkLst>
            <pc:docMk/>
            <pc:sldMk cId="1579305907" sldId="2147469815"/>
            <ac:spMk id="4" creationId="{52AFB3F8-88A7-4D69-8A52-45D00774625C}"/>
          </ac:spMkLst>
        </pc:spChg>
        <pc:spChg chg="del">
          <ac:chgData name="Paul LEGEARD" userId="73b5704d-da1d-4b70-8e12-6d54d32b01a3" providerId="ADAL" clId="{6A0B0392-5B89-4C63-A1D8-1EA797692AC0}" dt="2023-04-17T06:51:40.725" v="308" actId="478"/>
          <ac:spMkLst>
            <pc:docMk/>
            <pc:sldMk cId="1579305907" sldId="2147469815"/>
            <ac:spMk id="6" creationId="{85218550-C2C3-3ABA-C265-3AEB8EA15533}"/>
          </ac:spMkLst>
        </pc:spChg>
        <pc:spChg chg="del">
          <ac:chgData name="Paul LEGEARD" userId="73b5704d-da1d-4b70-8e12-6d54d32b01a3" providerId="ADAL" clId="{6A0B0392-5B89-4C63-A1D8-1EA797692AC0}" dt="2023-04-17T06:51:40.725" v="308" actId="478"/>
          <ac:spMkLst>
            <pc:docMk/>
            <pc:sldMk cId="1579305907" sldId="2147469815"/>
            <ac:spMk id="9" creationId="{F65CBBED-5224-5076-0C31-381AF14C3C68}"/>
          </ac:spMkLst>
        </pc:spChg>
        <pc:spChg chg="del">
          <ac:chgData name="Paul LEGEARD" userId="73b5704d-da1d-4b70-8e12-6d54d32b01a3" providerId="ADAL" clId="{6A0B0392-5B89-4C63-A1D8-1EA797692AC0}" dt="2023-04-17T06:51:40.725" v="308" actId="478"/>
          <ac:spMkLst>
            <pc:docMk/>
            <pc:sldMk cId="1579305907" sldId="2147469815"/>
            <ac:spMk id="10" creationId="{9EB876A4-742E-1318-8591-C31EE779B321}"/>
          </ac:spMkLst>
        </pc:spChg>
        <pc:spChg chg="add mod">
          <ac:chgData name="Paul LEGEARD" userId="73b5704d-da1d-4b70-8e12-6d54d32b01a3" providerId="ADAL" clId="{6A0B0392-5B89-4C63-A1D8-1EA797692AC0}" dt="2023-04-17T07:18:58.642" v="2185" actId="1076"/>
          <ac:spMkLst>
            <pc:docMk/>
            <pc:sldMk cId="1579305907" sldId="2147469815"/>
            <ac:spMk id="13" creationId="{F0DEB9CD-BAED-FF40-CA96-B2801BB48C6F}"/>
          </ac:spMkLst>
        </pc:spChg>
        <pc:spChg chg="add mod">
          <ac:chgData name="Paul LEGEARD" userId="73b5704d-da1d-4b70-8e12-6d54d32b01a3" providerId="ADAL" clId="{6A0B0392-5B89-4C63-A1D8-1EA797692AC0}" dt="2023-04-17T07:18:53.756" v="2184" actId="1076"/>
          <ac:spMkLst>
            <pc:docMk/>
            <pc:sldMk cId="1579305907" sldId="2147469815"/>
            <ac:spMk id="14" creationId="{54571BA6-99DA-01DB-5F8E-D364FCCF7383}"/>
          </ac:spMkLst>
        </pc:spChg>
        <pc:spChg chg="add mod">
          <ac:chgData name="Paul LEGEARD" userId="73b5704d-da1d-4b70-8e12-6d54d32b01a3" providerId="ADAL" clId="{6A0B0392-5B89-4C63-A1D8-1EA797692AC0}" dt="2023-04-17T07:18:53.756" v="2184" actId="1076"/>
          <ac:spMkLst>
            <pc:docMk/>
            <pc:sldMk cId="1579305907" sldId="2147469815"/>
            <ac:spMk id="15" creationId="{F91A63E1-0078-DA31-990C-57B4D33D2F35}"/>
          </ac:spMkLst>
        </pc:spChg>
        <pc:spChg chg="del">
          <ac:chgData name="Paul LEGEARD" userId="73b5704d-da1d-4b70-8e12-6d54d32b01a3" providerId="ADAL" clId="{6A0B0392-5B89-4C63-A1D8-1EA797692AC0}" dt="2023-04-17T06:51:40.725" v="308" actId="478"/>
          <ac:spMkLst>
            <pc:docMk/>
            <pc:sldMk cId="1579305907" sldId="2147469815"/>
            <ac:spMk id="17" creationId="{813F333F-BB36-886D-0017-80A1BA89C807}"/>
          </ac:spMkLst>
        </pc:spChg>
        <pc:spChg chg="add mod">
          <ac:chgData name="Paul LEGEARD" userId="73b5704d-da1d-4b70-8e12-6d54d32b01a3" providerId="ADAL" clId="{6A0B0392-5B89-4C63-A1D8-1EA797692AC0}" dt="2023-04-17T07:18:58.642" v="2185" actId="1076"/>
          <ac:spMkLst>
            <pc:docMk/>
            <pc:sldMk cId="1579305907" sldId="2147469815"/>
            <ac:spMk id="18" creationId="{4C7EB966-EE14-71EA-3CBB-C9B534CF7546}"/>
          </ac:spMkLst>
        </pc:spChg>
        <pc:spChg chg="add mod">
          <ac:chgData name="Paul LEGEARD" userId="73b5704d-da1d-4b70-8e12-6d54d32b01a3" providerId="ADAL" clId="{6A0B0392-5B89-4C63-A1D8-1EA797692AC0}" dt="2023-04-17T07:18:58.642" v="2185" actId="1076"/>
          <ac:spMkLst>
            <pc:docMk/>
            <pc:sldMk cId="1579305907" sldId="2147469815"/>
            <ac:spMk id="21" creationId="{62DD918D-071C-6F8E-05DD-323D384D13AA}"/>
          </ac:spMkLst>
        </pc:spChg>
        <pc:spChg chg="add mod">
          <ac:chgData name="Paul LEGEARD" userId="73b5704d-da1d-4b70-8e12-6d54d32b01a3" providerId="ADAL" clId="{6A0B0392-5B89-4C63-A1D8-1EA797692AC0}" dt="2023-04-17T07:18:53.756" v="2184" actId="1076"/>
          <ac:spMkLst>
            <pc:docMk/>
            <pc:sldMk cId="1579305907" sldId="2147469815"/>
            <ac:spMk id="22" creationId="{437AB4B7-6ECD-D786-FF6D-C1CFC38F9BDA}"/>
          </ac:spMkLst>
        </pc:spChg>
        <pc:spChg chg="add mod">
          <ac:chgData name="Paul LEGEARD" userId="73b5704d-da1d-4b70-8e12-6d54d32b01a3" providerId="ADAL" clId="{6A0B0392-5B89-4C63-A1D8-1EA797692AC0}" dt="2023-04-17T07:18:53.756" v="2184" actId="1076"/>
          <ac:spMkLst>
            <pc:docMk/>
            <pc:sldMk cId="1579305907" sldId="2147469815"/>
            <ac:spMk id="23" creationId="{FAA20E55-DAF1-514F-AE1D-9F5CC666FD02}"/>
          </ac:spMkLst>
        </pc:spChg>
        <pc:spChg chg="del">
          <ac:chgData name="Paul LEGEARD" userId="73b5704d-da1d-4b70-8e12-6d54d32b01a3" providerId="ADAL" clId="{6A0B0392-5B89-4C63-A1D8-1EA797692AC0}" dt="2023-04-17T06:51:40.725" v="308" actId="478"/>
          <ac:spMkLst>
            <pc:docMk/>
            <pc:sldMk cId="1579305907" sldId="2147469815"/>
            <ac:spMk id="25" creationId="{0BA4A829-7A48-2E54-1F8A-DE46A12634A3}"/>
          </ac:spMkLst>
        </pc:spChg>
        <pc:spChg chg="del">
          <ac:chgData name="Paul LEGEARD" userId="73b5704d-da1d-4b70-8e12-6d54d32b01a3" providerId="ADAL" clId="{6A0B0392-5B89-4C63-A1D8-1EA797692AC0}" dt="2023-04-17T06:51:40.725" v="308" actId="478"/>
          <ac:spMkLst>
            <pc:docMk/>
            <pc:sldMk cId="1579305907" sldId="2147469815"/>
            <ac:spMk id="26" creationId="{47528C7D-1BD8-1D0B-290B-65F9975458AD}"/>
          </ac:spMkLst>
        </pc:spChg>
        <pc:spChg chg="del">
          <ac:chgData name="Paul LEGEARD" userId="73b5704d-da1d-4b70-8e12-6d54d32b01a3" providerId="ADAL" clId="{6A0B0392-5B89-4C63-A1D8-1EA797692AC0}" dt="2023-04-17T06:51:40.725" v="308" actId="478"/>
          <ac:spMkLst>
            <pc:docMk/>
            <pc:sldMk cId="1579305907" sldId="2147469815"/>
            <ac:spMk id="36" creationId="{2CCD79DA-D087-7117-092A-1ED114774991}"/>
          </ac:spMkLst>
        </pc:spChg>
        <pc:spChg chg="del">
          <ac:chgData name="Paul LEGEARD" userId="73b5704d-da1d-4b70-8e12-6d54d32b01a3" providerId="ADAL" clId="{6A0B0392-5B89-4C63-A1D8-1EA797692AC0}" dt="2023-04-17T06:51:40.725" v="308" actId="478"/>
          <ac:spMkLst>
            <pc:docMk/>
            <pc:sldMk cId="1579305907" sldId="2147469815"/>
            <ac:spMk id="43" creationId="{E236D620-3491-897A-01D4-AE29622018FC}"/>
          </ac:spMkLst>
        </pc:spChg>
        <pc:spChg chg="del">
          <ac:chgData name="Paul LEGEARD" userId="73b5704d-da1d-4b70-8e12-6d54d32b01a3" providerId="ADAL" clId="{6A0B0392-5B89-4C63-A1D8-1EA797692AC0}" dt="2023-04-17T06:51:40.725" v="308" actId="478"/>
          <ac:spMkLst>
            <pc:docMk/>
            <pc:sldMk cId="1579305907" sldId="2147469815"/>
            <ac:spMk id="44" creationId="{7DC99D69-5170-D330-6E5E-6D2792787C35}"/>
          </ac:spMkLst>
        </pc:spChg>
        <pc:spChg chg="del">
          <ac:chgData name="Paul LEGEARD" userId="73b5704d-da1d-4b70-8e12-6d54d32b01a3" providerId="ADAL" clId="{6A0B0392-5B89-4C63-A1D8-1EA797692AC0}" dt="2023-04-17T06:51:40.725" v="308" actId="478"/>
          <ac:spMkLst>
            <pc:docMk/>
            <pc:sldMk cId="1579305907" sldId="2147469815"/>
            <ac:spMk id="45" creationId="{A1FED9C3-C256-B7A6-4FB7-6F727676AEC1}"/>
          </ac:spMkLst>
        </pc:spChg>
        <pc:spChg chg="del">
          <ac:chgData name="Paul LEGEARD" userId="73b5704d-da1d-4b70-8e12-6d54d32b01a3" providerId="ADAL" clId="{6A0B0392-5B89-4C63-A1D8-1EA797692AC0}" dt="2023-04-17T06:51:40.725" v="308" actId="478"/>
          <ac:spMkLst>
            <pc:docMk/>
            <pc:sldMk cId="1579305907" sldId="2147469815"/>
            <ac:spMk id="46" creationId="{DAEAF24F-0861-79C6-8511-05BFB63124D9}"/>
          </ac:spMkLst>
        </pc:spChg>
        <pc:spChg chg="del">
          <ac:chgData name="Paul LEGEARD" userId="73b5704d-da1d-4b70-8e12-6d54d32b01a3" providerId="ADAL" clId="{6A0B0392-5B89-4C63-A1D8-1EA797692AC0}" dt="2023-04-17T06:51:40.725" v="308" actId="478"/>
          <ac:spMkLst>
            <pc:docMk/>
            <pc:sldMk cId="1579305907" sldId="2147469815"/>
            <ac:spMk id="47" creationId="{43938DDB-7FA7-A527-CFDB-620CD7FABAEB}"/>
          </ac:spMkLst>
        </pc:spChg>
        <pc:grpChg chg="add mod">
          <ac:chgData name="Paul LEGEARD" userId="73b5704d-da1d-4b70-8e12-6d54d32b01a3" providerId="ADAL" clId="{6A0B0392-5B89-4C63-A1D8-1EA797692AC0}" dt="2023-04-17T07:18:58.642" v="2185" actId="1076"/>
          <ac:grpSpMkLst>
            <pc:docMk/>
            <pc:sldMk cId="1579305907" sldId="2147469815"/>
            <ac:grpSpMk id="5" creationId="{A90B64D8-0068-DB1C-5A00-346842BA9089}"/>
          </ac:grpSpMkLst>
        </pc:grpChg>
        <pc:picChg chg="mod">
          <ac:chgData name="Paul LEGEARD" userId="73b5704d-da1d-4b70-8e12-6d54d32b01a3" providerId="ADAL" clId="{6A0B0392-5B89-4C63-A1D8-1EA797692AC0}" dt="2023-04-17T07:18:58.642" v="2185" actId="1076"/>
          <ac:picMkLst>
            <pc:docMk/>
            <pc:sldMk cId="1579305907" sldId="2147469815"/>
            <ac:picMk id="7" creationId="{B334970C-B391-ABB0-F9F2-50F0B020400E}"/>
          </ac:picMkLst>
        </pc:picChg>
        <pc:picChg chg="del">
          <ac:chgData name="Paul LEGEARD" userId="73b5704d-da1d-4b70-8e12-6d54d32b01a3" providerId="ADAL" clId="{6A0B0392-5B89-4C63-A1D8-1EA797692AC0}" dt="2023-04-17T06:51:40.725" v="308" actId="478"/>
          <ac:picMkLst>
            <pc:docMk/>
            <pc:sldMk cId="1579305907" sldId="2147469815"/>
            <ac:picMk id="11" creationId="{9E93D060-E1B1-8134-C289-6713DD64C315}"/>
          </ac:picMkLst>
        </pc:picChg>
        <pc:picChg chg="mod">
          <ac:chgData name="Paul LEGEARD" userId="73b5704d-da1d-4b70-8e12-6d54d32b01a3" providerId="ADAL" clId="{6A0B0392-5B89-4C63-A1D8-1EA797692AC0}" dt="2023-04-17T07:18:58.642" v="2185" actId="1076"/>
          <ac:picMkLst>
            <pc:docMk/>
            <pc:sldMk cId="1579305907" sldId="2147469815"/>
            <ac:picMk id="12" creationId="{1F863B6C-27F0-C3AF-D8E9-17861AB5785E}"/>
          </ac:picMkLst>
        </pc:picChg>
        <pc:picChg chg="add mod">
          <ac:chgData name="Paul LEGEARD" userId="73b5704d-da1d-4b70-8e12-6d54d32b01a3" providerId="ADAL" clId="{6A0B0392-5B89-4C63-A1D8-1EA797692AC0}" dt="2023-04-17T07:18:53.756" v="2184" actId="1076"/>
          <ac:picMkLst>
            <pc:docMk/>
            <pc:sldMk cId="1579305907" sldId="2147469815"/>
            <ac:picMk id="16" creationId="{9AC038DF-B200-CDBF-013E-D8905C516B74}"/>
          </ac:picMkLst>
        </pc:picChg>
        <pc:picChg chg="add mod">
          <ac:chgData name="Paul LEGEARD" userId="73b5704d-da1d-4b70-8e12-6d54d32b01a3" providerId="ADAL" clId="{6A0B0392-5B89-4C63-A1D8-1EA797692AC0}" dt="2023-04-17T07:18:58.642" v="2185" actId="1076"/>
          <ac:picMkLst>
            <pc:docMk/>
            <pc:sldMk cId="1579305907" sldId="2147469815"/>
            <ac:picMk id="19" creationId="{6E4D52DD-D976-E411-FE47-36A0EAB8B143}"/>
          </ac:picMkLst>
        </pc:picChg>
        <pc:picChg chg="add mod">
          <ac:chgData name="Paul LEGEARD" userId="73b5704d-da1d-4b70-8e12-6d54d32b01a3" providerId="ADAL" clId="{6A0B0392-5B89-4C63-A1D8-1EA797692AC0}" dt="2023-04-17T07:18:58.642" v="2185" actId="1076"/>
          <ac:picMkLst>
            <pc:docMk/>
            <pc:sldMk cId="1579305907" sldId="2147469815"/>
            <ac:picMk id="20" creationId="{C1F4C1E3-B80C-6B1E-1C99-DE8DE0C8F3A3}"/>
          </ac:picMkLst>
        </pc:picChg>
        <pc:picChg chg="del">
          <ac:chgData name="Paul LEGEARD" userId="73b5704d-da1d-4b70-8e12-6d54d32b01a3" providerId="ADAL" clId="{6A0B0392-5B89-4C63-A1D8-1EA797692AC0}" dt="2023-04-17T06:51:40.725" v="308" actId="478"/>
          <ac:picMkLst>
            <pc:docMk/>
            <pc:sldMk cId="1579305907" sldId="2147469815"/>
            <ac:picMk id="24" creationId="{6D551F6A-DDEB-AD8B-07EC-28358D62A54C}"/>
          </ac:picMkLst>
        </pc:picChg>
        <pc:picChg chg="add mod">
          <ac:chgData name="Paul LEGEARD" userId="73b5704d-da1d-4b70-8e12-6d54d32b01a3" providerId="ADAL" clId="{6A0B0392-5B89-4C63-A1D8-1EA797692AC0}" dt="2023-04-17T07:18:53.756" v="2184" actId="1076"/>
          <ac:picMkLst>
            <pc:docMk/>
            <pc:sldMk cId="1579305907" sldId="2147469815"/>
            <ac:picMk id="27" creationId="{1671A8AF-F0DA-3E47-E8CF-452FC4C0D143}"/>
          </ac:picMkLst>
        </pc:picChg>
        <pc:picChg chg="del">
          <ac:chgData name="Paul LEGEARD" userId="73b5704d-da1d-4b70-8e12-6d54d32b01a3" providerId="ADAL" clId="{6A0B0392-5B89-4C63-A1D8-1EA797692AC0}" dt="2023-04-17T06:51:40.725" v="308" actId="478"/>
          <ac:picMkLst>
            <pc:docMk/>
            <pc:sldMk cId="1579305907" sldId="2147469815"/>
            <ac:picMk id="38" creationId="{83C722D3-DE5D-1345-9435-E2AE811CF099}"/>
          </ac:picMkLst>
        </pc:picChg>
        <pc:cxnChg chg="del">
          <ac:chgData name="Paul LEGEARD" userId="73b5704d-da1d-4b70-8e12-6d54d32b01a3" providerId="ADAL" clId="{6A0B0392-5B89-4C63-A1D8-1EA797692AC0}" dt="2023-04-17T06:51:40.725" v="308" actId="478"/>
          <ac:cxnSpMkLst>
            <pc:docMk/>
            <pc:sldMk cId="1579305907" sldId="2147469815"/>
            <ac:cxnSpMk id="2" creationId="{14765310-8D7B-00FF-E6FA-22E661861B87}"/>
          </ac:cxnSpMkLst>
        </pc:cxnChg>
        <pc:cxnChg chg="del">
          <ac:chgData name="Paul LEGEARD" userId="73b5704d-da1d-4b70-8e12-6d54d32b01a3" providerId="ADAL" clId="{6A0B0392-5B89-4C63-A1D8-1EA797692AC0}" dt="2023-04-17T06:51:40.725" v="308" actId="478"/>
          <ac:cxnSpMkLst>
            <pc:docMk/>
            <pc:sldMk cId="1579305907" sldId="2147469815"/>
            <ac:cxnSpMk id="32" creationId="{E2036FF3-4F86-5495-A37A-799B6E070C3D}"/>
          </ac:cxnSpMkLst>
        </pc:cxnChg>
        <pc:cxnChg chg="del mod">
          <ac:chgData name="Paul LEGEARD" userId="73b5704d-da1d-4b70-8e12-6d54d32b01a3" providerId="ADAL" clId="{6A0B0392-5B89-4C63-A1D8-1EA797692AC0}" dt="2023-04-17T06:51:40.725" v="308" actId="478"/>
          <ac:cxnSpMkLst>
            <pc:docMk/>
            <pc:sldMk cId="1579305907" sldId="2147469815"/>
            <ac:cxnSpMk id="41" creationId="{B69364FF-74BF-81F8-8CC9-BF00A61C260D}"/>
          </ac:cxnSpMkLst>
        </pc:cxnChg>
      </pc:sldChg>
      <pc:sldChg chg="addSp delSp modSp add mod ord">
        <pc:chgData name="Paul LEGEARD" userId="73b5704d-da1d-4b70-8e12-6d54d32b01a3" providerId="ADAL" clId="{6A0B0392-5B89-4C63-A1D8-1EA797692AC0}" dt="2023-04-17T15:31:20.712" v="7402"/>
        <pc:sldMkLst>
          <pc:docMk/>
          <pc:sldMk cId="1933743795" sldId="2147469816"/>
        </pc:sldMkLst>
        <pc:spChg chg="add del">
          <ac:chgData name="Paul LEGEARD" userId="73b5704d-da1d-4b70-8e12-6d54d32b01a3" providerId="ADAL" clId="{6A0B0392-5B89-4C63-A1D8-1EA797692AC0}" dt="2023-04-17T06:59:35.181" v="1000"/>
          <ac:spMkLst>
            <pc:docMk/>
            <pc:sldMk cId="1933743795" sldId="2147469816"/>
            <ac:spMk id="2" creationId="{7F55C3B6-8026-FC03-6C41-DEC15726D000}"/>
          </ac:spMkLst>
        </pc:spChg>
        <pc:spChg chg="del">
          <ac:chgData name="Paul LEGEARD" userId="73b5704d-da1d-4b70-8e12-6d54d32b01a3" providerId="ADAL" clId="{6A0B0392-5B89-4C63-A1D8-1EA797692AC0}" dt="2023-04-17T06:59:13.495" v="998" actId="478"/>
          <ac:spMkLst>
            <pc:docMk/>
            <pc:sldMk cId="1933743795" sldId="2147469816"/>
            <ac:spMk id="3" creationId="{676B996D-B220-A0DD-F132-EDB5118A092B}"/>
          </ac:spMkLst>
        </pc:spChg>
        <pc:spChg chg="mod">
          <ac:chgData name="Paul LEGEARD" userId="73b5704d-da1d-4b70-8e12-6d54d32b01a3" providerId="ADAL" clId="{6A0B0392-5B89-4C63-A1D8-1EA797692AC0}" dt="2023-04-17T07:38:33.988" v="3349" actId="20577"/>
          <ac:spMkLst>
            <pc:docMk/>
            <pc:sldMk cId="1933743795" sldId="2147469816"/>
            <ac:spMk id="4" creationId="{52AFB3F8-88A7-4D69-8A52-45D00774625C}"/>
          </ac:spMkLst>
        </pc:spChg>
        <pc:spChg chg="add del mod">
          <ac:chgData name="Paul LEGEARD" userId="73b5704d-da1d-4b70-8e12-6d54d32b01a3" providerId="ADAL" clId="{6A0B0392-5B89-4C63-A1D8-1EA797692AC0}" dt="2023-04-17T07:01:04.620" v="1041" actId="478"/>
          <ac:spMkLst>
            <pc:docMk/>
            <pc:sldMk cId="1933743795" sldId="2147469816"/>
            <ac:spMk id="9" creationId="{600E2AD4-C8CD-EE6F-D0FE-989456D7D81B}"/>
          </ac:spMkLst>
        </pc:spChg>
        <pc:spChg chg="add del">
          <ac:chgData name="Paul LEGEARD" userId="73b5704d-da1d-4b70-8e12-6d54d32b01a3" providerId="ADAL" clId="{6A0B0392-5B89-4C63-A1D8-1EA797692AC0}" dt="2023-04-17T07:00:30.757" v="1007" actId="22"/>
          <ac:spMkLst>
            <pc:docMk/>
            <pc:sldMk cId="1933743795" sldId="2147469816"/>
            <ac:spMk id="11" creationId="{35FECBDA-A93E-241C-59AC-0162CE632DE2}"/>
          </ac:spMkLst>
        </pc:spChg>
        <pc:spChg chg="add mod">
          <ac:chgData name="Paul LEGEARD" userId="73b5704d-da1d-4b70-8e12-6d54d32b01a3" providerId="ADAL" clId="{6A0B0392-5B89-4C63-A1D8-1EA797692AC0}" dt="2023-04-17T15:31:20.712" v="7402"/>
          <ac:spMkLst>
            <pc:docMk/>
            <pc:sldMk cId="1933743795" sldId="2147469816"/>
            <ac:spMk id="12" creationId="{EDC5CC9E-4EA1-2D8C-979B-42E3DB843D9C}"/>
          </ac:spMkLst>
        </pc:spChg>
        <pc:spChg chg="add del mod">
          <ac:chgData name="Paul LEGEARD" userId="73b5704d-da1d-4b70-8e12-6d54d32b01a3" providerId="ADAL" clId="{6A0B0392-5B89-4C63-A1D8-1EA797692AC0}" dt="2023-04-17T07:01:47.008" v="1081" actId="478"/>
          <ac:spMkLst>
            <pc:docMk/>
            <pc:sldMk cId="1933743795" sldId="2147469816"/>
            <ac:spMk id="14" creationId="{9742A790-2351-67C6-04CC-5FEA1E91839F}"/>
          </ac:spMkLst>
        </pc:spChg>
        <pc:picChg chg="add mod">
          <ac:chgData name="Paul LEGEARD" userId="73b5704d-da1d-4b70-8e12-6d54d32b01a3" providerId="ADAL" clId="{6A0B0392-5B89-4C63-A1D8-1EA797692AC0}" dt="2023-04-17T07:00:03.011" v="1003" actId="1076"/>
          <ac:picMkLst>
            <pc:docMk/>
            <pc:sldMk cId="1933743795" sldId="2147469816"/>
            <ac:picMk id="6" creationId="{CB47C840-D0F1-0389-8E71-95EC96F2EC6A}"/>
          </ac:picMkLst>
        </pc:picChg>
      </pc:sldChg>
      <pc:sldChg chg="add del">
        <pc:chgData name="Paul LEGEARD" userId="73b5704d-da1d-4b70-8e12-6d54d32b01a3" providerId="ADAL" clId="{6A0B0392-5B89-4C63-A1D8-1EA797692AC0}" dt="2023-04-17T07:13:29.532" v="1928" actId="47"/>
        <pc:sldMkLst>
          <pc:docMk/>
          <pc:sldMk cId="3736290100" sldId="2147469817"/>
        </pc:sldMkLst>
      </pc:sldChg>
      <pc:sldChg chg="addSp delSp modSp add mod modNotesTx">
        <pc:chgData name="Paul LEGEARD" userId="73b5704d-da1d-4b70-8e12-6d54d32b01a3" providerId="ADAL" clId="{6A0B0392-5B89-4C63-A1D8-1EA797692AC0}" dt="2023-04-17T13:44:57.399" v="7004" actId="20577"/>
        <pc:sldMkLst>
          <pc:docMk/>
          <pc:sldMk cId="399927874" sldId="2147469818"/>
        </pc:sldMkLst>
        <pc:spChg chg="add mod ord">
          <ac:chgData name="Paul LEGEARD" userId="73b5704d-da1d-4b70-8e12-6d54d32b01a3" providerId="ADAL" clId="{6A0B0392-5B89-4C63-A1D8-1EA797692AC0}" dt="2023-04-17T13:38:13.522" v="6539" actId="20577"/>
          <ac:spMkLst>
            <pc:docMk/>
            <pc:sldMk cId="399927874" sldId="2147469818"/>
            <ac:spMk id="2" creationId="{ACBE3AF1-D819-0799-6CC6-DDA2CD644A31}"/>
          </ac:spMkLst>
        </pc:spChg>
        <pc:spChg chg="del">
          <ac:chgData name="Paul LEGEARD" userId="73b5704d-da1d-4b70-8e12-6d54d32b01a3" providerId="ADAL" clId="{6A0B0392-5B89-4C63-A1D8-1EA797692AC0}" dt="2023-04-17T07:03:25.685" v="1115" actId="478"/>
          <ac:spMkLst>
            <pc:docMk/>
            <pc:sldMk cId="399927874" sldId="2147469818"/>
            <ac:spMk id="3" creationId="{676B996D-B220-A0DD-F132-EDB5118A092B}"/>
          </ac:spMkLst>
        </pc:spChg>
        <pc:spChg chg="mod">
          <ac:chgData name="Paul LEGEARD" userId="73b5704d-da1d-4b70-8e12-6d54d32b01a3" providerId="ADAL" clId="{6A0B0392-5B89-4C63-A1D8-1EA797692AC0}" dt="2023-04-17T07:17:14.826" v="2008" actId="6549"/>
          <ac:spMkLst>
            <pc:docMk/>
            <pc:sldMk cId="399927874" sldId="2147469818"/>
            <ac:spMk id="4" creationId="{52AFB3F8-88A7-4D69-8A52-45D00774625C}"/>
          </ac:spMkLst>
        </pc:spChg>
        <pc:spChg chg="add mod ord">
          <ac:chgData name="Paul LEGEARD" userId="73b5704d-da1d-4b70-8e12-6d54d32b01a3" providerId="ADAL" clId="{6A0B0392-5B89-4C63-A1D8-1EA797692AC0}" dt="2023-04-17T13:37:29.534" v="6485" actId="1076"/>
          <ac:spMkLst>
            <pc:docMk/>
            <pc:sldMk cId="399927874" sldId="2147469818"/>
            <ac:spMk id="5" creationId="{3FDB415F-CD83-DB07-6E1A-56FDECB792F5}"/>
          </ac:spMkLst>
        </pc:spChg>
        <pc:spChg chg="add mod">
          <ac:chgData name="Paul LEGEARD" userId="73b5704d-da1d-4b70-8e12-6d54d32b01a3" providerId="ADAL" clId="{6A0B0392-5B89-4C63-A1D8-1EA797692AC0}" dt="2023-04-17T13:44:47.307" v="7003" actId="20577"/>
          <ac:spMkLst>
            <pc:docMk/>
            <pc:sldMk cId="399927874" sldId="2147469818"/>
            <ac:spMk id="9" creationId="{8546DFD4-C5CE-A4DB-7C56-5C4D247D4BDC}"/>
          </ac:spMkLst>
        </pc:spChg>
        <pc:spChg chg="add mod">
          <ac:chgData name="Paul LEGEARD" userId="73b5704d-da1d-4b70-8e12-6d54d32b01a3" providerId="ADAL" clId="{6A0B0392-5B89-4C63-A1D8-1EA797692AC0}" dt="2023-04-17T13:37:49.617" v="6490" actId="179"/>
          <ac:spMkLst>
            <pc:docMk/>
            <pc:sldMk cId="399927874" sldId="2147469818"/>
            <ac:spMk id="10" creationId="{86E586DA-C2D2-2A38-D620-EB7DE13F74C5}"/>
          </ac:spMkLst>
        </pc:spChg>
        <pc:spChg chg="add mod">
          <ac:chgData name="Paul LEGEARD" userId="73b5704d-da1d-4b70-8e12-6d54d32b01a3" providerId="ADAL" clId="{6A0B0392-5B89-4C63-A1D8-1EA797692AC0}" dt="2023-04-17T13:37:52.101" v="6499" actId="1037"/>
          <ac:spMkLst>
            <pc:docMk/>
            <pc:sldMk cId="399927874" sldId="2147469818"/>
            <ac:spMk id="11" creationId="{E174BA27-84F9-922B-4981-56D2A7E96567}"/>
          </ac:spMkLst>
        </pc:spChg>
        <pc:spChg chg="add mod">
          <ac:chgData name="Paul LEGEARD" userId="73b5704d-da1d-4b70-8e12-6d54d32b01a3" providerId="ADAL" clId="{6A0B0392-5B89-4C63-A1D8-1EA797692AC0}" dt="2023-04-17T13:37:10.330" v="6480" actId="14100"/>
          <ac:spMkLst>
            <pc:docMk/>
            <pc:sldMk cId="399927874" sldId="2147469818"/>
            <ac:spMk id="12" creationId="{F8F524BD-4937-C28D-D745-682E5C8BCF76}"/>
          </ac:spMkLst>
        </pc:spChg>
        <pc:spChg chg="add del mod">
          <ac:chgData name="Paul LEGEARD" userId="73b5704d-da1d-4b70-8e12-6d54d32b01a3" providerId="ADAL" clId="{6A0B0392-5B89-4C63-A1D8-1EA797692AC0}" dt="2023-04-17T07:10:52.952" v="1502" actId="478"/>
          <ac:spMkLst>
            <pc:docMk/>
            <pc:sldMk cId="399927874" sldId="2147469818"/>
            <ac:spMk id="14" creationId="{96B0A065-CDD5-6669-5D3E-1273548D9943}"/>
          </ac:spMkLst>
        </pc:spChg>
        <pc:spChg chg="add del">
          <ac:chgData name="Paul LEGEARD" userId="73b5704d-da1d-4b70-8e12-6d54d32b01a3" providerId="ADAL" clId="{6A0B0392-5B89-4C63-A1D8-1EA797692AC0}" dt="2023-04-17T07:10:02.828" v="1414" actId="22"/>
          <ac:spMkLst>
            <pc:docMk/>
            <pc:sldMk cId="399927874" sldId="2147469818"/>
            <ac:spMk id="16" creationId="{7B1DF9D6-64FD-1B9D-8843-AA6A2F8CEE91}"/>
          </ac:spMkLst>
        </pc:spChg>
        <pc:spChg chg="add mod">
          <ac:chgData name="Paul LEGEARD" userId="73b5704d-da1d-4b70-8e12-6d54d32b01a3" providerId="ADAL" clId="{6A0B0392-5B89-4C63-A1D8-1EA797692AC0}" dt="2023-04-17T13:37:23.372" v="6484" actId="1076"/>
          <ac:spMkLst>
            <pc:docMk/>
            <pc:sldMk cId="399927874" sldId="2147469818"/>
            <ac:spMk id="17" creationId="{F86C5B3B-754F-BA97-DE47-A09073B87E52}"/>
          </ac:spMkLst>
        </pc:spChg>
        <pc:spChg chg="add mod">
          <ac:chgData name="Paul LEGEARD" userId="73b5704d-da1d-4b70-8e12-6d54d32b01a3" providerId="ADAL" clId="{6A0B0392-5B89-4C63-A1D8-1EA797692AC0}" dt="2023-04-17T13:37:23.372" v="6484" actId="1076"/>
          <ac:spMkLst>
            <pc:docMk/>
            <pc:sldMk cId="399927874" sldId="2147469818"/>
            <ac:spMk id="18" creationId="{F7DBF74F-6A7C-EB55-B0C2-FE98A129FEF5}"/>
          </ac:spMkLst>
        </pc:spChg>
        <pc:spChg chg="add mod">
          <ac:chgData name="Paul LEGEARD" userId="73b5704d-da1d-4b70-8e12-6d54d32b01a3" providerId="ADAL" clId="{6A0B0392-5B89-4C63-A1D8-1EA797692AC0}" dt="2023-04-17T13:44:57.399" v="7004" actId="20577"/>
          <ac:spMkLst>
            <pc:docMk/>
            <pc:sldMk cId="399927874" sldId="2147469818"/>
            <ac:spMk id="19" creationId="{99F2D78C-C7C1-3793-4674-0A15937AB4FA}"/>
          </ac:spMkLst>
        </pc:spChg>
        <pc:spChg chg="add mod">
          <ac:chgData name="Paul LEGEARD" userId="73b5704d-da1d-4b70-8e12-6d54d32b01a3" providerId="ADAL" clId="{6A0B0392-5B89-4C63-A1D8-1EA797692AC0}" dt="2023-04-17T13:38:59.844" v="6647" actId="1076"/>
          <ac:spMkLst>
            <pc:docMk/>
            <pc:sldMk cId="399927874" sldId="2147469818"/>
            <ac:spMk id="21" creationId="{EDFB8289-6E79-D4C7-A663-91E05AF402CA}"/>
          </ac:spMkLst>
        </pc:spChg>
        <pc:spChg chg="add mod">
          <ac:chgData name="Paul LEGEARD" userId="73b5704d-da1d-4b70-8e12-6d54d32b01a3" providerId="ADAL" clId="{6A0B0392-5B89-4C63-A1D8-1EA797692AC0}" dt="2023-04-17T13:39:10.154" v="6650" actId="1076"/>
          <ac:spMkLst>
            <pc:docMk/>
            <pc:sldMk cId="399927874" sldId="2147469818"/>
            <ac:spMk id="22" creationId="{22917534-4C1B-9974-793A-5EBC3AB7F483}"/>
          </ac:spMkLst>
        </pc:spChg>
        <pc:spChg chg="add mod">
          <ac:chgData name="Paul LEGEARD" userId="73b5704d-da1d-4b70-8e12-6d54d32b01a3" providerId="ADAL" clId="{6A0B0392-5B89-4C63-A1D8-1EA797692AC0}" dt="2023-04-17T13:37:23.372" v="6484" actId="1076"/>
          <ac:spMkLst>
            <pc:docMk/>
            <pc:sldMk cId="399927874" sldId="2147469818"/>
            <ac:spMk id="23" creationId="{196BB7EA-3DD1-4853-E236-2C43B65BCC6D}"/>
          </ac:spMkLst>
        </pc:spChg>
        <pc:spChg chg="add del mod">
          <ac:chgData name="Paul LEGEARD" userId="73b5704d-da1d-4b70-8e12-6d54d32b01a3" providerId="ADAL" clId="{6A0B0392-5B89-4C63-A1D8-1EA797692AC0}" dt="2023-04-17T07:26:06.187" v="2418"/>
          <ac:spMkLst>
            <pc:docMk/>
            <pc:sldMk cId="399927874" sldId="2147469818"/>
            <ac:spMk id="24" creationId="{C2223ACE-789D-B2E2-9F39-853DF5D9AFC7}"/>
          </ac:spMkLst>
        </pc:spChg>
        <pc:picChg chg="add mod">
          <ac:chgData name="Paul LEGEARD" userId="73b5704d-da1d-4b70-8e12-6d54d32b01a3" providerId="ADAL" clId="{6A0B0392-5B89-4C63-A1D8-1EA797692AC0}" dt="2023-04-17T07:17:13.354" v="2007" actId="1036"/>
          <ac:picMkLst>
            <pc:docMk/>
            <pc:sldMk cId="399927874" sldId="2147469818"/>
            <ac:picMk id="20" creationId="{B4D18A56-9D72-821E-BAAD-E702649F1726}"/>
          </ac:picMkLst>
        </pc:picChg>
        <pc:cxnChg chg="add mod">
          <ac:chgData name="Paul LEGEARD" userId="73b5704d-da1d-4b70-8e12-6d54d32b01a3" providerId="ADAL" clId="{6A0B0392-5B89-4C63-A1D8-1EA797692AC0}" dt="2023-04-17T07:17:13.354" v="2007" actId="1036"/>
          <ac:cxnSpMkLst>
            <pc:docMk/>
            <pc:sldMk cId="399927874" sldId="2147469818"/>
            <ac:cxnSpMk id="6" creationId="{54320455-DFA4-1B8C-A169-3378B6B10E01}"/>
          </ac:cxnSpMkLst>
        </pc:cxnChg>
      </pc:sldChg>
      <pc:sldChg chg="add del">
        <pc:chgData name="Paul LEGEARD" userId="73b5704d-da1d-4b70-8e12-6d54d32b01a3" providerId="ADAL" clId="{6A0B0392-5B89-4C63-A1D8-1EA797692AC0}" dt="2023-04-17T07:18:09.699" v="2104"/>
        <pc:sldMkLst>
          <pc:docMk/>
          <pc:sldMk cId="1235754378" sldId="2147469819"/>
        </pc:sldMkLst>
      </pc:sldChg>
      <pc:sldChg chg="addSp delSp modSp add del mod">
        <pc:chgData name="Paul LEGEARD" userId="73b5704d-da1d-4b70-8e12-6d54d32b01a3" providerId="ADAL" clId="{6A0B0392-5B89-4C63-A1D8-1EA797692AC0}" dt="2023-04-17T13:39:32.673" v="6651" actId="2696"/>
        <pc:sldMkLst>
          <pc:docMk/>
          <pc:sldMk cId="2886827644" sldId="2147469819"/>
        </pc:sldMkLst>
        <pc:spChg chg="del">
          <ac:chgData name="Paul LEGEARD" userId="73b5704d-da1d-4b70-8e12-6d54d32b01a3" providerId="ADAL" clId="{6A0B0392-5B89-4C63-A1D8-1EA797692AC0}" dt="2023-04-17T07:22:12.142" v="2289" actId="478"/>
          <ac:spMkLst>
            <pc:docMk/>
            <pc:sldMk cId="2886827644" sldId="2147469819"/>
            <ac:spMk id="3" creationId="{2695F93A-3511-33FD-1F40-2A8EEC7FE074}"/>
          </ac:spMkLst>
        </pc:spChg>
        <pc:spChg chg="mod">
          <ac:chgData name="Paul LEGEARD" userId="73b5704d-da1d-4b70-8e12-6d54d32b01a3" providerId="ADAL" clId="{6A0B0392-5B89-4C63-A1D8-1EA797692AC0}" dt="2023-04-17T07:43:40.814" v="3654" actId="20577"/>
          <ac:spMkLst>
            <pc:docMk/>
            <pc:sldMk cId="2886827644" sldId="2147469819"/>
            <ac:spMk id="4" creationId="{52AFB3F8-88A7-4D69-8A52-45D00774625C}"/>
          </ac:spMkLst>
        </pc:spChg>
        <pc:spChg chg="del">
          <ac:chgData name="Paul LEGEARD" userId="73b5704d-da1d-4b70-8e12-6d54d32b01a3" providerId="ADAL" clId="{6A0B0392-5B89-4C63-A1D8-1EA797692AC0}" dt="2023-04-17T07:22:12.142" v="2289" actId="478"/>
          <ac:spMkLst>
            <pc:docMk/>
            <pc:sldMk cId="2886827644" sldId="2147469819"/>
            <ac:spMk id="13" creationId="{F0DEB9CD-BAED-FF40-CA96-B2801BB48C6F}"/>
          </ac:spMkLst>
        </pc:spChg>
        <pc:spChg chg="del">
          <ac:chgData name="Paul LEGEARD" userId="73b5704d-da1d-4b70-8e12-6d54d32b01a3" providerId="ADAL" clId="{6A0B0392-5B89-4C63-A1D8-1EA797692AC0}" dt="2023-04-17T07:22:12.142" v="2289" actId="478"/>
          <ac:spMkLst>
            <pc:docMk/>
            <pc:sldMk cId="2886827644" sldId="2147469819"/>
            <ac:spMk id="14" creationId="{54571BA6-99DA-01DB-5F8E-D364FCCF7383}"/>
          </ac:spMkLst>
        </pc:spChg>
        <pc:spChg chg="del">
          <ac:chgData name="Paul LEGEARD" userId="73b5704d-da1d-4b70-8e12-6d54d32b01a3" providerId="ADAL" clId="{6A0B0392-5B89-4C63-A1D8-1EA797692AC0}" dt="2023-04-17T07:22:12.142" v="2289" actId="478"/>
          <ac:spMkLst>
            <pc:docMk/>
            <pc:sldMk cId="2886827644" sldId="2147469819"/>
            <ac:spMk id="15" creationId="{F91A63E1-0078-DA31-990C-57B4D33D2F35}"/>
          </ac:spMkLst>
        </pc:spChg>
        <pc:spChg chg="add mod">
          <ac:chgData name="Paul LEGEARD" userId="73b5704d-da1d-4b70-8e12-6d54d32b01a3" providerId="ADAL" clId="{6A0B0392-5B89-4C63-A1D8-1EA797692AC0}" dt="2023-04-17T07:33:02.137" v="3112" actId="207"/>
          <ac:spMkLst>
            <pc:docMk/>
            <pc:sldMk cId="2886827644" sldId="2147469819"/>
            <ac:spMk id="17" creationId="{386935BF-88AD-C6CF-7372-653A255C5A30}"/>
          </ac:spMkLst>
        </pc:spChg>
        <pc:spChg chg="del">
          <ac:chgData name="Paul LEGEARD" userId="73b5704d-da1d-4b70-8e12-6d54d32b01a3" providerId="ADAL" clId="{6A0B0392-5B89-4C63-A1D8-1EA797692AC0}" dt="2023-04-17T07:22:12.142" v="2289" actId="478"/>
          <ac:spMkLst>
            <pc:docMk/>
            <pc:sldMk cId="2886827644" sldId="2147469819"/>
            <ac:spMk id="18" creationId="{4C7EB966-EE14-71EA-3CBB-C9B534CF7546}"/>
          </ac:spMkLst>
        </pc:spChg>
        <pc:spChg chg="del">
          <ac:chgData name="Paul LEGEARD" userId="73b5704d-da1d-4b70-8e12-6d54d32b01a3" providerId="ADAL" clId="{6A0B0392-5B89-4C63-A1D8-1EA797692AC0}" dt="2023-04-17T07:22:12.142" v="2289" actId="478"/>
          <ac:spMkLst>
            <pc:docMk/>
            <pc:sldMk cId="2886827644" sldId="2147469819"/>
            <ac:spMk id="21" creationId="{62DD918D-071C-6F8E-05DD-323D384D13AA}"/>
          </ac:spMkLst>
        </pc:spChg>
        <pc:spChg chg="del">
          <ac:chgData name="Paul LEGEARD" userId="73b5704d-da1d-4b70-8e12-6d54d32b01a3" providerId="ADAL" clId="{6A0B0392-5B89-4C63-A1D8-1EA797692AC0}" dt="2023-04-17T07:22:12.142" v="2289" actId="478"/>
          <ac:spMkLst>
            <pc:docMk/>
            <pc:sldMk cId="2886827644" sldId="2147469819"/>
            <ac:spMk id="22" creationId="{437AB4B7-6ECD-D786-FF6D-C1CFC38F9BDA}"/>
          </ac:spMkLst>
        </pc:spChg>
        <pc:spChg chg="del">
          <ac:chgData name="Paul LEGEARD" userId="73b5704d-da1d-4b70-8e12-6d54d32b01a3" providerId="ADAL" clId="{6A0B0392-5B89-4C63-A1D8-1EA797692AC0}" dt="2023-04-17T07:22:12.142" v="2289" actId="478"/>
          <ac:spMkLst>
            <pc:docMk/>
            <pc:sldMk cId="2886827644" sldId="2147469819"/>
            <ac:spMk id="23" creationId="{FAA20E55-DAF1-514F-AE1D-9F5CC666FD02}"/>
          </ac:spMkLst>
        </pc:spChg>
        <pc:spChg chg="add mod">
          <ac:chgData name="Paul LEGEARD" userId="73b5704d-da1d-4b70-8e12-6d54d32b01a3" providerId="ADAL" clId="{6A0B0392-5B89-4C63-A1D8-1EA797692AC0}" dt="2023-04-17T07:26:44.549" v="2531" actId="1035"/>
          <ac:spMkLst>
            <pc:docMk/>
            <pc:sldMk cId="2886827644" sldId="2147469819"/>
            <ac:spMk id="24" creationId="{B568E92A-0FF2-F047-336A-1C83EEBA72CE}"/>
          </ac:spMkLst>
        </pc:spChg>
        <pc:spChg chg="add mod">
          <ac:chgData name="Paul LEGEARD" userId="73b5704d-da1d-4b70-8e12-6d54d32b01a3" providerId="ADAL" clId="{6A0B0392-5B89-4C63-A1D8-1EA797692AC0}" dt="2023-04-17T07:26:44.549" v="2531" actId="1035"/>
          <ac:spMkLst>
            <pc:docMk/>
            <pc:sldMk cId="2886827644" sldId="2147469819"/>
            <ac:spMk id="25" creationId="{6A989655-7AD7-BD8D-4BD8-D2B87F5966C2}"/>
          </ac:spMkLst>
        </pc:spChg>
        <pc:spChg chg="add mod">
          <ac:chgData name="Paul LEGEARD" userId="73b5704d-da1d-4b70-8e12-6d54d32b01a3" providerId="ADAL" clId="{6A0B0392-5B89-4C63-A1D8-1EA797692AC0}" dt="2023-04-17T07:32:55.611" v="3111" actId="1035"/>
          <ac:spMkLst>
            <pc:docMk/>
            <pc:sldMk cId="2886827644" sldId="2147469819"/>
            <ac:spMk id="26" creationId="{DC6A367D-2952-CE7E-5EAB-758F96BBB53B}"/>
          </ac:spMkLst>
        </pc:spChg>
        <pc:spChg chg="add mod">
          <ac:chgData name="Paul LEGEARD" userId="73b5704d-da1d-4b70-8e12-6d54d32b01a3" providerId="ADAL" clId="{6A0B0392-5B89-4C63-A1D8-1EA797692AC0}" dt="2023-04-17T07:32:55.611" v="3111" actId="1035"/>
          <ac:spMkLst>
            <pc:docMk/>
            <pc:sldMk cId="2886827644" sldId="2147469819"/>
            <ac:spMk id="28" creationId="{36A6AA9A-3BC0-6756-AAE0-1F20BC5BE76F}"/>
          </ac:spMkLst>
        </pc:spChg>
        <pc:spChg chg="add mod">
          <ac:chgData name="Paul LEGEARD" userId="73b5704d-da1d-4b70-8e12-6d54d32b01a3" providerId="ADAL" clId="{6A0B0392-5B89-4C63-A1D8-1EA797692AC0}" dt="2023-04-17T07:32:55.611" v="3111" actId="1035"/>
          <ac:spMkLst>
            <pc:docMk/>
            <pc:sldMk cId="2886827644" sldId="2147469819"/>
            <ac:spMk id="29" creationId="{1C761E0B-C74F-B973-FBFF-42C158F1509E}"/>
          </ac:spMkLst>
        </pc:spChg>
        <pc:spChg chg="add mod">
          <ac:chgData name="Paul LEGEARD" userId="73b5704d-da1d-4b70-8e12-6d54d32b01a3" providerId="ADAL" clId="{6A0B0392-5B89-4C63-A1D8-1EA797692AC0}" dt="2023-04-17T07:32:55.611" v="3111" actId="1035"/>
          <ac:spMkLst>
            <pc:docMk/>
            <pc:sldMk cId="2886827644" sldId="2147469819"/>
            <ac:spMk id="30" creationId="{CC1CC4AB-18D6-C169-2DA7-11BA859FAB87}"/>
          </ac:spMkLst>
        </pc:spChg>
        <pc:spChg chg="add mod">
          <ac:chgData name="Paul LEGEARD" userId="73b5704d-da1d-4b70-8e12-6d54d32b01a3" providerId="ADAL" clId="{6A0B0392-5B89-4C63-A1D8-1EA797692AC0}" dt="2023-04-17T07:32:55.611" v="3111" actId="1035"/>
          <ac:spMkLst>
            <pc:docMk/>
            <pc:sldMk cId="2886827644" sldId="2147469819"/>
            <ac:spMk id="31" creationId="{775E3FF2-4C84-34D5-7AA5-7F18E6593652}"/>
          </ac:spMkLst>
        </pc:spChg>
        <pc:spChg chg="add mod">
          <ac:chgData name="Paul LEGEARD" userId="73b5704d-da1d-4b70-8e12-6d54d32b01a3" providerId="ADAL" clId="{6A0B0392-5B89-4C63-A1D8-1EA797692AC0}" dt="2023-04-17T07:32:55.611" v="3111" actId="1035"/>
          <ac:spMkLst>
            <pc:docMk/>
            <pc:sldMk cId="2886827644" sldId="2147469819"/>
            <ac:spMk id="32" creationId="{4CBAE490-4CFC-BA13-0DFB-154C5A30FF85}"/>
          </ac:spMkLst>
        </pc:spChg>
        <pc:spChg chg="add mod">
          <ac:chgData name="Paul LEGEARD" userId="73b5704d-da1d-4b70-8e12-6d54d32b01a3" providerId="ADAL" clId="{6A0B0392-5B89-4C63-A1D8-1EA797692AC0}" dt="2023-04-17T07:32:55.611" v="3111" actId="1035"/>
          <ac:spMkLst>
            <pc:docMk/>
            <pc:sldMk cId="2886827644" sldId="2147469819"/>
            <ac:spMk id="33" creationId="{08D562F6-78EE-4D07-9A01-B43741288578}"/>
          </ac:spMkLst>
        </pc:spChg>
        <pc:spChg chg="add del mod">
          <ac:chgData name="Paul LEGEARD" userId="73b5704d-da1d-4b70-8e12-6d54d32b01a3" providerId="ADAL" clId="{6A0B0392-5B89-4C63-A1D8-1EA797692AC0}" dt="2023-04-17T07:29:48.881" v="2785" actId="478"/>
          <ac:spMkLst>
            <pc:docMk/>
            <pc:sldMk cId="2886827644" sldId="2147469819"/>
            <ac:spMk id="34" creationId="{A0877BC6-B86A-05FE-DE9B-82AAB9416D72}"/>
          </ac:spMkLst>
        </pc:spChg>
        <pc:spChg chg="add del mod">
          <ac:chgData name="Paul LEGEARD" userId="73b5704d-da1d-4b70-8e12-6d54d32b01a3" providerId="ADAL" clId="{6A0B0392-5B89-4C63-A1D8-1EA797692AC0}" dt="2023-04-17T07:29:48.881" v="2785" actId="478"/>
          <ac:spMkLst>
            <pc:docMk/>
            <pc:sldMk cId="2886827644" sldId="2147469819"/>
            <ac:spMk id="35" creationId="{465BFC7F-D53C-5CD5-E54D-4B3C9A5CDEE4}"/>
          </ac:spMkLst>
        </pc:spChg>
        <pc:spChg chg="add mod">
          <ac:chgData name="Paul LEGEARD" userId="73b5704d-da1d-4b70-8e12-6d54d32b01a3" providerId="ADAL" clId="{6A0B0392-5B89-4C63-A1D8-1EA797692AC0}" dt="2023-04-17T07:33:04.605" v="3113" actId="207"/>
          <ac:spMkLst>
            <pc:docMk/>
            <pc:sldMk cId="2886827644" sldId="2147469819"/>
            <ac:spMk id="60" creationId="{F51CD747-3FD3-F04C-EF88-7AC8FCAE56C8}"/>
          </ac:spMkLst>
        </pc:spChg>
        <pc:spChg chg="add mod">
          <ac:chgData name="Paul LEGEARD" userId="73b5704d-da1d-4b70-8e12-6d54d32b01a3" providerId="ADAL" clId="{6A0B0392-5B89-4C63-A1D8-1EA797692AC0}" dt="2023-04-17T07:35:01.514" v="3192" actId="20577"/>
          <ac:spMkLst>
            <pc:docMk/>
            <pc:sldMk cId="2886827644" sldId="2147469819"/>
            <ac:spMk id="62" creationId="{B3BD5696-68E4-6805-9733-1DF4F2AB6F77}"/>
          </ac:spMkLst>
        </pc:spChg>
        <pc:spChg chg="add del mod">
          <ac:chgData name="Paul LEGEARD" userId="73b5704d-da1d-4b70-8e12-6d54d32b01a3" providerId="ADAL" clId="{6A0B0392-5B89-4C63-A1D8-1EA797692AC0}" dt="2023-04-17T07:32:12.396" v="3089" actId="478"/>
          <ac:spMkLst>
            <pc:docMk/>
            <pc:sldMk cId="2886827644" sldId="2147469819"/>
            <ac:spMk id="63" creationId="{D0C18444-9FE8-5D5F-4B33-4C3FDA011C2D}"/>
          </ac:spMkLst>
        </pc:spChg>
        <pc:spChg chg="add del mod">
          <ac:chgData name="Paul LEGEARD" userId="73b5704d-da1d-4b70-8e12-6d54d32b01a3" providerId="ADAL" clId="{6A0B0392-5B89-4C63-A1D8-1EA797692AC0}" dt="2023-04-17T07:32:12.396" v="3089" actId="478"/>
          <ac:spMkLst>
            <pc:docMk/>
            <pc:sldMk cId="2886827644" sldId="2147469819"/>
            <ac:spMk id="2048" creationId="{9AF43425-60B3-7037-1792-5333C6CF5BF9}"/>
          </ac:spMkLst>
        </pc:spChg>
        <pc:spChg chg="add del mod">
          <ac:chgData name="Paul LEGEARD" userId="73b5704d-da1d-4b70-8e12-6d54d32b01a3" providerId="ADAL" clId="{6A0B0392-5B89-4C63-A1D8-1EA797692AC0}" dt="2023-04-17T07:32:12.396" v="3089" actId="478"/>
          <ac:spMkLst>
            <pc:docMk/>
            <pc:sldMk cId="2886827644" sldId="2147469819"/>
            <ac:spMk id="2049" creationId="{B6F8C012-1B3A-ACB4-2B2B-700DB673C75B}"/>
          </ac:spMkLst>
        </pc:spChg>
        <pc:spChg chg="add del mod">
          <ac:chgData name="Paul LEGEARD" userId="73b5704d-da1d-4b70-8e12-6d54d32b01a3" providerId="ADAL" clId="{6A0B0392-5B89-4C63-A1D8-1EA797692AC0}" dt="2023-04-17T07:32:12.396" v="3089" actId="478"/>
          <ac:spMkLst>
            <pc:docMk/>
            <pc:sldMk cId="2886827644" sldId="2147469819"/>
            <ac:spMk id="2051" creationId="{849B6853-3ADB-DDED-4304-45B58EFEEA13}"/>
          </ac:spMkLst>
        </pc:spChg>
        <pc:spChg chg="add del mod">
          <ac:chgData name="Paul LEGEARD" userId="73b5704d-da1d-4b70-8e12-6d54d32b01a3" providerId="ADAL" clId="{6A0B0392-5B89-4C63-A1D8-1EA797692AC0}" dt="2023-04-17T07:32:12.396" v="3089" actId="478"/>
          <ac:spMkLst>
            <pc:docMk/>
            <pc:sldMk cId="2886827644" sldId="2147469819"/>
            <ac:spMk id="2053" creationId="{3D70B8F3-F4FD-CDEC-F536-27000B99CE17}"/>
          </ac:spMkLst>
        </pc:spChg>
        <pc:spChg chg="add del mod">
          <ac:chgData name="Paul LEGEARD" userId="73b5704d-da1d-4b70-8e12-6d54d32b01a3" providerId="ADAL" clId="{6A0B0392-5B89-4C63-A1D8-1EA797692AC0}" dt="2023-04-17T07:32:12.396" v="3089" actId="478"/>
          <ac:spMkLst>
            <pc:docMk/>
            <pc:sldMk cId="2886827644" sldId="2147469819"/>
            <ac:spMk id="2055" creationId="{FD1635F5-FF33-80EF-3157-8D0968C10F50}"/>
          </ac:spMkLst>
        </pc:spChg>
        <pc:spChg chg="add del mod">
          <ac:chgData name="Paul LEGEARD" userId="73b5704d-da1d-4b70-8e12-6d54d32b01a3" providerId="ADAL" clId="{6A0B0392-5B89-4C63-A1D8-1EA797692AC0}" dt="2023-04-17T07:33:07.357" v="3114" actId="478"/>
          <ac:spMkLst>
            <pc:docMk/>
            <pc:sldMk cId="2886827644" sldId="2147469819"/>
            <ac:spMk id="2066" creationId="{5CD4A2C9-781F-85BA-BB62-62F44E072B37}"/>
          </ac:spMkLst>
        </pc:spChg>
        <pc:spChg chg="add mod">
          <ac:chgData name="Paul LEGEARD" userId="73b5704d-da1d-4b70-8e12-6d54d32b01a3" providerId="ADAL" clId="{6A0B0392-5B89-4C63-A1D8-1EA797692AC0}" dt="2023-04-17T07:33:45.026" v="3168" actId="20577"/>
          <ac:spMkLst>
            <pc:docMk/>
            <pc:sldMk cId="2886827644" sldId="2147469819"/>
            <ac:spMk id="2067" creationId="{4D42F7C4-9CAC-B78F-B06E-043D0CFB9943}"/>
          </ac:spMkLst>
        </pc:spChg>
        <pc:spChg chg="add mod">
          <ac:chgData name="Paul LEGEARD" userId="73b5704d-da1d-4b70-8e12-6d54d32b01a3" providerId="ADAL" clId="{6A0B0392-5B89-4C63-A1D8-1EA797692AC0}" dt="2023-04-17T07:35:21.885" v="3199" actId="20577"/>
          <ac:spMkLst>
            <pc:docMk/>
            <pc:sldMk cId="2886827644" sldId="2147469819"/>
            <ac:spMk id="2068" creationId="{71035D78-47CB-6EA6-F8E7-4467A0C8B91E}"/>
          </ac:spMkLst>
        </pc:spChg>
        <pc:grpChg chg="del">
          <ac:chgData name="Paul LEGEARD" userId="73b5704d-da1d-4b70-8e12-6d54d32b01a3" providerId="ADAL" clId="{6A0B0392-5B89-4C63-A1D8-1EA797692AC0}" dt="2023-04-17T07:22:12.142" v="2289" actId="478"/>
          <ac:grpSpMkLst>
            <pc:docMk/>
            <pc:sldMk cId="2886827644" sldId="2147469819"/>
            <ac:grpSpMk id="5" creationId="{A90B64D8-0068-DB1C-5A00-346842BA9089}"/>
          </ac:grpSpMkLst>
        </pc:grpChg>
        <pc:picChg chg="del">
          <ac:chgData name="Paul LEGEARD" userId="73b5704d-da1d-4b70-8e12-6d54d32b01a3" providerId="ADAL" clId="{6A0B0392-5B89-4C63-A1D8-1EA797692AC0}" dt="2023-04-17T07:22:12.142" v="2289" actId="478"/>
          <ac:picMkLst>
            <pc:docMk/>
            <pc:sldMk cId="2886827644" sldId="2147469819"/>
            <ac:picMk id="16" creationId="{9AC038DF-B200-CDBF-013E-D8905C516B74}"/>
          </ac:picMkLst>
        </pc:picChg>
        <pc:picChg chg="del">
          <ac:chgData name="Paul LEGEARD" userId="73b5704d-da1d-4b70-8e12-6d54d32b01a3" providerId="ADAL" clId="{6A0B0392-5B89-4C63-A1D8-1EA797692AC0}" dt="2023-04-17T07:22:12.142" v="2289" actId="478"/>
          <ac:picMkLst>
            <pc:docMk/>
            <pc:sldMk cId="2886827644" sldId="2147469819"/>
            <ac:picMk id="19" creationId="{6E4D52DD-D976-E411-FE47-36A0EAB8B143}"/>
          </ac:picMkLst>
        </pc:picChg>
        <pc:picChg chg="del">
          <ac:chgData name="Paul LEGEARD" userId="73b5704d-da1d-4b70-8e12-6d54d32b01a3" providerId="ADAL" clId="{6A0B0392-5B89-4C63-A1D8-1EA797692AC0}" dt="2023-04-17T07:22:12.142" v="2289" actId="478"/>
          <ac:picMkLst>
            <pc:docMk/>
            <pc:sldMk cId="2886827644" sldId="2147469819"/>
            <ac:picMk id="20" creationId="{C1F4C1E3-B80C-6B1E-1C99-DE8DE0C8F3A3}"/>
          </ac:picMkLst>
        </pc:picChg>
        <pc:picChg chg="del">
          <ac:chgData name="Paul LEGEARD" userId="73b5704d-da1d-4b70-8e12-6d54d32b01a3" providerId="ADAL" clId="{6A0B0392-5B89-4C63-A1D8-1EA797692AC0}" dt="2023-04-17T07:22:12.142" v="2289" actId="478"/>
          <ac:picMkLst>
            <pc:docMk/>
            <pc:sldMk cId="2886827644" sldId="2147469819"/>
            <ac:picMk id="27" creationId="{1671A8AF-F0DA-3E47-E8CF-452FC4C0D143}"/>
          </ac:picMkLst>
        </pc:picChg>
        <pc:picChg chg="add del mod">
          <ac:chgData name="Paul LEGEARD" userId="73b5704d-da1d-4b70-8e12-6d54d32b01a3" providerId="ADAL" clId="{6A0B0392-5B89-4C63-A1D8-1EA797692AC0}" dt="2023-04-17T07:33:08.096" v="3115" actId="478"/>
          <ac:picMkLst>
            <pc:docMk/>
            <pc:sldMk cId="2886827644" sldId="2147469819"/>
            <ac:picMk id="61" creationId="{A5AB17DA-10EB-740D-9C2B-F3139B093A63}"/>
          </ac:picMkLst>
        </pc:picChg>
        <pc:picChg chg="add mod">
          <ac:chgData name="Paul LEGEARD" userId="73b5704d-da1d-4b70-8e12-6d54d32b01a3" providerId="ADAL" clId="{6A0B0392-5B89-4C63-A1D8-1EA797692AC0}" dt="2023-04-17T07:32:55.611" v="3111" actId="1035"/>
          <ac:picMkLst>
            <pc:docMk/>
            <pc:sldMk cId="2886827644" sldId="2147469819"/>
            <ac:picMk id="2050" creationId="{44CC4011-08B5-D75D-C18A-758FABCEA55D}"/>
          </ac:picMkLst>
        </pc:picChg>
        <pc:picChg chg="add del">
          <ac:chgData name="Paul LEGEARD" userId="73b5704d-da1d-4b70-8e12-6d54d32b01a3" providerId="ADAL" clId="{6A0B0392-5B89-4C63-A1D8-1EA797692AC0}" dt="2023-04-17T07:24:07.059" v="2393"/>
          <ac:picMkLst>
            <pc:docMk/>
            <pc:sldMk cId="2886827644" sldId="2147469819"/>
            <ac:picMk id="2052" creationId="{0EB00E5A-B48C-7A3A-85CA-541C15F55C0D}"/>
          </ac:picMkLst>
        </pc:picChg>
        <pc:picChg chg="add mod">
          <ac:chgData name="Paul LEGEARD" userId="73b5704d-da1d-4b70-8e12-6d54d32b01a3" providerId="ADAL" clId="{6A0B0392-5B89-4C63-A1D8-1EA797692AC0}" dt="2023-04-17T07:33:14.523" v="3118" actId="1076"/>
          <ac:picMkLst>
            <pc:docMk/>
            <pc:sldMk cId="2886827644" sldId="2147469819"/>
            <ac:picMk id="2054" creationId="{104BD0A5-1138-F2A3-A7FB-5235FB1EB5C6}"/>
          </ac:picMkLst>
        </pc:picChg>
        <pc:picChg chg="add mod">
          <ac:chgData name="Paul LEGEARD" userId="73b5704d-da1d-4b70-8e12-6d54d32b01a3" providerId="ADAL" clId="{6A0B0392-5B89-4C63-A1D8-1EA797692AC0}" dt="2023-04-17T07:33:35.772" v="3124" actId="1076"/>
          <ac:picMkLst>
            <pc:docMk/>
            <pc:sldMk cId="2886827644" sldId="2147469819"/>
            <ac:picMk id="2056" creationId="{3E00DC47-5F48-3CE4-495E-61F10076CDF7}"/>
          </ac:picMkLst>
        </pc:picChg>
        <pc:picChg chg="add del mod">
          <ac:chgData name="Paul LEGEARD" userId="73b5704d-da1d-4b70-8e12-6d54d32b01a3" providerId="ADAL" clId="{6A0B0392-5B89-4C63-A1D8-1EA797692AC0}" dt="2023-04-17T07:33:29.433" v="3122" actId="478"/>
          <ac:picMkLst>
            <pc:docMk/>
            <pc:sldMk cId="2886827644" sldId="2147469819"/>
            <ac:picMk id="2069" creationId="{ED8733DD-E5A3-C7CA-1796-50BB66ACAD4B}"/>
          </ac:picMkLst>
        </pc:picChg>
        <pc:picChg chg="add mod">
          <ac:chgData name="Paul LEGEARD" userId="73b5704d-da1d-4b70-8e12-6d54d32b01a3" providerId="ADAL" clId="{6A0B0392-5B89-4C63-A1D8-1EA797692AC0}" dt="2023-04-17T07:34:54.689" v="3188" actId="1036"/>
          <ac:picMkLst>
            <pc:docMk/>
            <pc:sldMk cId="2886827644" sldId="2147469819"/>
            <ac:picMk id="2070" creationId="{5716886D-931D-F873-0B58-CE7130BD21E7}"/>
          </ac:picMkLst>
        </pc:picChg>
        <pc:picChg chg="add del mod">
          <ac:chgData name="Paul LEGEARD" userId="73b5704d-da1d-4b70-8e12-6d54d32b01a3" providerId="ADAL" clId="{6A0B0392-5B89-4C63-A1D8-1EA797692AC0}" dt="2023-04-17T07:35:30.634" v="3203" actId="478"/>
          <ac:picMkLst>
            <pc:docMk/>
            <pc:sldMk cId="2886827644" sldId="2147469819"/>
            <ac:picMk id="2071" creationId="{CD338C62-82FC-F55B-FB05-B2316193D1E4}"/>
          </ac:picMkLst>
        </pc:picChg>
        <pc:picChg chg="add mod">
          <ac:chgData name="Paul LEGEARD" userId="73b5704d-da1d-4b70-8e12-6d54d32b01a3" providerId="ADAL" clId="{6A0B0392-5B89-4C63-A1D8-1EA797692AC0}" dt="2023-04-17T07:35:28.935" v="3202" actId="1076"/>
          <ac:picMkLst>
            <pc:docMk/>
            <pc:sldMk cId="2886827644" sldId="2147469819"/>
            <ac:picMk id="2072" creationId="{2E68F450-CE9E-B4F3-A62B-757390FC803F}"/>
          </ac:picMkLst>
        </pc:picChg>
        <pc:picChg chg="add mod">
          <ac:chgData name="Paul LEGEARD" userId="73b5704d-da1d-4b70-8e12-6d54d32b01a3" providerId="ADAL" clId="{6A0B0392-5B89-4C63-A1D8-1EA797692AC0}" dt="2023-04-17T07:35:25.539" v="3201" actId="1076"/>
          <ac:picMkLst>
            <pc:docMk/>
            <pc:sldMk cId="2886827644" sldId="2147469819"/>
            <ac:picMk id="2073" creationId="{013177D7-AF33-7540-287B-F1139A22F605}"/>
          </ac:picMkLst>
        </pc:picChg>
        <pc:cxnChg chg="add mod">
          <ac:chgData name="Paul LEGEARD" userId="73b5704d-da1d-4b70-8e12-6d54d32b01a3" providerId="ADAL" clId="{6A0B0392-5B89-4C63-A1D8-1EA797692AC0}" dt="2023-04-17T07:26:50.931" v="2532" actId="693"/>
          <ac:cxnSpMkLst>
            <pc:docMk/>
            <pc:sldMk cId="2886827644" sldId="2147469819"/>
            <ac:cxnSpMk id="2" creationId="{682A375D-3837-33EC-2C86-747F0DA72271}"/>
          </ac:cxnSpMkLst>
        </pc:cxnChg>
        <pc:cxnChg chg="add mod">
          <ac:chgData name="Paul LEGEARD" userId="73b5704d-da1d-4b70-8e12-6d54d32b01a3" providerId="ADAL" clId="{6A0B0392-5B89-4C63-A1D8-1EA797692AC0}" dt="2023-04-17T07:32:55.611" v="3111" actId="1035"/>
          <ac:cxnSpMkLst>
            <pc:docMk/>
            <pc:sldMk cId="2886827644" sldId="2147469819"/>
            <ac:cxnSpMk id="37" creationId="{66295BA9-65B8-71F3-145B-54F01D0412DB}"/>
          </ac:cxnSpMkLst>
        </pc:cxnChg>
        <pc:cxnChg chg="add mod">
          <ac:chgData name="Paul LEGEARD" userId="73b5704d-da1d-4b70-8e12-6d54d32b01a3" providerId="ADAL" clId="{6A0B0392-5B89-4C63-A1D8-1EA797692AC0}" dt="2023-04-17T07:32:55.611" v="3111" actId="1035"/>
          <ac:cxnSpMkLst>
            <pc:docMk/>
            <pc:sldMk cId="2886827644" sldId="2147469819"/>
            <ac:cxnSpMk id="38" creationId="{55A01AF2-A68B-1A15-DF74-E9E53F2FDE18}"/>
          </ac:cxnSpMkLst>
        </pc:cxnChg>
        <pc:cxnChg chg="add mod">
          <ac:chgData name="Paul LEGEARD" userId="73b5704d-da1d-4b70-8e12-6d54d32b01a3" providerId="ADAL" clId="{6A0B0392-5B89-4C63-A1D8-1EA797692AC0}" dt="2023-04-17T07:32:55.611" v="3111" actId="1035"/>
          <ac:cxnSpMkLst>
            <pc:docMk/>
            <pc:sldMk cId="2886827644" sldId="2147469819"/>
            <ac:cxnSpMk id="41" creationId="{D1FD5FB5-5704-51B4-23EF-7E7BFB100034}"/>
          </ac:cxnSpMkLst>
        </pc:cxnChg>
        <pc:cxnChg chg="add mod">
          <ac:chgData name="Paul LEGEARD" userId="73b5704d-da1d-4b70-8e12-6d54d32b01a3" providerId="ADAL" clId="{6A0B0392-5B89-4C63-A1D8-1EA797692AC0}" dt="2023-04-17T07:32:55.611" v="3111" actId="1035"/>
          <ac:cxnSpMkLst>
            <pc:docMk/>
            <pc:sldMk cId="2886827644" sldId="2147469819"/>
            <ac:cxnSpMk id="44" creationId="{70EDF91E-8FDE-479A-4659-DE1C4B1010A8}"/>
          </ac:cxnSpMkLst>
        </pc:cxnChg>
        <pc:cxnChg chg="add mod">
          <ac:chgData name="Paul LEGEARD" userId="73b5704d-da1d-4b70-8e12-6d54d32b01a3" providerId="ADAL" clId="{6A0B0392-5B89-4C63-A1D8-1EA797692AC0}" dt="2023-04-17T07:32:55.611" v="3111" actId="1035"/>
          <ac:cxnSpMkLst>
            <pc:docMk/>
            <pc:sldMk cId="2886827644" sldId="2147469819"/>
            <ac:cxnSpMk id="48" creationId="{121ECE00-CF9E-36EB-99CC-28ECEE4A1B49}"/>
          </ac:cxnSpMkLst>
        </pc:cxnChg>
        <pc:cxnChg chg="add mod">
          <ac:chgData name="Paul LEGEARD" userId="73b5704d-da1d-4b70-8e12-6d54d32b01a3" providerId="ADAL" clId="{6A0B0392-5B89-4C63-A1D8-1EA797692AC0}" dt="2023-04-17T07:32:55.611" v="3111" actId="1035"/>
          <ac:cxnSpMkLst>
            <pc:docMk/>
            <pc:sldMk cId="2886827644" sldId="2147469819"/>
            <ac:cxnSpMk id="51" creationId="{C5D3493E-651B-6AE8-8976-EE75D3C941FF}"/>
          </ac:cxnSpMkLst>
        </pc:cxnChg>
        <pc:cxnChg chg="add mod">
          <ac:chgData name="Paul LEGEARD" userId="73b5704d-da1d-4b70-8e12-6d54d32b01a3" providerId="ADAL" clId="{6A0B0392-5B89-4C63-A1D8-1EA797692AC0}" dt="2023-04-17T07:32:55.611" v="3111" actId="1035"/>
          <ac:cxnSpMkLst>
            <pc:docMk/>
            <pc:sldMk cId="2886827644" sldId="2147469819"/>
            <ac:cxnSpMk id="54" creationId="{5F2C450C-FB23-1721-BF82-6A39395788A8}"/>
          </ac:cxnSpMkLst>
        </pc:cxnChg>
        <pc:cxnChg chg="add mod">
          <ac:chgData name="Paul LEGEARD" userId="73b5704d-da1d-4b70-8e12-6d54d32b01a3" providerId="ADAL" clId="{6A0B0392-5B89-4C63-A1D8-1EA797692AC0}" dt="2023-04-17T07:32:55.611" v="3111" actId="1035"/>
          <ac:cxnSpMkLst>
            <pc:docMk/>
            <pc:sldMk cId="2886827644" sldId="2147469819"/>
            <ac:cxnSpMk id="57" creationId="{5B031EDA-7E4A-61ED-5AB7-BBA3A9EF9976}"/>
          </ac:cxnSpMkLst>
        </pc:cxnChg>
        <pc:cxnChg chg="add del mod">
          <ac:chgData name="Paul LEGEARD" userId="73b5704d-da1d-4b70-8e12-6d54d32b01a3" providerId="ADAL" clId="{6A0B0392-5B89-4C63-A1D8-1EA797692AC0}" dt="2023-04-17T07:32:12.396" v="3089" actId="478"/>
          <ac:cxnSpMkLst>
            <pc:docMk/>
            <pc:sldMk cId="2886827644" sldId="2147469819"/>
            <ac:cxnSpMk id="2057" creationId="{610D9925-0C17-9204-824B-90E1AEA655C0}"/>
          </ac:cxnSpMkLst>
        </pc:cxnChg>
        <pc:cxnChg chg="add del mod">
          <ac:chgData name="Paul LEGEARD" userId="73b5704d-da1d-4b70-8e12-6d54d32b01a3" providerId="ADAL" clId="{6A0B0392-5B89-4C63-A1D8-1EA797692AC0}" dt="2023-04-17T07:32:12.396" v="3089" actId="478"/>
          <ac:cxnSpMkLst>
            <pc:docMk/>
            <pc:sldMk cId="2886827644" sldId="2147469819"/>
            <ac:cxnSpMk id="2058" creationId="{456B250B-4EA8-DBCA-B0D2-AF82520E3E18}"/>
          </ac:cxnSpMkLst>
        </pc:cxnChg>
        <pc:cxnChg chg="add del mod">
          <ac:chgData name="Paul LEGEARD" userId="73b5704d-da1d-4b70-8e12-6d54d32b01a3" providerId="ADAL" clId="{6A0B0392-5B89-4C63-A1D8-1EA797692AC0}" dt="2023-04-17T07:32:12.396" v="3089" actId="478"/>
          <ac:cxnSpMkLst>
            <pc:docMk/>
            <pc:sldMk cId="2886827644" sldId="2147469819"/>
            <ac:cxnSpMk id="2059" creationId="{A933B95C-FC9A-7BCE-36CA-7F32B527F9BD}"/>
          </ac:cxnSpMkLst>
        </pc:cxnChg>
        <pc:cxnChg chg="add del mod">
          <ac:chgData name="Paul LEGEARD" userId="73b5704d-da1d-4b70-8e12-6d54d32b01a3" providerId="ADAL" clId="{6A0B0392-5B89-4C63-A1D8-1EA797692AC0}" dt="2023-04-17T07:32:12.396" v="3089" actId="478"/>
          <ac:cxnSpMkLst>
            <pc:docMk/>
            <pc:sldMk cId="2886827644" sldId="2147469819"/>
            <ac:cxnSpMk id="2060" creationId="{D83616B9-9EFA-02E9-92CE-230BF243CAEB}"/>
          </ac:cxnSpMkLst>
        </pc:cxnChg>
        <pc:cxnChg chg="add del mod">
          <ac:chgData name="Paul LEGEARD" userId="73b5704d-da1d-4b70-8e12-6d54d32b01a3" providerId="ADAL" clId="{6A0B0392-5B89-4C63-A1D8-1EA797692AC0}" dt="2023-04-17T07:32:12.396" v="3089" actId="478"/>
          <ac:cxnSpMkLst>
            <pc:docMk/>
            <pc:sldMk cId="2886827644" sldId="2147469819"/>
            <ac:cxnSpMk id="2061" creationId="{9F556852-CA2D-080E-C0F6-22E7C1766395}"/>
          </ac:cxnSpMkLst>
        </pc:cxnChg>
        <pc:cxnChg chg="add del mod">
          <ac:chgData name="Paul LEGEARD" userId="73b5704d-da1d-4b70-8e12-6d54d32b01a3" providerId="ADAL" clId="{6A0B0392-5B89-4C63-A1D8-1EA797692AC0}" dt="2023-04-17T07:32:12.396" v="3089" actId="478"/>
          <ac:cxnSpMkLst>
            <pc:docMk/>
            <pc:sldMk cId="2886827644" sldId="2147469819"/>
            <ac:cxnSpMk id="2062" creationId="{AEEB0AF0-F15E-DB7C-5B22-E227F72567A9}"/>
          </ac:cxnSpMkLst>
        </pc:cxnChg>
        <pc:cxnChg chg="add del mod">
          <ac:chgData name="Paul LEGEARD" userId="73b5704d-da1d-4b70-8e12-6d54d32b01a3" providerId="ADAL" clId="{6A0B0392-5B89-4C63-A1D8-1EA797692AC0}" dt="2023-04-17T07:32:12.396" v="3089" actId="478"/>
          <ac:cxnSpMkLst>
            <pc:docMk/>
            <pc:sldMk cId="2886827644" sldId="2147469819"/>
            <ac:cxnSpMk id="2063" creationId="{B6A77FEF-3520-504D-946B-0ED95D78A964}"/>
          </ac:cxnSpMkLst>
        </pc:cxnChg>
        <pc:cxnChg chg="add del mod">
          <ac:chgData name="Paul LEGEARD" userId="73b5704d-da1d-4b70-8e12-6d54d32b01a3" providerId="ADAL" clId="{6A0B0392-5B89-4C63-A1D8-1EA797692AC0}" dt="2023-04-17T07:32:12.396" v="3089" actId="478"/>
          <ac:cxnSpMkLst>
            <pc:docMk/>
            <pc:sldMk cId="2886827644" sldId="2147469819"/>
            <ac:cxnSpMk id="2064" creationId="{F4593521-C02F-22D5-C666-577AD667E3DC}"/>
          </ac:cxnSpMkLst>
        </pc:cxnChg>
      </pc:sldChg>
      <pc:sldChg chg="modSp add mod">
        <pc:chgData name="Paul LEGEARD" userId="73b5704d-da1d-4b70-8e12-6d54d32b01a3" providerId="ADAL" clId="{6A0B0392-5B89-4C63-A1D8-1EA797692AC0}" dt="2023-04-17T13:48:38.901" v="7077" actId="113"/>
        <pc:sldMkLst>
          <pc:docMk/>
          <pc:sldMk cId="4174105161" sldId="2147469819"/>
        </pc:sldMkLst>
        <pc:spChg chg="mod">
          <ac:chgData name="Paul LEGEARD" userId="73b5704d-da1d-4b70-8e12-6d54d32b01a3" providerId="ADAL" clId="{6A0B0392-5B89-4C63-A1D8-1EA797692AC0}" dt="2023-04-17T13:46:44.607" v="7074"/>
          <ac:spMkLst>
            <pc:docMk/>
            <pc:sldMk cId="4174105161" sldId="2147469819"/>
            <ac:spMk id="26" creationId="{DC6A367D-2952-CE7E-5EAB-758F96BBB53B}"/>
          </ac:spMkLst>
        </pc:spChg>
        <pc:spChg chg="mod">
          <ac:chgData name="Paul LEGEARD" userId="73b5704d-da1d-4b70-8e12-6d54d32b01a3" providerId="ADAL" clId="{6A0B0392-5B89-4C63-A1D8-1EA797692AC0}" dt="2023-04-17T13:48:38.901" v="7077" actId="113"/>
          <ac:spMkLst>
            <pc:docMk/>
            <pc:sldMk cId="4174105161" sldId="2147469819"/>
            <ac:spMk id="62" creationId="{B3BD5696-68E4-6805-9733-1DF4F2AB6F77}"/>
          </ac:spMkLst>
        </pc:spChg>
        <pc:spChg chg="mod">
          <ac:chgData name="Paul LEGEARD" userId="73b5704d-da1d-4b70-8e12-6d54d32b01a3" providerId="ADAL" clId="{6A0B0392-5B89-4C63-A1D8-1EA797692AC0}" dt="2023-04-17T13:46:34.176" v="7071" actId="20577"/>
          <ac:spMkLst>
            <pc:docMk/>
            <pc:sldMk cId="4174105161" sldId="2147469819"/>
            <ac:spMk id="2068" creationId="{71035D78-47CB-6EA6-F8E7-4467A0C8B91E}"/>
          </ac:spMkLst>
        </pc:spChg>
      </pc:sldChg>
      <pc:sldChg chg="addSp delSp modSp add del mod">
        <pc:chgData name="Paul LEGEARD" userId="73b5704d-da1d-4b70-8e12-6d54d32b01a3" providerId="ADAL" clId="{6A0B0392-5B89-4C63-A1D8-1EA797692AC0}" dt="2023-04-17T13:39:32.673" v="6651" actId="2696"/>
        <pc:sldMkLst>
          <pc:docMk/>
          <pc:sldMk cId="2710555250" sldId="2147469820"/>
        </pc:sldMkLst>
        <pc:spChg chg="mod">
          <ac:chgData name="Paul LEGEARD" userId="73b5704d-da1d-4b70-8e12-6d54d32b01a3" providerId="ADAL" clId="{6A0B0392-5B89-4C63-A1D8-1EA797692AC0}" dt="2023-04-17T07:43:44.134" v="3655" actId="20577"/>
          <ac:spMkLst>
            <pc:docMk/>
            <pc:sldMk cId="2710555250" sldId="2147469820"/>
            <ac:spMk id="4" creationId="{52AFB3F8-88A7-4D69-8A52-45D00774625C}"/>
          </ac:spMkLst>
        </pc:spChg>
        <pc:spChg chg="add mod">
          <ac:chgData name="Paul LEGEARD" userId="73b5704d-da1d-4b70-8e12-6d54d32b01a3" providerId="ADAL" clId="{6A0B0392-5B89-4C63-A1D8-1EA797692AC0}" dt="2023-04-17T07:37:22.649" v="3304" actId="1076"/>
          <ac:spMkLst>
            <pc:docMk/>
            <pc:sldMk cId="2710555250" sldId="2147469820"/>
            <ac:spMk id="11" creationId="{C8CCCD3D-08C1-22AA-AEAE-A55B2167DE96}"/>
          </ac:spMkLst>
        </pc:spChg>
        <pc:spChg chg="add mod">
          <ac:chgData name="Paul LEGEARD" userId="73b5704d-da1d-4b70-8e12-6d54d32b01a3" providerId="ADAL" clId="{6A0B0392-5B89-4C63-A1D8-1EA797692AC0}" dt="2023-04-17T07:42:09.257" v="3585" actId="1035"/>
          <ac:spMkLst>
            <pc:docMk/>
            <pc:sldMk cId="2710555250" sldId="2147469820"/>
            <ac:spMk id="12" creationId="{36F59CF6-87B6-7A9E-A1D7-4097B95F435B}"/>
          </ac:spMkLst>
        </pc:spChg>
        <pc:spChg chg="add mod">
          <ac:chgData name="Paul LEGEARD" userId="73b5704d-da1d-4b70-8e12-6d54d32b01a3" providerId="ADAL" clId="{6A0B0392-5B89-4C63-A1D8-1EA797692AC0}" dt="2023-04-17T07:42:09.257" v="3585" actId="1035"/>
          <ac:spMkLst>
            <pc:docMk/>
            <pc:sldMk cId="2710555250" sldId="2147469820"/>
            <ac:spMk id="14" creationId="{275940F0-CB3C-E2F3-3B6C-FEE8706B5BF4}"/>
          </ac:spMkLst>
        </pc:spChg>
        <pc:spChg chg="add mod">
          <ac:chgData name="Paul LEGEARD" userId="73b5704d-da1d-4b70-8e12-6d54d32b01a3" providerId="ADAL" clId="{6A0B0392-5B89-4C63-A1D8-1EA797692AC0}" dt="2023-04-17T07:42:19.470" v="3602" actId="20577"/>
          <ac:spMkLst>
            <pc:docMk/>
            <pc:sldMk cId="2710555250" sldId="2147469820"/>
            <ac:spMk id="15" creationId="{F0FBA972-0F8F-A8DC-2ABE-98ADE10FD36A}"/>
          </ac:spMkLst>
        </pc:spChg>
        <pc:spChg chg="mod">
          <ac:chgData name="Paul LEGEARD" userId="73b5704d-da1d-4b70-8e12-6d54d32b01a3" providerId="ADAL" clId="{6A0B0392-5B89-4C63-A1D8-1EA797692AC0}" dt="2023-04-17T07:40:24.595" v="3391" actId="14100"/>
          <ac:spMkLst>
            <pc:docMk/>
            <pc:sldMk cId="2710555250" sldId="2147469820"/>
            <ac:spMk id="17" creationId="{386935BF-88AD-C6CF-7372-653A255C5A30}"/>
          </ac:spMkLst>
        </pc:spChg>
        <pc:spChg chg="add mod">
          <ac:chgData name="Paul LEGEARD" userId="73b5704d-da1d-4b70-8e12-6d54d32b01a3" providerId="ADAL" clId="{6A0B0392-5B89-4C63-A1D8-1EA797692AC0}" dt="2023-04-17T07:42:40.490" v="3609" actId="113"/>
          <ac:spMkLst>
            <pc:docMk/>
            <pc:sldMk cId="2710555250" sldId="2147469820"/>
            <ac:spMk id="18" creationId="{507085D9-6FF1-0471-E097-6D236D73A711}"/>
          </ac:spMkLst>
        </pc:spChg>
        <pc:spChg chg="mod">
          <ac:chgData name="Paul LEGEARD" userId="73b5704d-da1d-4b70-8e12-6d54d32b01a3" providerId="ADAL" clId="{6A0B0392-5B89-4C63-A1D8-1EA797692AC0}" dt="2023-04-17T07:35:37.465" v="3208" actId="20577"/>
          <ac:spMkLst>
            <pc:docMk/>
            <pc:sldMk cId="2710555250" sldId="2147469820"/>
            <ac:spMk id="24" creationId="{B568E92A-0FF2-F047-336A-1C83EEBA72CE}"/>
          </ac:spMkLst>
        </pc:spChg>
        <pc:spChg chg="mod">
          <ac:chgData name="Paul LEGEARD" userId="73b5704d-da1d-4b70-8e12-6d54d32b01a3" providerId="ADAL" clId="{6A0B0392-5B89-4C63-A1D8-1EA797692AC0}" dt="2023-04-17T07:35:50.930" v="3275" actId="5793"/>
          <ac:spMkLst>
            <pc:docMk/>
            <pc:sldMk cId="2710555250" sldId="2147469820"/>
            <ac:spMk id="25" creationId="{6A989655-7AD7-BD8D-4BD8-D2B87F5966C2}"/>
          </ac:spMkLst>
        </pc:spChg>
        <pc:spChg chg="mod">
          <ac:chgData name="Paul LEGEARD" userId="73b5704d-da1d-4b70-8e12-6d54d32b01a3" providerId="ADAL" clId="{6A0B0392-5B89-4C63-A1D8-1EA797692AC0}" dt="2023-04-17T07:40:22.118" v="3390" actId="1076"/>
          <ac:spMkLst>
            <pc:docMk/>
            <pc:sldMk cId="2710555250" sldId="2147469820"/>
            <ac:spMk id="26" creationId="{DC6A367D-2952-CE7E-5EAB-758F96BBB53B}"/>
          </ac:spMkLst>
        </pc:spChg>
        <pc:spChg chg="del">
          <ac:chgData name="Paul LEGEARD" userId="73b5704d-da1d-4b70-8e12-6d54d32b01a3" providerId="ADAL" clId="{6A0B0392-5B89-4C63-A1D8-1EA797692AC0}" dt="2023-04-17T07:39:16.637" v="3370" actId="478"/>
          <ac:spMkLst>
            <pc:docMk/>
            <pc:sldMk cId="2710555250" sldId="2147469820"/>
            <ac:spMk id="28" creationId="{36A6AA9A-3BC0-6756-AAE0-1F20BC5BE76F}"/>
          </ac:spMkLst>
        </pc:spChg>
        <pc:spChg chg="del">
          <ac:chgData name="Paul LEGEARD" userId="73b5704d-da1d-4b70-8e12-6d54d32b01a3" providerId="ADAL" clId="{6A0B0392-5B89-4C63-A1D8-1EA797692AC0}" dt="2023-04-17T07:39:16.637" v="3370" actId="478"/>
          <ac:spMkLst>
            <pc:docMk/>
            <pc:sldMk cId="2710555250" sldId="2147469820"/>
            <ac:spMk id="29" creationId="{1C761E0B-C74F-B973-FBFF-42C158F1509E}"/>
          </ac:spMkLst>
        </pc:spChg>
        <pc:spChg chg="del">
          <ac:chgData name="Paul LEGEARD" userId="73b5704d-da1d-4b70-8e12-6d54d32b01a3" providerId="ADAL" clId="{6A0B0392-5B89-4C63-A1D8-1EA797692AC0}" dt="2023-04-17T07:39:16.637" v="3370" actId="478"/>
          <ac:spMkLst>
            <pc:docMk/>
            <pc:sldMk cId="2710555250" sldId="2147469820"/>
            <ac:spMk id="30" creationId="{CC1CC4AB-18D6-C169-2DA7-11BA859FAB87}"/>
          </ac:spMkLst>
        </pc:spChg>
        <pc:spChg chg="del">
          <ac:chgData name="Paul LEGEARD" userId="73b5704d-da1d-4b70-8e12-6d54d32b01a3" providerId="ADAL" clId="{6A0B0392-5B89-4C63-A1D8-1EA797692AC0}" dt="2023-04-17T07:39:16.637" v="3370" actId="478"/>
          <ac:spMkLst>
            <pc:docMk/>
            <pc:sldMk cId="2710555250" sldId="2147469820"/>
            <ac:spMk id="31" creationId="{775E3FF2-4C84-34D5-7AA5-7F18E6593652}"/>
          </ac:spMkLst>
        </pc:spChg>
        <pc:spChg chg="del">
          <ac:chgData name="Paul LEGEARD" userId="73b5704d-da1d-4b70-8e12-6d54d32b01a3" providerId="ADAL" clId="{6A0B0392-5B89-4C63-A1D8-1EA797692AC0}" dt="2023-04-17T07:39:16.637" v="3370" actId="478"/>
          <ac:spMkLst>
            <pc:docMk/>
            <pc:sldMk cId="2710555250" sldId="2147469820"/>
            <ac:spMk id="32" creationId="{4CBAE490-4CFC-BA13-0DFB-154C5A30FF85}"/>
          </ac:spMkLst>
        </pc:spChg>
        <pc:spChg chg="del">
          <ac:chgData name="Paul LEGEARD" userId="73b5704d-da1d-4b70-8e12-6d54d32b01a3" providerId="ADAL" clId="{6A0B0392-5B89-4C63-A1D8-1EA797692AC0}" dt="2023-04-17T07:39:16.637" v="3370" actId="478"/>
          <ac:spMkLst>
            <pc:docMk/>
            <pc:sldMk cId="2710555250" sldId="2147469820"/>
            <ac:spMk id="33" creationId="{08D562F6-78EE-4D07-9A01-B43741288578}"/>
          </ac:spMkLst>
        </pc:spChg>
        <pc:spChg chg="del">
          <ac:chgData name="Paul LEGEARD" userId="73b5704d-da1d-4b70-8e12-6d54d32b01a3" providerId="ADAL" clId="{6A0B0392-5B89-4C63-A1D8-1EA797692AC0}" dt="2023-04-17T07:40:29.041" v="3392" actId="478"/>
          <ac:spMkLst>
            <pc:docMk/>
            <pc:sldMk cId="2710555250" sldId="2147469820"/>
            <ac:spMk id="60" creationId="{F51CD747-3FD3-F04C-EF88-7AC8FCAE56C8}"/>
          </ac:spMkLst>
        </pc:spChg>
        <pc:spChg chg="del mod">
          <ac:chgData name="Paul LEGEARD" userId="73b5704d-da1d-4b70-8e12-6d54d32b01a3" providerId="ADAL" clId="{6A0B0392-5B89-4C63-A1D8-1EA797692AC0}" dt="2023-04-17T07:40:29.041" v="3392" actId="478"/>
          <ac:spMkLst>
            <pc:docMk/>
            <pc:sldMk cId="2710555250" sldId="2147469820"/>
            <ac:spMk id="62" creationId="{B3BD5696-68E4-6805-9733-1DF4F2AB6F77}"/>
          </ac:spMkLst>
        </pc:spChg>
        <pc:spChg chg="del">
          <ac:chgData name="Paul LEGEARD" userId="73b5704d-da1d-4b70-8e12-6d54d32b01a3" providerId="ADAL" clId="{6A0B0392-5B89-4C63-A1D8-1EA797692AC0}" dt="2023-04-17T07:42:05.079" v="3575" actId="478"/>
          <ac:spMkLst>
            <pc:docMk/>
            <pc:sldMk cId="2710555250" sldId="2147469820"/>
            <ac:spMk id="2067" creationId="{4D42F7C4-9CAC-B78F-B06E-043D0CFB9943}"/>
          </ac:spMkLst>
        </pc:spChg>
        <pc:spChg chg="del">
          <ac:chgData name="Paul LEGEARD" userId="73b5704d-da1d-4b70-8e12-6d54d32b01a3" providerId="ADAL" clId="{6A0B0392-5B89-4C63-A1D8-1EA797692AC0}" dt="2023-04-17T07:42:05.079" v="3575" actId="478"/>
          <ac:spMkLst>
            <pc:docMk/>
            <pc:sldMk cId="2710555250" sldId="2147469820"/>
            <ac:spMk id="2068" creationId="{71035D78-47CB-6EA6-F8E7-4467A0C8B91E}"/>
          </ac:spMkLst>
        </pc:spChg>
        <pc:picChg chg="add mod">
          <ac:chgData name="Paul LEGEARD" userId="73b5704d-da1d-4b70-8e12-6d54d32b01a3" providerId="ADAL" clId="{6A0B0392-5B89-4C63-A1D8-1EA797692AC0}" dt="2023-04-17T07:36:47.525" v="3284" actId="1076"/>
          <ac:picMkLst>
            <pc:docMk/>
            <pc:sldMk cId="2710555250" sldId="2147469820"/>
            <ac:picMk id="6" creationId="{678964C7-7212-3481-BB6F-F9CD8521B996}"/>
          </ac:picMkLst>
        </pc:picChg>
        <pc:picChg chg="add mod">
          <ac:chgData name="Paul LEGEARD" userId="73b5704d-da1d-4b70-8e12-6d54d32b01a3" providerId="ADAL" clId="{6A0B0392-5B89-4C63-A1D8-1EA797692AC0}" dt="2023-04-17T07:36:50.783" v="3285" actId="1076"/>
          <ac:picMkLst>
            <pc:docMk/>
            <pc:sldMk cId="2710555250" sldId="2147469820"/>
            <ac:picMk id="7" creationId="{4B1A9504-27DF-7FB8-CAFA-3C5A57BE8259}"/>
          </ac:picMkLst>
        </pc:picChg>
        <pc:picChg chg="add del mod">
          <ac:chgData name="Paul LEGEARD" userId="73b5704d-da1d-4b70-8e12-6d54d32b01a3" providerId="ADAL" clId="{6A0B0392-5B89-4C63-A1D8-1EA797692AC0}" dt="2023-04-17T07:42:46.879" v="3610" actId="478"/>
          <ac:picMkLst>
            <pc:docMk/>
            <pc:sldMk cId="2710555250" sldId="2147469820"/>
            <ac:picMk id="13" creationId="{E45A5DAB-AB4D-AF45-67DB-C231CE63F119}"/>
          </ac:picMkLst>
        </pc:picChg>
        <pc:picChg chg="add del mod">
          <ac:chgData name="Paul LEGEARD" userId="73b5704d-da1d-4b70-8e12-6d54d32b01a3" providerId="ADAL" clId="{6A0B0392-5B89-4C63-A1D8-1EA797692AC0}" dt="2023-04-17T07:42:47.414" v="3611" actId="478"/>
          <ac:picMkLst>
            <pc:docMk/>
            <pc:sldMk cId="2710555250" sldId="2147469820"/>
            <ac:picMk id="16" creationId="{E450F848-8F33-16C2-B3FA-01AFEA6AD654}"/>
          </ac:picMkLst>
        </pc:picChg>
        <pc:picChg chg="mod">
          <ac:chgData name="Paul LEGEARD" userId="73b5704d-da1d-4b70-8e12-6d54d32b01a3" providerId="ADAL" clId="{6A0B0392-5B89-4C63-A1D8-1EA797692AC0}" dt="2023-04-17T07:39:10.406" v="3369" actId="1076"/>
          <ac:picMkLst>
            <pc:docMk/>
            <pc:sldMk cId="2710555250" sldId="2147469820"/>
            <ac:picMk id="2050" creationId="{44CC4011-08B5-D75D-C18A-758FABCEA55D}"/>
          </ac:picMkLst>
        </pc:picChg>
        <pc:picChg chg="del mod">
          <ac:chgData name="Paul LEGEARD" userId="73b5704d-da1d-4b70-8e12-6d54d32b01a3" providerId="ADAL" clId="{6A0B0392-5B89-4C63-A1D8-1EA797692AC0}" dt="2023-04-17T07:40:29.041" v="3392" actId="478"/>
          <ac:picMkLst>
            <pc:docMk/>
            <pc:sldMk cId="2710555250" sldId="2147469820"/>
            <ac:picMk id="2054" creationId="{104BD0A5-1138-F2A3-A7FB-5235FB1EB5C6}"/>
          </ac:picMkLst>
        </pc:picChg>
        <pc:picChg chg="del mod">
          <ac:chgData name="Paul LEGEARD" userId="73b5704d-da1d-4b70-8e12-6d54d32b01a3" providerId="ADAL" clId="{6A0B0392-5B89-4C63-A1D8-1EA797692AC0}" dt="2023-04-17T07:42:05.079" v="3575" actId="478"/>
          <ac:picMkLst>
            <pc:docMk/>
            <pc:sldMk cId="2710555250" sldId="2147469820"/>
            <ac:picMk id="2056" creationId="{3E00DC47-5F48-3CE4-495E-61F10076CDF7}"/>
          </ac:picMkLst>
        </pc:picChg>
        <pc:picChg chg="del">
          <ac:chgData name="Paul LEGEARD" userId="73b5704d-da1d-4b70-8e12-6d54d32b01a3" providerId="ADAL" clId="{6A0B0392-5B89-4C63-A1D8-1EA797692AC0}" dt="2023-04-17T07:42:05.079" v="3575" actId="478"/>
          <ac:picMkLst>
            <pc:docMk/>
            <pc:sldMk cId="2710555250" sldId="2147469820"/>
            <ac:picMk id="2070" creationId="{5716886D-931D-F873-0B58-CE7130BD21E7}"/>
          </ac:picMkLst>
        </pc:picChg>
        <pc:picChg chg="del">
          <ac:chgData name="Paul LEGEARD" userId="73b5704d-da1d-4b70-8e12-6d54d32b01a3" providerId="ADAL" clId="{6A0B0392-5B89-4C63-A1D8-1EA797692AC0}" dt="2023-04-17T07:42:05.079" v="3575" actId="478"/>
          <ac:picMkLst>
            <pc:docMk/>
            <pc:sldMk cId="2710555250" sldId="2147469820"/>
            <ac:picMk id="2072" creationId="{2E68F450-CE9E-B4F3-A62B-757390FC803F}"/>
          </ac:picMkLst>
        </pc:picChg>
        <pc:picChg chg="del">
          <ac:chgData name="Paul LEGEARD" userId="73b5704d-da1d-4b70-8e12-6d54d32b01a3" providerId="ADAL" clId="{6A0B0392-5B89-4C63-A1D8-1EA797692AC0}" dt="2023-04-17T07:42:05.079" v="3575" actId="478"/>
          <ac:picMkLst>
            <pc:docMk/>
            <pc:sldMk cId="2710555250" sldId="2147469820"/>
            <ac:picMk id="2073" creationId="{013177D7-AF33-7540-287B-F1139A22F605}"/>
          </ac:picMkLst>
        </pc:picChg>
        <pc:picChg chg="add mod">
          <ac:chgData name="Paul LEGEARD" userId="73b5704d-da1d-4b70-8e12-6d54d32b01a3" providerId="ADAL" clId="{6A0B0392-5B89-4C63-A1D8-1EA797692AC0}" dt="2023-04-17T07:43:02.334" v="3617" actId="1035"/>
          <ac:picMkLst>
            <pc:docMk/>
            <pc:sldMk cId="2710555250" sldId="2147469820"/>
            <ac:picMk id="3074" creationId="{92DA7AD1-081E-8DAA-EA24-ED8123C60B5C}"/>
          </ac:picMkLst>
        </pc:picChg>
        <pc:picChg chg="add mod">
          <ac:chgData name="Paul LEGEARD" userId="73b5704d-da1d-4b70-8e12-6d54d32b01a3" providerId="ADAL" clId="{6A0B0392-5B89-4C63-A1D8-1EA797692AC0}" dt="2023-04-17T07:43:13.886" v="3620" actId="1076"/>
          <ac:picMkLst>
            <pc:docMk/>
            <pc:sldMk cId="2710555250" sldId="2147469820"/>
            <ac:picMk id="3076" creationId="{037E6050-EA16-70E3-1960-8487EFB2C794}"/>
          </ac:picMkLst>
        </pc:picChg>
        <pc:cxnChg chg="mod">
          <ac:chgData name="Paul LEGEARD" userId="73b5704d-da1d-4b70-8e12-6d54d32b01a3" providerId="ADAL" clId="{6A0B0392-5B89-4C63-A1D8-1EA797692AC0}" dt="2023-04-17T07:36:24.185" v="3279" actId="14100"/>
          <ac:cxnSpMkLst>
            <pc:docMk/>
            <pc:sldMk cId="2710555250" sldId="2147469820"/>
            <ac:cxnSpMk id="2" creationId="{682A375D-3837-33EC-2C86-747F0DA72271}"/>
          </ac:cxnSpMkLst>
        </pc:cxnChg>
        <pc:cxnChg chg="add mod">
          <ac:chgData name="Paul LEGEARD" userId="73b5704d-da1d-4b70-8e12-6d54d32b01a3" providerId="ADAL" clId="{6A0B0392-5B89-4C63-A1D8-1EA797692AC0}" dt="2023-04-17T07:37:12.180" v="3291" actId="1038"/>
          <ac:cxnSpMkLst>
            <pc:docMk/>
            <pc:sldMk cId="2710555250" sldId="2147469820"/>
            <ac:cxnSpMk id="10" creationId="{8854D8F4-80DE-BEAC-F254-7B789FBEB046}"/>
          </ac:cxnSpMkLst>
        </pc:cxnChg>
        <pc:cxnChg chg="del mod">
          <ac:chgData name="Paul LEGEARD" userId="73b5704d-da1d-4b70-8e12-6d54d32b01a3" providerId="ADAL" clId="{6A0B0392-5B89-4C63-A1D8-1EA797692AC0}" dt="2023-04-17T07:39:16.637" v="3370" actId="478"/>
          <ac:cxnSpMkLst>
            <pc:docMk/>
            <pc:sldMk cId="2710555250" sldId="2147469820"/>
            <ac:cxnSpMk id="37" creationId="{66295BA9-65B8-71F3-145B-54F01D0412DB}"/>
          </ac:cxnSpMkLst>
        </pc:cxnChg>
        <pc:cxnChg chg="del mod">
          <ac:chgData name="Paul LEGEARD" userId="73b5704d-da1d-4b70-8e12-6d54d32b01a3" providerId="ADAL" clId="{6A0B0392-5B89-4C63-A1D8-1EA797692AC0}" dt="2023-04-17T07:39:16.637" v="3370" actId="478"/>
          <ac:cxnSpMkLst>
            <pc:docMk/>
            <pc:sldMk cId="2710555250" sldId="2147469820"/>
            <ac:cxnSpMk id="38" creationId="{55A01AF2-A68B-1A15-DF74-E9E53F2FDE18}"/>
          </ac:cxnSpMkLst>
        </pc:cxnChg>
        <pc:cxnChg chg="del mod">
          <ac:chgData name="Paul LEGEARD" userId="73b5704d-da1d-4b70-8e12-6d54d32b01a3" providerId="ADAL" clId="{6A0B0392-5B89-4C63-A1D8-1EA797692AC0}" dt="2023-04-17T07:39:16.637" v="3370" actId="478"/>
          <ac:cxnSpMkLst>
            <pc:docMk/>
            <pc:sldMk cId="2710555250" sldId="2147469820"/>
            <ac:cxnSpMk id="41" creationId="{D1FD5FB5-5704-51B4-23EF-7E7BFB100034}"/>
          </ac:cxnSpMkLst>
        </pc:cxnChg>
        <pc:cxnChg chg="del mod">
          <ac:chgData name="Paul LEGEARD" userId="73b5704d-da1d-4b70-8e12-6d54d32b01a3" providerId="ADAL" clId="{6A0B0392-5B89-4C63-A1D8-1EA797692AC0}" dt="2023-04-17T07:39:16.637" v="3370" actId="478"/>
          <ac:cxnSpMkLst>
            <pc:docMk/>
            <pc:sldMk cId="2710555250" sldId="2147469820"/>
            <ac:cxnSpMk id="44" creationId="{70EDF91E-8FDE-479A-4659-DE1C4B1010A8}"/>
          </ac:cxnSpMkLst>
        </pc:cxnChg>
        <pc:cxnChg chg="del mod">
          <ac:chgData name="Paul LEGEARD" userId="73b5704d-da1d-4b70-8e12-6d54d32b01a3" providerId="ADAL" clId="{6A0B0392-5B89-4C63-A1D8-1EA797692AC0}" dt="2023-04-17T07:39:16.637" v="3370" actId="478"/>
          <ac:cxnSpMkLst>
            <pc:docMk/>
            <pc:sldMk cId="2710555250" sldId="2147469820"/>
            <ac:cxnSpMk id="48" creationId="{121ECE00-CF9E-36EB-99CC-28ECEE4A1B49}"/>
          </ac:cxnSpMkLst>
        </pc:cxnChg>
        <pc:cxnChg chg="del mod">
          <ac:chgData name="Paul LEGEARD" userId="73b5704d-da1d-4b70-8e12-6d54d32b01a3" providerId="ADAL" clId="{6A0B0392-5B89-4C63-A1D8-1EA797692AC0}" dt="2023-04-17T07:39:16.637" v="3370" actId="478"/>
          <ac:cxnSpMkLst>
            <pc:docMk/>
            <pc:sldMk cId="2710555250" sldId="2147469820"/>
            <ac:cxnSpMk id="51" creationId="{C5D3493E-651B-6AE8-8976-EE75D3C941FF}"/>
          </ac:cxnSpMkLst>
        </pc:cxnChg>
        <pc:cxnChg chg="del mod">
          <ac:chgData name="Paul LEGEARD" userId="73b5704d-da1d-4b70-8e12-6d54d32b01a3" providerId="ADAL" clId="{6A0B0392-5B89-4C63-A1D8-1EA797692AC0}" dt="2023-04-17T07:39:16.637" v="3370" actId="478"/>
          <ac:cxnSpMkLst>
            <pc:docMk/>
            <pc:sldMk cId="2710555250" sldId="2147469820"/>
            <ac:cxnSpMk id="54" creationId="{5F2C450C-FB23-1721-BF82-6A39395788A8}"/>
          </ac:cxnSpMkLst>
        </pc:cxnChg>
        <pc:cxnChg chg="del mod">
          <ac:chgData name="Paul LEGEARD" userId="73b5704d-da1d-4b70-8e12-6d54d32b01a3" providerId="ADAL" clId="{6A0B0392-5B89-4C63-A1D8-1EA797692AC0}" dt="2023-04-17T07:39:16.637" v="3370" actId="478"/>
          <ac:cxnSpMkLst>
            <pc:docMk/>
            <pc:sldMk cId="2710555250" sldId="2147469820"/>
            <ac:cxnSpMk id="57" creationId="{5B031EDA-7E4A-61ED-5AB7-BBA3A9EF9976}"/>
          </ac:cxnSpMkLst>
        </pc:cxnChg>
      </pc:sldChg>
      <pc:sldChg chg="modSp add mod">
        <pc:chgData name="Paul LEGEARD" userId="73b5704d-da1d-4b70-8e12-6d54d32b01a3" providerId="ADAL" clId="{6A0B0392-5B89-4C63-A1D8-1EA797692AC0}" dt="2023-04-17T13:49:30.368" v="7096" actId="114"/>
        <pc:sldMkLst>
          <pc:docMk/>
          <pc:sldMk cId="2732896695" sldId="2147469820"/>
        </pc:sldMkLst>
        <pc:spChg chg="mod">
          <ac:chgData name="Paul LEGEARD" userId="73b5704d-da1d-4b70-8e12-6d54d32b01a3" providerId="ADAL" clId="{6A0B0392-5B89-4C63-A1D8-1EA797692AC0}" dt="2023-04-17T13:49:30.368" v="7096" actId="114"/>
          <ac:spMkLst>
            <pc:docMk/>
            <pc:sldMk cId="2732896695" sldId="2147469820"/>
            <ac:spMk id="14" creationId="{275940F0-CB3C-E2F3-3B6C-FEE8706B5BF4}"/>
          </ac:spMkLst>
        </pc:spChg>
        <pc:spChg chg="mod">
          <ac:chgData name="Paul LEGEARD" userId="73b5704d-da1d-4b70-8e12-6d54d32b01a3" providerId="ADAL" clId="{6A0B0392-5B89-4C63-A1D8-1EA797692AC0}" dt="2023-04-17T13:48:57.426" v="7078" actId="6549"/>
          <ac:spMkLst>
            <pc:docMk/>
            <pc:sldMk cId="2732896695" sldId="2147469820"/>
            <ac:spMk id="25" creationId="{6A989655-7AD7-BD8D-4BD8-D2B87F5966C2}"/>
          </ac:spMkLst>
        </pc:spChg>
        <pc:spChg chg="mod">
          <ac:chgData name="Paul LEGEARD" userId="73b5704d-da1d-4b70-8e12-6d54d32b01a3" providerId="ADAL" clId="{6A0B0392-5B89-4C63-A1D8-1EA797692AC0}" dt="2023-04-17T13:49:09.492" v="7080" actId="20577"/>
          <ac:spMkLst>
            <pc:docMk/>
            <pc:sldMk cId="2732896695" sldId="2147469820"/>
            <ac:spMk id="26" creationId="{DC6A367D-2952-CE7E-5EAB-758F96BBB53B}"/>
          </ac:spMkLst>
        </pc:spChg>
      </pc:sldChg>
      <pc:sldChg chg="add del">
        <pc:chgData name="Paul LEGEARD" userId="73b5704d-da1d-4b70-8e12-6d54d32b01a3" providerId="ADAL" clId="{6A0B0392-5B89-4C63-A1D8-1EA797692AC0}" dt="2023-04-17T07:26:00.960" v="2416"/>
        <pc:sldMkLst>
          <pc:docMk/>
          <pc:sldMk cId="4061451941" sldId="2147469820"/>
        </pc:sldMkLst>
      </pc:sldChg>
      <pc:sldChg chg="addSp delSp modSp add del mod">
        <pc:chgData name="Paul LEGEARD" userId="73b5704d-da1d-4b70-8e12-6d54d32b01a3" providerId="ADAL" clId="{6A0B0392-5B89-4C63-A1D8-1EA797692AC0}" dt="2023-04-17T13:39:32.673" v="6651" actId="2696"/>
        <pc:sldMkLst>
          <pc:docMk/>
          <pc:sldMk cId="1426010394" sldId="2147469821"/>
        </pc:sldMkLst>
        <pc:spChg chg="mod">
          <ac:chgData name="Paul LEGEARD" userId="73b5704d-da1d-4b70-8e12-6d54d32b01a3" providerId="ADAL" clId="{6A0B0392-5B89-4C63-A1D8-1EA797692AC0}" dt="2023-04-17T07:47:20.467" v="3794" actId="20577"/>
          <ac:spMkLst>
            <pc:docMk/>
            <pc:sldMk cId="1426010394" sldId="2147469821"/>
            <ac:spMk id="4" creationId="{52AFB3F8-88A7-4D69-8A52-45D00774625C}"/>
          </ac:spMkLst>
        </pc:spChg>
        <pc:spChg chg="add mod ord">
          <ac:chgData name="Paul LEGEARD" userId="73b5704d-da1d-4b70-8e12-6d54d32b01a3" providerId="ADAL" clId="{6A0B0392-5B89-4C63-A1D8-1EA797692AC0}" dt="2023-04-17T07:47:45.007" v="3805" actId="1076"/>
          <ac:spMkLst>
            <pc:docMk/>
            <pc:sldMk cId="1426010394" sldId="2147469821"/>
            <ac:spMk id="5" creationId="{91645329-3822-F2B2-D000-B91BF23FB0BC}"/>
          </ac:spMkLst>
        </pc:spChg>
        <pc:spChg chg="del">
          <ac:chgData name="Paul LEGEARD" userId="73b5704d-da1d-4b70-8e12-6d54d32b01a3" providerId="ADAL" clId="{6A0B0392-5B89-4C63-A1D8-1EA797692AC0}" dt="2023-04-17T07:44:03.107" v="3749" actId="478"/>
          <ac:spMkLst>
            <pc:docMk/>
            <pc:sldMk cId="1426010394" sldId="2147469821"/>
            <ac:spMk id="11" creationId="{C8CCCD3D-08C1-22AA-AEAE-A55B2167DE96}"/>
          </ac:spMkLst>
        </pc:spChg>
        <pc:spChg chg="del">
          <ac:chgData name="Paul LEGEARD" userId="73b5704d-da1d-4b70-8e12-6d54d32b01a3" providerId="ADAL" clId="{6A0B0392-5B89-4C63-A1D8-1EA797692AC0}" dt="2023-04-17T07:44:03.107" v="3749" actId="478"/>
          <ac:spMkLst>
            <pc:docMk/>
            <pc:sldMk cId="1426010394" sldId="2147469821"/>
            <ac:spMk id="12" creationId="{36F59CF6-87B6-7A9E-A1D7-4097B95F435B}"/>
          </ac:spMkLst>
        </pc:spChg>
        <pc:spChg chg="del">
          <ac:chgData name="Paul LEGEARD" userId="73b5704d-da1d-4b70-8e12-6d54d32b01a3" providerId="ADAL" clId="{6A0B0392-5B89-4C63-A1D8-1EA797692AC0}" dt="2023-04-17T07:44:03.107" v="3749" actId="478"/>
          <ac:spMkLst>
            <pc:docMk/>
            <pc:sldMk cId="1426010394" sldId="2147469821"/>
            <ac:spMk id="14" creationId="{275940F0-CB3C-E2F3-3B6C-FEE8706B5BF4}"/>
          </ac:spMkLst>
        </pc:spChg>
        <pc:spChg chg="del">
          <ac:chgData name="Paul LEGEARD" userId="73b5704d-da1d-4b70-8e12-6d54d32b01a3" providerId="ADAL" clId="{6A0B0392-5B89-4C63-A1D8-1EA797692AC0}" dt="2023-04-17T07:44:03.107" v="3749" actId="478"/>
          <ac:spMkLst>
            <pc:docMk/>
            <pc:sldMk cId="1426010394" sldId="2147469821"/>
            <ac:spMk id="15" creationId="{F0FBA972-0F8F-A8DC-2ABE-98ADE10FD36A}"/>
          </ac:spMkLst>
        </pc:spChg>
        <pc:spChg chg="del">
          <ac:chgData name="Paul LEGEARD" userId="73b5704d-da1d-4b70-8e12-6d54d32b01a3" providerId="ADAL" clId="{6A0B0392-5B89-4C63-A1D8-1EA797692AC0}" dt="2023-04-17T07:44:03.107" v="3749" actId="478"/>
          <ac:spMkLst>
            <pc:docMk/>
            <pc:sldMk cId="1426010394" sldId="2147469821"/>
            <ac:spMk id="17" creationId="{386935BF-88AD-C6CF-7372-653A255C5A30}"/>
          </ac:spMkLst>
        </pc:spChg>
        <pc:spChg chg="del">
          <ac:chgData name="Paul LEGEARD" userId="73b5704d-da1d-4b70-8e12-6d54d32b01a3" providerId="ADAL" clId="{6A0B0392-5B89-4C63-A1D8-1EA797692AC0}" dt="2023-04-17T07:44:03.107" v="3749" actId="478"/>
          <ac:spMkLst>
            <pc:docMk/>
            <pc:sldMk cId="1426010394" sldId="2147469821"/>
            <ac:spMk id="18" creationId="{507085D9-6FF1-0471-E097-6D236D73A711}"/>
          </ac:spMkLst>
        </pc:spChg>
        <pc:spChg chg="del">
          <ac:chgData name="Paul LEGEARD" userId="73b5704d-da1d-4b70-8e12-6d54d32b01a3" providerId="ADAL" clId="{6A0B0392-5B89-4C63-A1D8-1EA797692AC0}" dt="2023-04-17T07:44:03.107" v="3749" actId="478"/>
          <ac:spMkLst>
            <pc:docMk/>
            <pc:sldMk cId="1426010394" sldId="2147469821"/>
            <ac:spMk id="24" creationId="{B568E92A-0FF2-F047-336A-1C83EEBA72CE}"/>
          </ac:spMkLst>
        </pc:spChg>
        <pc:spChg chg="del">
          <ac:chgData name="Paul LEGEARD" userId="73b5704d-da1d-4b70-8e12-6d54d32b01a3" providerId="ADAL" clId="{6A0B0392-5B89-4C63-A1D8-1EA797692AC0}" dt="2023-04-17T07:44:03.107" v="3749" actId="478"/>
          <ac:spMkLst>
            <pc:docMk/>
            <pc:sldMk cId="1426010394" sldId="2147469821"/>
            <ac:spMk id="25" creationId="{6A989655-7AD7-BD8D-4BD8-D2B87F5966C2}"/>
          </ac:spMkLst>
        </pc:spChg>
        <pc:spChg chg="del">
          <ac:chgData name="Paul LEGEARD" userId="73b5704d-da1d-4b70-8e12-6d54d32b01a3" providerId="ADAL" clId="{6A0B0392-5B89-4C63-A1D8-1EA797692AC0}" dt="2023-04-17T07:44:03.107" v="3749" actId="478"/>
          <ac:spMkLst>
            <pc:docMk/>
            <pc:sldMk cId="1426010394" sldId="2147469821"/>
            <ac:spMk id="26" creationId="{DC6A367D-2952-CE7E-5EAB-758F96BBB53B}"/>
          </ac:spMkLst>
        </pc:spChg>
        <pc:picChg chg="add mod">
          <ac:chgData name="Paul LEGEARD" userId="73b5704d-da1d-4b70-8e12-6d54d32b01a3" providerId="ADAL" clId="{6A0B0392-5B89-4C63-A1D8-1EA797692AC0}" dt="2023-04-17T07:47:26.695" v="3798" actId="1076"/>
          <ac:picMkLst>
            <pc:docMk/>
            <pc:sldMk cId="1426010394" sldId="2147469821"/>
            <ac:picMk id="3" creationId="{2917FA10-7BC9-E87E-8BE9-B0962988CD7E}"/>
          </ac:picMkLst>
        </pc:picChg>
        <pc:picChg chg="del">
          <ac:chgData name="Paul LEGEARD" userId="73b5704d-da1d-4b70-8e12-6d54d32b01a3" providerId="ADAL" clId="{6A0B0392-5B89-4C63-A1D8-1EA797692AC0}" dt="2023-04-17T07:44:03.107" v="3749" actId="478"/>
          <ac:picMkLst>
            <pc:docMk/>
            <pc:sldMk cId="1426010394" sldId="2147469821"/>
            <ac:picMk id="6" creationId="{678964C7-7212-3481-BB6F-F9CD8521B996}"/>
          </ac:picMkLst>
        </pc:picChg>
        <pc:picChg chg="del">
          <ac:chgData name="Paul LEGEARD" userId="73b5704d-da1d-4b70-8e12-6d54d32b01a3" providerId="ADAL" clId="{6A0B0392-5B89-4C63-A1D8-1EA797692AC0}" dt="2023-04-17T07:44:03.107" v="3749" actId="478"/>
          <ac:picMkLst>
            <pc:docMk/>
            <pc:sldMk cId="1426010394" sldId="2147469821"/>
            <ac:picMk id="7" creationId="{4B1A9504-27DF-7FB8-CAFA-3C5A57BE8259}"/>
          </ac:picMkLst>
        </pc:picChg>
        <pc:picChg chg="add mod">
          <ac:chgData name="Paul LEGEARD" userId="73b5704d-da1d-4b70-8e12-6d54d32b01a3" providerId="ADAL" clId="{6A0B0392-5B89-4C63-A1D8-1EA797692AC0}" dt="2023-04-17T07:47:34.703" v="3803" actId="1076"/>
          <ac:picMkLst>
            <pc:docMk/>
            <pc:sldMk cId="1426010394" sldId="2147469821"/>
            <ac:picMk id="13" creationId="{61FC3C3B-D86B-3200-C915-FB64C8FFFDE3}"/>
          </ac:picMkLst>
        </pc:picChg>
        <pc:picChg chg="add mod">
          <ac:chgData name="Paul LEGEARD" userId="73b5704d-da1d-4b70-8e12-6d54d32b01a3" providerId="ADAL" clId="{6A0B0392-5B89-4C63-A1D8-1EA797692AC0}" dt="2023-04-17T07:47:33.317" v="3802" actId="1076"/>
          <ac:picMkLst>
            <pc:docMk/>
            <pc:sldMk cId="1426010394" sldId="2147469821"/>
            <ac:picMk id="19" creationId="{216DB936-C55B-A492-0F24-09D5E95A3088}"/>
          </ac:picMkLst>
        </pc:picChg>
        <pc:picChg chg="del">
          <ac:chgData name="Paul LEGEARD" userId="73b5704d-da1d-4b70-8e12-6d54d32b01a3" providerId="ADAL" clId="{6A0B0392-5B89-4C63-A1D8-1EA797692AC0}" dt="2023-04-17T07:44:03.107" v="3749" actId="478"/>
          <ac:picMkLst>
            <pc:docMk/>
            <pc:sldMk cId="1426010394" sldId="2147469821"/>
            <ac:picMk id="2050" creationId="{44CC4011-08B5-D75D-C18A-758FABCEA55D}"/>
          </ac:picMkLst>
        </pc:picChg>
        <pc:picChg chg="del">
          <ac:chgData name="Paul LEGEARD" userId="73b5704d-da1d-4b70-8e12-6d54d32b01a3" providerId="ADAL" clId="{6A0B0392-5B89-4C63-A1D8-1EA797692AC0}" dt="2023-04-17T07:44:03.107" v="3749" actId="478"/>
          <ac:picMkLst>
            <pc:docMk/>
            <pc:sldMk cId="1426010394" sldId="2147469821"/>
            <ac:picMk id="3074" creationId="{92DA7AD1-081E-8DAA-EA24-ED8123C60B5C}"/>
          </ac:picMkLst>
        </pc:picChg>
        <pc:picChg chg="del">
          <ac:chgData name="Paul LEGEARD" userId="73b5704d-da1d-4b70-8e12-6d54d32b01a3" providerId="ADAL" clId="{6A0B0392-5B89-4C63-A1D8-1EA797692AC0}" dt="2023-04-17T07:44:03.107" v="3749" actId="478"/>
          <ac:picMkLst>
            <pc:docMk/>
            <pc:sldMk cId="1426010394" sldId="2147469821"/>
            <ac:picMk id="3076" creationId="{037E6050-EA16-70E3-1960-8487EFB2C794}"/>
          </ac:picMkLst>
        </pc:picChg>
        <pc:cxnChg chg="del">
          <ac:chgData name="Paul LEGEARD" userId="73b5704d-da1d-4b70-8e12-6d54d32b01a3" providerId="ADAL" clId="{6A0B0392-5B89-4C63-A1D8-1EA797692AC0}" dt="2023-04-17T07:44:03.107" v="3749" actId="478"/>
          <ac:cxnSpMkLst>
            <pc:docMk/>
            <pc:sldMk cId="1426010394" sldId="2147469821"/>
            <ac:cxnSpMk id="2" creationId="{682A375D-3837-33EC-2C86-747F0DA72271}"/>
          </ac:cxnSpMkLst>
        </pc:cxnChg>
        <pc:cxnChg chg="del">
          <ac:chgData name="Paul LEGEARD" userId="73b5704d-da1d-4b70-8e12-6d54d32b01a3" providerId="ADAL" clId="{6A0B0392-5B89-4C63-A1D8-1EA797692AC0}" dt="2023-04-17T07:44:03.107" v="3749" actId="478"/>
          <ac:cxnSpMkLst>
            <pc:docMk/>
            <pc:sldMk cId="1426010394" sldId="2147469821"/>
            <ac:cxnSpMk id="10" creationId="{8854D8F4-80DE-BEAC-F254-7B789FBEB046}"/>
          </ac:cxnSpMkLst>
        </pc:cxnChg>
      </pc:sldChg>
      <pc:sldChg chg="addSp delSp modSp add mod">
        <pc:chgData name="Paul LEGEARD" userId="73b5704d-da1d-4b70-8e12-6d54d32b01a3" providerId="ADAL" clId="{6A0B0392-5B89-4C63-A1D8-1EA797692AC0}" dt="2023-04-17T13:52:19.673" v="7276" actId="166"/>
        <pc:sldMkLst>
          <pc:docMk/>
          <pc:sldMk cId="2214010875" sldId="2147469821"/>
        </pc:sldMkLst>
        <pc:spChg chg="add mod">
          <ac:chgData name="Paul LEGEARD" userId="73b5704d-da1d-4b70-8e12-6d54d32b01a3" providerId="ADAL" clId="{6A0B0392-5B89-4C63-A1D8-1EA797692AC0}" dt="2023-04-17T13:50:57.531" v="7171" actId="20577"/>
          <ac:spMkLst>
            <pc:docMk/>
            <pc:sldMk cId="2214010875" sldId="2147469821"/>
            <ac:spMk id="2" creationId="{476DBF04-A1D6-B4EB-38D7-C87B666A73E3}"/>
          </ac:spMkLst>
        </pc:spChg>
        <pc:spChg chg="del">
          <ac:chgData name="Paul LEGEARD" userId="73b5704d-da1d-4b70-8e12-6d54d32b01a3" providerId="ADAL" clId="{6A0B0392-5B89-4C63-A1D8-1EA797692AC0}" dt="2023-04-17T13:52:03.018" v="7271" actId="478"/>
          <ac:spMkLst>
            <pc:docMk/>
            <pc:sldMk cId="2214010875" sldId="2147469821"/>
            <ac:spMk id="5" creationId="{91645329-3822-F2B2-D000-B91BF23FB0BC}"/>
          </ac:spMkLst>
        </pc:spChg>
        <pc:spChg chg="add mod ord">
          <ac:chgData name="Paul LEGEARD" userId="73b5704d-da1d-4b70-8e12-6d54d32b01a3" providerId="ADAL" clId="{6A0B0392-5B89-4C63-A1D8-1EA797692AC0}" dt="2023-04-17T13:52:19.673" v="7276" actId="166"/>
          <ac:spMkLst>
            <pc:docMk/>
            <pc:sldMk cId="2214010875" sldId="2147469821"/>
            <ac:spMk id="6" creationId="{9B9F62AA-4322-0782-A247-9916050CFFF7}"/>
          </ac:spMkLst>
        </pc:spChg>
        <pc:spChg chg="add mod">
          <ac:chgData name="Paul LEGEARD" userId="73b5704d-da1d-4b70-8e12-6d54d32b01a3" providerId="ADAL" clId="{6A0B0392-5B89-4C63-A1D8-1EA797692AC0}" dt="2023-04-17T13:52:01.174" v="7270" actId="1076"/>
          <ac:spMkLst>
            <pc:docMk/>
            <pc:sldMk cId="2214010875" sldId="2147469821"/>
            <ac:spMk id="7" creationId="{C6D509DD-764C-44D3-ACB5-7C117960B46B}"/>
          </ac:spMkLst>
        </pc:spChg>
        <pc:spChg chg="add mod">
          <ac:chgData name="Paul LEGEARD" userId="73b5704d-da1d-4b70-8e12-6d54d32b01a3" providerId="ADAL" clId="{6A0B0392-5B89-4C63-A1D8-1EA797692AC0}" dt="2023-04-17T13:51:50.323" v="7267" actId="207"/>
          <ac:spMkLst>
            <pc:docMk/>
            <pc:sldMk cId="2214010875" sldId="2147469821"/>
            <ac:spMk id="9" creationId="{414CD880-89CD-EC13-BE04-75A0EB0F3452}"/>
          </ac:spMkLst>
        </pc:spChg>
        <pc:spChg chg="add mod">
          <ac:chgData name="Paul LEGEARD" userId="73b5704d-da1d-4b70-8e12-6d54d32b01a3" providerId="ADAL" clId="{6A0B0392-5B89-4C63-A1D8-1EA797692AC0}" dt="2023-04-17T13:52:13.545" v="7274" actId="14100"/>
          <ac:spMkLst>
            <pc:docMk/>
            <pc:sldMk cId="2214010875" sldId="2147469821"/>
            <ac:spMk id="10" creationId="{4709671A-0C4E-DD74-97C2-9FD1C5B2EFD0}"/>
          </ac:spMkLst>
        </pc:spChg>
        <pc:picChg chg="mod">
          <ac:chgData name="Paul LEGEARD" userId="73b5704d-da1d-4b70-8e12-6d54d32b01a3" providerId="ADAL" clId="{6A0B0392-5B89-4C63-A1D8-1EA797692AC0}" dt="2023-04-17T13:51:58.219" v="7269" actId="1076"/>
          <ac:picMkLst>
            <pc:docMk/>
            <pc:sldMk cId="2214010875" sldId="2147469821"/>
            <ac:picMk id="13" creationId="{61FC3C3B-D86B-3200-C915-FB64C8FFFDE3}"/>
          </ac:picMkLst>
        </pc:picChg>
        <pc:picChg chg="mod">
          <ac:chgData name="Paul LEGEARD" userId="73b5704d-da1d-4b70-8e12-6d54d32b01a3" providerId="ADAL" clId="{6A0B0392-5B89-4C63-A1D8-1EA797692AC0}" dt="2023-04-17T13:50:19.325" v="7102" actId="1076"/>
          <ac:picMkLst>
            <pc:docMk/>
            <pc:sldMk cId="2214010875" sldId="2147469821"/>
            <ac:picMk id="19" creationId="{216DB936-C55B-A492-0F24-09D5E95A3088}"/>
          </ac:picMkLst>
        </pc:picChg>
      </pc:sldChg>
      <pc:sldChg chg="modSp add mod">
        <pc:chgData name="Paul LEGEARD" userId="73b5704d-da1d-4b70-8e12-6d54d32b01a3" providerId="ADAL" clId="{6A0B0392-5B89-4C63-A1D8-1EA797692AC0}" dt="2023-04-17T13:45:54.444" v="7046" actId="20577"/>
        <pc:sldMkLst>
          <pc:docMk/>
          <pc:sldMk cId="1580115843" sldId="2147469822"/>
        </pc:sldMkLst>
        <pc:spChg chg="mod">
          <ac:chgData name="Paul LEGEARD" userId="73b5704d-da1d-4b70-8e12-6d54d32b01a3" providerId="ADAL" clId="{6A0B0392-5B89-4C63-A1D8-1EA797692AC0}" dt="2023-04-17T13:45:54.444" v="7046" actId="20577"/>
          <ac:spMkLst>
            <pc:docMk/>
            <pc:sldMk cId="1580115843" sldId="2147469822"/>
            <ac:spMk id="2" creationId="{81BA7D8F-F811-489A-AC70-FD79EE27800F}"/>
          </ac:spMkLst>
        </pc:spChg>
      </pc:sldChg>
      <pc:sldChg chg="modSp add mod">
        <pc:chgData name="Paul LEGEARD" userId="73b5704d-da1d-4b70-8e12-6d54d32b01a3" providerId="ADAL" clId="{6A0B0392-5B89-4C63-A1D8-1EA797692AC0}" dt="2023-04-17T07:48:11.926" v="3880" actId="20577"/>
        <pc:sldMkLst>
          <pc:docMk/>
          <pc:sldMk cId="1572892087" sldId="2147469823"/>
        </pc:sldMkLst>
        <pc:spChg chg="mod">
          <ac:chgData name="Paul LEGEARD" userId="73b5704d-da1d-4b70-8e12-6d54d32b01a3" providerId="ADAL" clId="{6A0B0392-5B89-4C63-A1D8-1EA797692AC0}" dt="2023-04-17T07:48:11.926" v="3880" actId="20577"/>
          <ac:spMkLst>
            <pc:docMk/>
            <pc:sldMk cId="1572892087" sldId="2147469823"/>
            <ac:spMk id="2" creationId="{81BA7D8F-F811-489A-AC70-FD79EE27800F}"/>
          </ac:spMkLst>
        </pc:spChg>
      </pc:sldChg>
      <pc:sldChg chg="addSp delSp modSp add mod">
        <pc:chgData name="Paul LEGEARD" userId="73b5704d-da1d-4b70-8e12-6d54d32b01a3" providerId="ADAL" clId="{6A0B0392-5B89-4C63-A1D8-1EA797692AC0}" dt="2023-04-17T07:54:50.669" v="4260" actId="1076"/>
        <pc:sldMkLst>
          <pc:docMk/>
          <pc:sldMk cId="2418690875" sldId="2147469824"/>
        </pc:sldMkLst>
        <pc:spChg chg="add mod">
          <ac:chgData name="Paul LEGEARD" userId="73b5704d-da1d-4b70-8e12-6d54d32b01a3" providerId="ADAL" clId="{6A0B0392-5B89-4C63-A1D8-1EA797692AC0}" dt="2023-04-17T07:50:51.280" v="4071" actId="1076"/>
          <ac:spMkLst>
            <pc:docMk/>
            <pc:sldMk cId="2418690875" sldId="2147469824"/>
            <ac:spMk id="3" creationId="{4826D637-8A74-3228-572B-FE8D6CCB7F3D}"/>
          </ac:spMkLst>
        </pc:spChg>
        <pc:spChg chg="mod">
          <ac:chgData name="Paul LEGEARD" userId="73b5704d-da1d-4b70-8e12-6d54d32b01a3" providerId="ADAL" clId="{6A0B0392-5B89-4C63-A1D8-1EA797692AC0}" dt="2023-04-17T07:50:47.815" v="4070" actId="1076"/>
          <ac:spMkLst>
            <pc:docMk/>
            <pc:sldMk cId="2418690875" sldId="2147469824"/>
            <ac:spMk id="4" creationId="{52AFB3F8-88A7-4D69-8A52-45D00774625C}"/>
          </ac:spMkLst>
        </pc:spChg>
        <pc:spChg chg="add mod ord">
          <ac:chgData name="Paul LEGEARD" userId="73b5704d-da1d-4b70-8e12-6d54d32b01a3" providerId="ADAL" clId="{6A0B0392-5B89-4C63-A1D8-1EA797692AC0}" dt="2023-04-17T07:54:27.631" v="4254" actId="404"/>
          <ac:spMkLst>
            <pc:docMk/>
            <pc:sldMk cId="2418690875" sldId="2147469824"/>
            <ac:spMk id="5" creationId="{CE31C728-87A6-3958-0E76-05833775DD9E}"/>
          </ac:spMkLst>
        </pc:spChg>
        <pc:spChg chg="add mod">
          <ac:chgData name="Paul LEGEARD" userId="73b5704d-da1d-4b70-8e12-6d54d32b01a3" providerId="ADAL" clId="{6A0B0392-5B89-4C63-A1D8-1EA797692AC0}" dt="2023-04-17T07:54:32.931" v="4255" actId="164"/>
          <ac:spMkLst>
            <pc:docMk/>
            <pc:sldMk cId="2418690875" sldId="2147469824"/>
            <ac:spMk id="9" creationId="{D1BE5D8A-73A5-DAA4-F111-9F351AD06026}"/>
          </ac:spMkLst>
        </pc:spChg>
        <pc:spChg chg="del">
          <ac:chgData name="Paul LEGEARD" userId="73b5704d-da1d-4b70-8e12-6d54d32b01a3" providerId="ADAL" clId="{6A0B0392-5B89-4C63-A1D8-1EA797692AC0}" dt="2023-04-17T07:48:21.925" v="3893" actId="478"/>
          <ac:spMkLst>
            <pc:docMk/>
            <pc:sldMk cId="2418690875" sldId="2147469824"/>
            <ac:spMk id="11" creationId="{C8CCCD3D-08C1-22AA-AEAE-A55B2167DE96}"/>
          </ac:spMkLst>
        </pc:spChg>
        <pc:spChg chg="del">
          <ac:chgData name="Paul LEGEARD" userId="73b5704d-da1d-4b70-8e12-6d54d32b01a3" providerId="ADAL" clId="{6A0B0392-5B89-4C63-A1D8-1EA797692AC0}" dt="2023-04-17T07:48:21.925" v="3893" actId="478"/>
          <ac:spMkLst>
            <pc:docMk/>
            <pc:sldMk cId="2418690875" sldId="2147469824"/>
            <ac:spMk id="12" creationId="{36F59CF6-87B6-7A9E-A1D7-4097B95F435B}"/>
          </ac:spMkLst>
        </pc:spChg>
        <pc:spChg chg="del">
          <ac:chgData name="Paul LEGEARD" userId="73b5704d-da1d-4b70-8e12-6d54d32b01a3" providerId="ADAL" clId="{6A0B0392-5B89-4C63-A1D8-1EA797692AC0}" dt="2023-04-17T07:48:21.925" v="3893" actId="478"/>
          <ac:spMkLst>
            <pc:docMk/>
            <pc:sldMk cId="2418690875" sldId="2147469824"/>
            <ac:spMk id="14" creationId="{275940F0-CB3C-E2F3-3B6C-FEE8706B5BF4}"/>
          </ac:spMkLst>
        </pc:spChg>
        <pc:spChg chg="del">
          <ac:chgData name="Paul LEGEARD" userId="73b5704d-da1d-4b70-8e12-6d54d32b01a3" providerId="ADAL" clId="{6A0B0392-5B89-4C63-A1D8-1EA797692AC0}" dt="2023-04-17T07:48:21.925" v="3893" actId="478"/>
          <ac:spMkLst>
            <pc:docMk/>
            <pc:sldMk cId="2418690875" sldId="2147469824"/>
            <ac:spMk id="15" creationId="{F0FBA972-0F8F-A8DC-2ABE-98ADE10FD36A}"/>
          </ac:spMkLst>
        </pc:spChg>
        <pc:spChg chg="add mod">
          <ac:chgData name="Paul LEGEARD" userId="73b5704d-da1d-4b70-8e12-6d54d32b01a3" providerId="ADAL" clId="{6A0B0392-5B89-4C63-A1D8-1EA797692AC0}" dt="2023-04-17T07:54:27.631" v="4254" actId="404"/>
          <ac:spMkLst>
            <pc:docMk/>
            <pc:sldMk cId="2418690875" sldId="2147469824"/>
            <ac:spMk id="16" creationId="{03F11543-D79C-5472-D9F1-A1DA38520F13}"/>
          </ac:spMkLst>
        </pc:spChg>
        <pc:spChg chg="del">
          <ac:chgData name="Paul LEGEARD" userId="73b5704d-da1d-4b70-8e12-6d54d32b01a3" providerId="ADAL" clId="{6A0B0392-5B89-4C63-A1D8-1EA797692AC0}" dt="2023-04-17T07:48:21.925" v="3893" actId="478"/>
          <ac:spMkLst>
            <pc:docMk/>
            <pc:sldMk cId="2418690875" sldId="2147469824"/>
            <ac:spMk id="17" creationId="{386935BF-88AD-C6CF-7372-653A255C5A30}"/>
          </ac:spMkLst>
        </pc:spChg>
        <pc:spChg chg="del">
          <ac:chgData name="Paul LEGEARD" userId="73b5704d-da1d-4b70-8e12-6d54d32b01a3" providerId="ADAL" clId="{6A0B0392-5B89-4C63-A1D8-1EA797692AC0}" dt="2023-04-17T07:48:21.925" v="3893" actId="478"/>
          <ac:spMkLst>
            <pc:docMk/>
            <pc:sldMk cId="2418690875" sldId="2147469824"/>
            <ac:spMk id="18" creationId="{507085D9-6FF1-0471-E097-6D236D73A711}"/>
          </ac:spMkLst>
        </pc:spChg>
        <pc:spChg chg="add mod">
          <ac:chgData name="Paul LEGEARD" userId="73b5704d-da1d-4b70-8e12-6d54d32b01a3" providerId="ADAL" clId="{6A0B0392-5B89-4C63-A1D8-1EA797692AC0}" dt="2023-04-17T07:51:59.684" v="4102" actId="20577"/>
          <ac:spMkLst>
            <pc:docMk/>
            <pc:sldMk cId="2418690875" sldId="2147469824"/>
            <ac:spMk id="19" creationId="{03F9484B-D681-AD9B-1A36-01BD882F0D9B}"/>
          </ac:spMkLst>
        </pc:spChg>
        <pc:spChg chg="add mod">
          <ac:chgData name="Paul LEGEARD" userId="73b5704d-da1d-4b70-8e12-6d54d32b01a3" providerId="ADAL" clId="{6A0B0392-5B89-4C63-A1D8-1EA797692AC0}" dt="2023-04-17T07:54:35.821" v="4256" actId="164"/>
          <ac:spMkLst>
            <pc:docMk/>
            <pc:sldMk cId="2418690875" sldId="2147469824"/>
            <ac:spMk id="20" creationId="{A600F0F3-B5AC-98F5-4D88-0873CCA863C6}"/>
          </ac:spMkLst>
        </pc:spChg>
        <pc:spChg chg="add del">
          <ac:chgData name="Paul LEGEARD" userId="73b5704d-da1d-4b70-8e12-6d54d32b01a3" providerId="ADAL" clId="{6A0B0392-5B89-4C63-A1D8-1EA797692AC0}" dt="2023-04-17T07:52:43.556" v="4160" actId="11529"/>
          <ac:spMkLst>
            <pc:docMk/>
            <pc:sldMk cId="2418690875" sldId="2147469824"/>
            <ac:spMk id="22" creationId="{8EE17024-5C34-05FF-17B2-90A3F8560E62}"/>
          </ac:spMkLst>
        </pc:spChg>
        <pc:spChg chg="add mod">
          <ac:chgData name="Paul LEGEARD" userId="73b5704d-da1d-4b70-8e12-6d54d32b01a3" providerId="ADAL" clId="{6A0B0392-5B89-4C63-A1D8-1EA797692AC0}" dt="2023-04-17T07:52:55.326" v="4162"/>
          <ac:spMkLst>
            <pc:docMk/>
            <pc:sldMk cId="2418690875" sldId="2147469824"/>
            <ac:spMk id="23" creationId="{2B12174B-DBA0-62AC-CCF1-CA21A62E72E2}"/>
          </ac:spMkLst>
        </pc:spChg>
        <pc:spChg chg="del">
          <ac:chgData name="Paul LEGEARD" userId="73b5704d-da1d-4b70-8e12-6d54d32b01a3" providerId="ADAL" clId="{6A0B0392-5B89-4C63-A1D8-1EA797692AC0}" dt="2023-04-17T07:48:23.716" v="3894" actId="478"/>
          <ac:spMkLst>
            <pc:docMk/>
            <pc:sldMk cId="2418690875" sldId="2147469824"/>
            <ac:spMk id="24" creationId="{B568E92A-0FF2-F047-336A-1C83EEBA72CE}"/>
          </ac:spMkLst>
        </pc:spChg>
        <pc:spChg chg="del">
          <ac:chgData name="Paul LEGEARD" userId="73b5704d-da1d-4b70-8e12-6d54d32b01a3" providerId="ADAL" clId="{6A0B0392-5B89-4C63-A1D8-1EA797692AC0}" dt="2023-04-17T07:48:21.925" v="3893" actId="478"/>
          <ac:spMkLst>
            <pc:docMk/>
            <pc:sldMk cId="2418690875" sldId="2147469824"/>
            <ac:spMk id="25" creationId="{6A989655-7AD7-BD8D-4BD8-D2B87F5966C2}"/>
          </ac:spMkLst>
        </pc:spChg>
        <pc:spChg chg="del">
          <ac:chgData name="Paul LEGEARD" userId="73b5704d-da1d-4b70-8e12-6d54d32b01a3" providerId="ADAL" clId="{6A0B0392-5B89-4C63-A1D8-1EA797692AC0}" dt="2023-04-17T07:48:21.925" v="3893" actId="478"/>
          <ac:spMkLst>
            <pc:docMk/>
            <pc:sldMk cId="2418690875" sldId="2147469824"/>
            <ac:spMk id="26" creationId="{DC6A367D-2952-CE7E-5EAB-758F96BBB53B}"/>
          </ac:spMkLst>
        </pc:spChg>
        <pc:spChg chg="add mod">
          <ac:chgData name="Paul LEGEARD" userId="73b5704d-da1d-4b70-8e12-6d54d32b01a3" providerId="ADAL" clId="{6A0B0392-5B89-4C63-A1D8-1EA797692AC0}" dt="2023-04-17T07:53:23.180" v="4168" actId="1076"/>
          <ac:spMkLst>
            <pc:docMk/>
            <pc:sldMk cId="2418690875" sldId="2147469824"/>
            <ac:spMk id="27" creationId="{92FABA35-BC7B-8F50-77B1-CE0DE1D918B0}"/>
          </ac:spMkLst>
        </pc:spChg>
        <pc:spChg chg="add mod">
          <ac:chgData name="Paul LEGEARD" userId="73b5704d-da1d-4b70-8e12-6d54d32b01a3" providerId="ADAL" clId="{6A0B0392-5B89-4C63-A1D8-1EA797692AC0}" dt="2023-04-17T07:54:27.631" v="4254" actId="404"/>
          <ac:spMkLst>
            <pc:docMk/>
            <pc:sldMk cId="2418690875" sldId="2147469824"/>
            <ac:spMk id="28" creationId="{477A16EC-CBF2-10C8-55A5-0CCDD554B3A8}"/>
          </ac:spMkLst>
        </pc:spChg>
        <pc:spChg chg="add mod">
          <ac:chgData name="Paul LEGEARD" userId="73b5704d-da1d-4b70-8e12-6d54d32b01a3" providerId="ADAL" clId="{6A0B0392-5B89-4C63-A1D8-1EA797692AC0}" dt="2023-04-17T07:53:34.459" v="4172" actId="20577"/>
          <ac:spMkLst>
            <pc:docMk/>
            <pc:sldMk cId="2418690875" sldId="2147469824"/>
            <ac:spMk id="29" creationId="{35858527-A85C-8BB8-EF48-4B2F948048D9}"/>
          </ac:spMkLst>
        </pc:spChg>
        <pc:spChg chg="add mod">
          <ac:chgData name="Paul LEGEARD" userId="73b5704d-da1d-4b70-8e12-6d54d32b01a3" providerId="ADAL" clId="{6A0B0392-5B89-4C63-A1D8-1EA797692AC0}" dt="2023-04-17T07:54:39.708" v="4257" actId="164"/>
          <ac:spMkLst>
            <pc:docMk/>
            <pc:sldMk cId="2418690875" sldId="2147469824"/>
            <ac:spMk id="30" creationId="{878FEF98-78C8-423C-7224-4FD6FEC28742}"/>
          </ac:spMkLst>
        </pc:spChg>
        <pc:grpChg chg="add mod">
          <ac:chgData name="Paul LEGEARD" userId="73b5704d-da1d-4b70-8e12-6d54d32b01a3" providerId="ADAL" clId="{6A0B0392-5B89-4C63-A1D8-1EA797692AC0}" dt="2023-04-17T07:54:43.145" v="4258" actId="1076"/>
          <ac:grpSpMkLst>
            <pc:docMk/>
            <pc:sldMk cId="2418690875" sldId="2147469824"/>
            <ac:grpSpMk id="32" creationId="{C8F67862-79E8-5F51-C377-AAE2AEE87552}"/>
          </ac:grpSpMkLst>
        </pc:grpChg>
        <pc:grpChg chg="add mod">
          <ac:chgData name="Paul LEGEARD" userId="73b5704d-da1d-4b70-8e12-6d54d32b01a3" providerId="ADAL" clId="{6A0B0392-5B89-4C63-A1D8-1EA797692AC0}" dt="2023-04-17T07:54:46.777" v="4259" actId="1076"/>
          <ac:grpSpMkLst>
            <pc:docMk/>
            <pc:sldMk cId="2418690875" sldId="2147469824"/>
            <ac:grpSpMk id="33" creationId="{EB9ACBD9-A932-A2DB-332E-40CCAED08B9A}"/>
          </ac:grpSpMkLst>
        </pc:grpChg>
        <pc:grpChg chg="add mod">
          <ac:chgData name="Paul LEGEARD" userId="73b5704d-da1d-4b70-8e12-6d54d32b01a3" providerId="ADAL" clId="{6A0B0392-5B89-4C63-A1D8-1EA797692AC0}" dt="2023-04-17T07:54:50.669" v="4260" actId="1076"/>
          <ac:grpSpMkLst>
            <pc:docMk/>
            <pc:sldMk cId="2418690875" sldId="2147469824"/>
            <ac:grpSpMk id="34" creationId="{2A0A5477-F107-6562-A344-DA1BFCD7AA53}"/>
          </ac:grpSpMkLst>
        </pc:grpChg>
        <pc:picChg chg="del">
          <ac:chgData name="Paul LEGEARD" userId="73b5704d-da1d-4b70-8e12-6d54d32b01a3" providerId="ADAL" clId="{6A0B0392-5B89-4C63-A1D8-1EA797692AC0}" dt="2023-04-17T07:48:23.716" v="3894" actId="478"/>
          <ac:picMkLst>
            <pc:docMk/>
            <pc:sldMk cId="2418690875" sldId="2147469824"/>
            <ac:picMk id="6" creationId="{678964C7-7212-3481-BB6F-F9CD8521B996}"/>
          </ac:picMkLst>
        </pc:picChg>
        <pc:picChg chg="del">
          <ac:chgData name="Paul LEGEARD" userId="73b5704d-da1d-4b70-8e12-6d54d32b01a3" providerId="ADAL" clId="{6A0B0392-5B89-4C63-A1D8-1EA797692AC0}" dt="2023-04-17T07:48:21.925" v="3893" actId="478"/>
          <ac:picMkLst>
            <pc:docMk/>
            <pc:sldMk cId="2418690875" sldId="2147469824"/>
            <ac:picMk id="7" creationId="{4B1A9504-27DF-7FB8-CAFA-3C5A57BE8259}"/>
          </ac:picMkLst>
        </pc:picChg>
        <pc:picChg chg="add mod">
          <ac:chgData name="Paul LEGEARD" userId="73b5704d-da1d-4b70-8e12-6d54d32b01a3" providerId="ADAL" clId="{6A0B0392-5B89-4C63-A1D8-1EA797692AC0}" dt="2023-04-17T07:54:32.931" v="4255" actId="164"/>
          <ac:picMkLst>
            <pc:docMk/>
            <pc:sldMk cId="2418690875" sldId="2147469824"/>
            <ac:picMk id="13" creationId="{DE72BC76-9B59-B8CC-9FD9-35824D2A7880}"/>
          </ac:picMkLst>
        </pc:picChg>
        <pc:picChg chg="add mod">
          <ac:chgData name="Paul LEGEARD" userId="73b5704d-da1d-4b70-8e12-6d54d32b01a3" providerId="ADAL" clId="{6A0B0392-5B89-4C63-A1D8-1EA797692AC0}" dt="2023-04-17T07:54:35.821" v="4256" actId="164"/>
          <ac:picMkLst>
            <pc:docMk/>
            <pc:sldMk cId="2418690875" sldId="2147469824"/>
            <ac:picMk id="21" creationId="{3F0F1395-B2BE-CD4E-A4D3-010C047B5D22}"/>
          </ac:picMkLst>
        </pc:picChg>
        <pc:picChg chg="add mod">
          <ac:chgData name="Paul LEGEARD" userId="73b5704d-da1d-4b70-8e12-6d54d32b01a3" providerId="ADAL" clId="{6A0B0392-5B89-4C63-A1D8-1EA797692AC0}" dt="2023-04-17T07:54:39.708" v="4257" actId="164"/>
          <ac:picMkLst>
            <pc:docMk/>
            <pc:sldMk cId="2418690875" sldId="2147469824"/>
            <ac:picMk id="31" creationId="{53E68287-0966-3121-E972-BF7B92C7035C}"/>
          </ac:picMkLst>
        </pc:picChg>
        <pc:picChg chg="del">
          <ac:chgData name="Paul LEGEARD" userId="73b5704d-da1d-4b70-8e12-6d54d32b01a3" providerId="ADAL" clId="{6A0B0392-5B89-4C63-A1D8-1EA797692AC0}" dt="2023-04-17T07:48:21.925" v="3893" actId="478"/>
          <ac:picMkLst>
            <pc:docMk/>
            <pc:sldMk cId="2418690875" sldId="2147469824"/>
            <ac:picMk id="2050" creationId="{44CC4011-08B5-D75D-C18A-758FABCEA55D}"/>
          </ac:picMkLst>
        </pc:picChg>
        <pc:picChg chg="del">
          <ac:chgData name="Paul LEGEARD" userId="73b5704d-da1d-4b70-8e12-6d54d32b01a3" providerId="ADAL" clId="{6A0B0392-5B89-4C63-A1D8-1EA797692AC0}" dt="2023-04-17T07:48:21.925" v="3893" actId="478"/>
          <ac:picMkLst>
            <pc:docMk/>
            <pc:sldMk cId="2418690875" sldId="2147469824"/>
            <ac:picMk id="3074" creationId="{92DA7AD1-081E-8DAA-EA24-ED8123C60B5C}"/>
          </ac:picMkLst>
        </pc:picChg>
        <pc:picChg chg="del">
          <ac:chgData name="Paul LEGEARD" userId="73b5704d-da1d-4b70-8e12-6d54d32b01a3" providerId="ADAL" clId="{6A0B0392-5B89-4C63-A1D8-1EA797692AC0}" dt="2023-04-17T07:48:21.925" v="3893" actId="478"/>
          <ac:picMkLst>
            <pc:docMk/>
            <pc:sldMk cId="2418690875" sldId="2147469824"/>
            <ac:picMk id="3076" creationId="{037E6050-EA16-70E3-1960-8487EFB2C794}"/>
          </ac:picMkLst>
        </pc:picChg>
        <pc:cxnChg chg="del">
          <ac:chgData name="Paul LEGEARD" userId="73b5704d-da1d-4b70-8e12-6d54d32b01a3" providerId="ADAL" clId="{6A0B0392-5B89-4C63-A1D8-1EA797692AC0}" dt="2023-04-17T07:48:21.925" v="3893" actId="478"/>
          <ac:cxnSpMkLst>
            <pc:docMk/>
            <pc:sldMk cId="2418690875" sldId="2147469824"/>
            <ac:cxnSpMk id="2" creationId="{682A375D-3837-33EC-2C86-747F0DA72271}"/>
          </ac:cxnSpMkLst>
        </pc:cxnChg>
        <pc:cxnChg chg="del">
          <ac:chgData name="Paul LEGEARD" userId="73b5704d-da1d-4b70-8e12-6d54d32b01a3" providerId="ADAL" clId="{6A0B0392-5B89-4C63-A1D8-1EA797692AC0}" dt="2023-04-17T07:48:21.925" v="3893" actId="478"/>
          <ac:cxnSpMkLst>
            <pc:docMk/>
            <pc:sldMk cId="2418690875" sldId="2147469824"/>
            <ac:cxnSpMk id="10" creationId="{8854D8F4-80DE-BEAC-F254-7B789FBEB046}"/>
          </ac:cxnSpMkLst>
        </pc:cxnChg>
      </pc:sldChg>
      <pc:sldChg chg="add del">
        <pc:chgData name="Paul LEGEARD" userId="73b5704d-da1d-4b70-8e12-6d54d32b01a3" providerId="ADAL" clId="{6A0B0392-5B89-4C63-A1D8-1EA797692AC0}" dt="2023-04-17T14:36:22.064" v="7361" actId="47"/>
        <pc:sldMkLst>
          <pc:docMk/>
          <pc:sldMk cId="194300151" sldId="2147469825"/>
        </pc:sldMkLst>
      </pc:sldChg>
      <pc:sldChg chg="addSp delSp modSp add del mod ord">
        <pc:chgData name="Paul LEGEARD" userId="73b5704d-da1d-4b70-8e12-6d54d32b01a3" providerId="ADAL" clId="{6A0B0392-5B89-4C63-A1D8-1EA797692AC0}" dt="2023-04-17T13:36:46.022" v="6475" actId="2696"/>
        <pc:sldMkLst>
          <pc:docMk/>
          <pc:sldMk cId="752261033" sldId="2147469825"/>
        </pc:sldMkLst>
        <pc:spChg chg="add mod">
          <ac:chgData name="Paul LEGEARD" userId="73b5704d-da1d-4b70-8e12-6d54d32b01a3" providerId="ADAL" clId="{6A0B0392-5B89-4C63-A1D8-1EA797692AC0}" dt="2023-04-17T08:03:21.995" v="5316" actId="14100"/>
          <ac:spMkLst>
            <pc:docMk/>
            <pc:sldMk cId="752261033" sldId="2147469825"/>
            <ac:spMk id="2" creationId="{7130E836-7FAA-F6F4-1521-A48732FF31EF}"/>
          </ac:spMkLst>
        </pc:spChg>
        <pc:spChg chg="del">
          <ac:chgData name="Paul LEGEARD" userId="73b5704d-da1d-4b70-8e12-6d54d32b01a3" providerId="ADAL" clId="{6A0B0392-5B89-4C63-A1D8-1EA797692AC0}" dt="2023-04-17T07:55:12.893" v="4309" actId="478"/>
          <ac:spMkLst>
            <pc:docMk/>
            <pc:sldMk cId="752261033" sldId="2147469825"/>
            <ac:spMk id="3" creationId="{4826D637-8A74-3228-572B-FE8D6CCB7F3D}"/>
          </ac:spMkLst>
        </pc:spChg>
        <pc:spChg chg="mod">
          <ac:chgData name="Paul LEGEARD" userId="73b5704d-da1d-4b70-8e12-6d54d32b01a3" providerId="ADAL" clId="{6A0B0392-5B89-4C63-A1D8-1EA797692AC0}" dt="2023-04-17T08:03:56.132" v="5337" actId="20577"/>
          <ac:spMkLst>
            <pc:docMk/>
            <pc:sldMk cId="752261033" sldId="2147469825"/>
            <ac:spMk id="4" creationId="{52AFB3F8-88A7-4D69-8A52-45D00774625C}"/>
          </ac:spMkLst>
        </pc:spChg>
        <pc:spChg chg="del">
          <ac:chgData name="Paul LEGEARD" userId="73b5704d-da1d-4b70-8e12-6d54d32b01a3" providerId="ADAL" clId="{6A0B0392-5B89-4C63-A1D8-1EA797692AC0}" dt="2023-04-17T07:55:12.893" v="4309" actId="478"/>
          <ac:spMkLst>
            <pc:docMk/>
            <pc:sldMk cId="752261033" sldId="2147469825"/>
            <ac:spMk id="5" creationId="{CE31C728-87A6-3958-0E76-05833775DD9E}"/>
          </ac:spMkLst>
        </pc:spChg>
        <pc:spChg chg="add mod">
          <ac:chgData name="Paul LEGEARD" userId="73b5704d-da1d-4b70-8e12-6d54d32b01a3" providerId="ADAL" clId="{6A0B0392-5B89-4C63-A1D8-1EA797692AC0}" dt="2023-04-17T07:56:03.510" v="4320" actId="1076"/>
          <ac:spMkLst>
            <pc:docMk/>
            <pc:sldMk cId="752261033" sldId="2147469825"/>
            <ac:spMk id="6" creationId="{ABDEA24B-D7D3-0C25-E9BD-45BD25FEAF34}"/>
          </ac:spMkLst>
        </pc:spChg>
        <pc:spChg chg="add mod">
          <ac:chgData name="Paul LEGEARD" userId="73b5704d-da1d-4b70-8e12-6d54d32b01a3" providerId="ADAL" clId="{6A0B0392-5B89-4C63-A1D8-1EA797692AC0}" dt="2023-04-17T07:56:13.103" v="4330" actId="1076"/>
          <ac:spMkLst>
            <pc:docMk/>
            <pc:sldMk cId="752261033" sldId="2147469825"/>
            <ac:spMk id="7" creationId="{023FD100-34E9-FF11-DB9F-1AA98BB9CED4}"/>
          </ac:spMkLst>
        </pc:spChg>
        <pc:spChg chg="add mod">
          <ac:chgData name="Paul LEGEARD" userId="73b5704d-da1d-4b70-8e12-6d54d32b01a3" providerId="ADAL" clId="{6A0B0392-5B89-4C63-A1D8-1EA797692AC0}" dt="2023-04-17T07:56:12.269" v="4329" actId="1076"/>
          <ac:spMkLst>
            <pc:docMk/>
            <pc:sldMk cId="752261033" sldId="2147469825"/>
            <ac:spMk id="10" creationId="{263092C6-ABE8-7197-4F63-255D08E3EA9E}"/>
          </ac:spMkLst>
        </pc:spChg>
        <pc:spChg chg="add mod">
          <ac:chgData name="Paul LEGEARD" userId="73b5704d-da1d-4b70-8e12-6d54d32b01a3" providerId="ADAL" clId="{6A0B0392-5B89-4C63-A1D8-1EA797692AC0}" dt="2023-04-17T07:56:11.419" v="4328" actId="1076"/>
          <ac:spMkLst>
            <pc:docMk/>
            <pc:sldMk cId="752261033" sldId="2147469825"/>
            <ac:spMk id="11" creationId="{4FAB2DBA-8B97-1381-BAD9-7A5FD753D48F}"/>
          </ac:spMkLst>
        </pc:spChg>
        <pc:spChg chg="add mod">
          <ac:chgData name="Paul LEGEARD" userId="73b5704d-da1d-4b70-8e12-6d54d32b01a3" providerId="ADAL" clId="{6A0B0392-5B89-4C63-A1D8-1EA797692AC0}" dt="2023-04-17T08:01:32.914" v="5066" actId="1035"/>
          <ac:spMkLst>
            <pc:docMk/>
            <pc:sldMk cId="752261033" sldId="2147469825"/>
            <ac:spMk id="12" creationId="{FD1355C0-E24E-2CE1-A850-525B99045127}"/>
          </ac:spMkLst>
        </pc:spChg>
        <pc:spChg chg="add mod ord">
          <ac:chgData name="Paul LEGEARD" userId="73b5704d-da1d-4b70-8e12-6d54d32b01a3" providerId="ADAL" clId="{6A0B0392-5B89-4C63-A1D8-1EA797692AC0}" dt="2023-04-17T07:59:09.830" v="4747" actId="164"/>
          <ac:spMkLst>
            <pc:docMk/>
            <pc:sldMk cId="752261033" sldId="2147469825"/>
            <ac:spMk id="14" creationId="{EE197B05-FC9C-3E57-ED3C-DE04C30FDC63}"/>
          </ac:spMkLst>
        </pc:spChg>
        <pc:spChg chg="add mod">
          <ac:chgData name="Paul LEGEARD" userId="73b5704d-da1d-4b70-8e12-6d54d32b01a3" providerId="ADAL" clId="{6A0B0392-5B89-4C63-A1D8-1EA797692AC0}" dt="2023-04-17T08:12:27.243" v="6072" actId="14100"/>
          <ac:spMkLst>
            <pc:docMk/>
            <pc:sldMk cId="752261033" sldId="2147469825"/>
            <ac:spMk id="15" creationId="{ACB5953D-DAAE-AC36-6F7C-CAC0E55582B3}"/>
          </ac:spMkLst>
        </pc:spChg>
        <pc:spChg chg="del">
          <ac:chgData name="Paul LEGEARD" userId="73b5704d-da1d-4b70-8e12-6d54d32b01a3" providerId="ADAL" clId="{6A0B0392-5B89-4C63-A1D8-1EA797692AC0}" dt="2023-04-17T07:55:12.893" v="4309" actId="478"/>
          <ac:spMkLst>
            <pc:docMk/>
            <pc:sldMk cId="752261033" sldId="2147469825"/>
            <ac:spMk id="16" creationId="{03F11543-D79C-5472-D9F1-A1DA38520F13}"/>
          </ac:spMkLst>
        </pc:spChg>
        <pc:spChg chg="add del mod">
          <ac:chgData name="Paul LEGEARD" userId="73b5704d-da1d-4b70-8e12-6d54d32b01a3" providerId="ADAL" clId="{6A0B0392-5B89-4C63-A1D8-1EA797692AC0}" dt="2023-04-17T07:58:06.526" v="4696" actId="478"/>
          <ac:spMkLst>
            <pc:docMk/>
            <pc:sldMk cId="752261033" sldId="2147469825"/>
            <ac:spMk id="17" creationId="{3EBD58BB-BE54-1206-8A8D-26A64DA4014C}"/>
          </ac:spMkLst>
        </pc:spChg>
        <pc:spChg chg="add del mod">
          <ac:chgData name="Paul LEGEARD" userId="73b5704d-da1d-4b70-8e12-6d54d32b01a3" providerId="ADAL" clId="{6A0B0392-5B89-4C63-A1D8-1EA797692AC0}" dt="2023-04-17T07:58:06.526" v="4696" actId="478"/>
          <ac:spMkLst>
            <pc:docMk/>
            <pc:sldMk cId="752261033" sldId="2147469825"/>
            <ac:spMk id="18" creationId="{08C12262-8362-CA0A-D853-E0D17D871D31}"/>
          </ac:spMkLst>
        </pc:spChg>
        <pc:spChg chg="del">
          <ac:chgData name="Paul LEGEARD" userId="73b5704d-da1d-4b70-8e12-6d54d32b01a3" providerId="ADAL" clId="{6A0B0392-5B89-4C63-A1D8-1EA797692AC0}" dt="2023-04-17T07:55:12.893" v="4309" actId="478"/>
          <ac:spMkLst>
            <pc:docMk/>
            <pc:sldMk cId="752261033" sldId="2147469825"/>
            <ac:spMk id="19" creationId="{03F9484B-D681-AD9B-1A36-01BD882F0D9B}"/>
          </ac:spMkLst>
        </pc:spChg>
        <pc:spChg chg="add del mod">
          <ac:chgData name="Paul LEGEARD" userId="73b5704d-da1d-4b70-8e12-6d54d32b01a3" providerId="ADAL" clId="{6A0B0392-5B89-4C63-A1D8-1EA797692AC0}" dt="2023-04-17T07:58:06.526" v="4696" actId="478"/>
          <ac:spMkLst>
            <pc:docMk/>
            <pc:sldMk cId="752261033" sldId="2147469825"/>
            <ac:spMk id="22" creationId="{3667CEF7-31F5-3119-8795-842E4C2F731F}"/>
          </ac:spMkLst>
        </pc:spChg>
        <pc:spChg chg="del">
          <ac:chgData name="Paul LEGEARD" userId="73b5704d-da1d-4b70-8e12-6d54d32b01a3" providerId="ADAL" clId="{6A0B0392-5B89-4C63-A1D8-1EA797692AC0}" dt="2023-04-17T07:55:12.893" v="4309" actId="478"/>
          <ac:spMkLst>
            <pc:docMk/>
            <pc:sldMk cId="752261033" sldId="2147469825"/>
            <ac:spMk id="23" creationId="{2B12174B-DBA0-62AC-CCF1-CA21A62E72E2}"/>
          </ac:spMkLst>
        </pc:spChg>
        <pc:spChg chg="add del mod">
          <ac:chgData name="Paul LEGEARD" userId="73b5704d-da1d-4b70-8e12-6d54d32b01a3" providerId="ADAL" clId="{6A0B0392-5B89-4C63-A1D8-1EA797692AC0}" dt="2023-04-17T07:58:06.526" v="4696" actId="478"/>
          <ac:spMkLst>
            <pc:docMk/>
            <pc:sldMk cId="752261033" sldId="2147469825"/>
            <ac:spMk id="24" creationId="{CA8C6621-D18C-ED78-076E-BB7622FACF27}"/>
          </ac:spMkLst>
        </pc:spChg>
        <pc:spChg chg="add mod">
          <ac:chgData name="Paul LEGEARD" userId="73b5704d-da1d-4b70-8e12-6d54d32b01a3" providerId="ADAL" clId="{6A0B0392-5B89-4C63-A1D8-1EA797692AC0}" dt="2023-04-17T09:24:52.856" v="6330" actId="1076"/>
          <ac:spMkLst>
            <pc:docMk/>
            <pc:sldMk cId="752261033" sldId="2147469825"/>
            <ac:spMk id="25" creationId="{B1BF2E3D-6487-09D9-E21E-5A7968C9FFAB}"/>
          </ac:spMkLst>
        </pc:spChg>
        <pc:spChg chg="add mod">
          <ac:chgData name="Paul LEGEARD" userId="73b5704d-da1d-4b70-8e12-6d54d32b01a3" providerId="ADAL" clId="{6A0B0392-5B89-4C63-A1D8-1EA797692AC0}" dt="2023-04-17T09:15:25.678" v="6313" actId="1035"/>
          <ac:spMkLst>
            <pc:docMk/>
            <pc:sldMk cId="752261033" sldId="2147469825"/>
            <ac:spMk id="26" creationId="{18F24087-672C-ACD2-EC90-776B31EED514}"/>
          </ac:spMkLst>
        </pc:spChg>
        <pc:spChg chg="del">
          <ac:chgData name="Paul LEGEARD" userId="73b5704d-da1d-4b70-8e12-6d54d32b01a3" providerId="ADAL" clId="{6A0B0392-5B89-4C63-A1D8-1EA797692AC0}" dt="2023-04-17T07:55:12.893" v="4309" actId="478"/>
          <ac:spMkLst>
            <pc:docMk/>
            <pc:sldMk cId="752261033" sldId="2147469825"/>
            <ac:spMk id="27" creationId="{92FABA35-BC7B-8F50-77B1-CE0DE1D918B0}"/>
          </ac:spMkLst>
        </pc:spChg>
        <pc:spChg chg="del">
          <ac:chgData name="Paul LEGEARD" userId="73b5704d-da1d-4b70-8e12-6d54d32b01a3" providerId="ADAL" clId="{6A0B0392-5B89-4C63-A1D8-1EA797692AC0}" dt="2023-04-17T07:55:12.893" v="4309" actId="478"/>
          <ac:spMkLst>
            <pc:docMk/>
            <pc:sldMk cId="752261033" sldId="2147469825"/>
            <ac:spMk id="28" creationId="{477A16EC-CBF2-10C8-55A5-0CCDD554B3A8}"/>
          </ac:spMkLst>
        </pc:spChg>
        <pc:spChg chg="del">
          <ac:chgData name="Paul LEGEARD" userId="73b5704d-da1d-4b70-8e12-6d54d32b01a3" providerId="ADAL" clId="{6A0B0392-5B89-4C63-A1D8-1EA797692AC0}" dt="2023-04-17T07:55:12.893" v="4309" actId="478"/>
          <ac:spMkLst>
            <pc:docMk/>
            <pc:sldMk cId="752261033" sldId="2147469825"/>
            <ac:spMk id="29" creationId="{35858527-A85C-8BB8-EF48-4B2F948048D9}"/>
          </ac:spMkLst>
        </pc:spChg>
        <pc:spChg chg="add mod">
          <ac:chgData name="Paul LEGEARD" userId="73b5704d-da1d-4b70-8e12-6d54d32b01a3" providerId="ADAL" clId="{6A0B0392-5B89-4C63-A1D8-1EA797692AC0}" dt="2023-04-17T07:59:09.830" v="4747" actId="164"/>
          <ac:spMkLst>
            <pc:docMk/>
            <pc:sldMk cId="752261033" sldId="2147469825"/>
            <ac:spMk id="35" creationId="{372A8BF4-4068-1E94-393F-572EAEE31CAF}"/>
          </ac:spMkLst>
        </pc:spChg>
        <pc:spChg chg="add mod">
          <ac:chgData name="Paul LEGEARD" userId="73b5704d-da1d-4b70-8e12-6d54d32b01a3" providerId="ADAL" clId="{6A0B0392-5B89-4C63-A1D8-1EA797692AC0}" dt="2023-04-17T09:15:25.678" v="6313" actId="1035"/>
          <ac:spMkLst>
            <pc:docMk/>
            <pc:sldMk cId="752261033" sldId="2147469825"/>
            <ac:spMk id="36" creationId="{9F97C811-D404-B4B8-8AE6-DBA6788EE250}"/>
          </ac:spMkLst>
        </pc:spChg>
        <pc:spChg chg="add del mod">
          <ac:chgData name="Paul LEGEARD" userId="73b5704d-da1d-4b70-8e12-6d54d32b01a3" providerId="ADAL" clId="{6A0B0392-5B89-4C63-A1D8-1EA797692AC0}" dt="2023-04-17T07:59:01.623" v="4746" actId="478"/>
          <ac:spMkLst>
            <pc:docMk/>
            <pc:sldMk cId="752261033" sldId="2147469825"/>
            <ac:spMk id="37" creationId="{6503977B-12EE-6FDA-BBE5-64E49226DD92}"/>
          </ac:spMkLst>
        </pc:spChg>
        <pc:spChg chg="add del mod">
          <ac:chgData name="Paul LEGEARD" userId="73b5704d-da1d-4b70-8e12-6d54d32b01a3" providerId="ADAL" clId="{6A0B0392-5B89-4C63-A1D8-1EA797692AC0}" dt="2023-04-17T07:59:01.623" v="4746" actId="478"/>
          <ac:spMkLst>
            <pc:docMk/>
            <pc:sldMk cId="752261033" sldId="2147469825"/>
            <ac:spMk id="38" creationId="{80008A22-1407-C7E2-B517-010B3F4C68AF}"/>
          </ac:spMkLst>
        </pc:spChg>
        <pc:spChg chg="mod">
          <ac:chgData name="Paul LEGEARD" userId="73b5704d-da1d-4b70-8e12-6d54d32b01a3" providerId="ADAL" clId="{6A0B0392-5B89-4C63-A1D8-1EA797692AC0}" dt="2023-04-17T07:59:10.815" v="4748"/>
          <ac:spMkLst>
            <pc:docMk/>
            <pc:sldMk cId="752261033" sldId="2147469825"/>
            <ac:spMk id="41" creationId="{86584A10-7734-3EE6-F276-E83297915D86}"/>
          </ac:spMkLst>
        </pc:spChg>
        <pc:spChg chg="mod">
          <ac:chgData name="Paul LEGEARD" userId="73b5704d-da1d-4b70-8e12-6d54d32b01a3" providerId="ADAL" clId="{6A0B0392-5B89-4C63-A1D8-1EA797692AC0}" dt="2023-04-17T07:59:28.006" v="4793" actId="1076"/>
          <ac:spMkLst>
            <pc:docMk/>
            <pc:sldMk cId="752261033" sldId="2147469825"/>
            <ac:spMk id="42" creationId="{6E6F954B-F444-F5B7-115C-00E3460B342D}"/>
          </ac:spMkLst>
        </pc:spChg>
        <pc:spChg chg="mod">
          <ac:chgData name="Paul LEGEARD" userId="73b5704d-da1d-4b70-8e12-6d54d32b01a3" providerId="ADAL" clId="{6A0B0392-5B89-4C63-A1D8-1EA797692AC0}" dt="2023-04-17T07:59:34.773" v="4794"/>
          <ac:spMkLst>
            <pc:docMk/>
            <pc:sldMk cId="752261033" sldId="2147469825"/>
            <ac:spMk id="44" creationId="{3B241BD1-6F09-834C-9165-503FA297C19A}"/>
          </ac:spMkLst>
        </pc:spChg>
        <pc:spChg chg="mod">
          <ac:chgData name="Paul LEGEARD" userId="73b5704d-da1d-4b70-8e12-6d54d32b01a3" providerId="ADAL" clId="{6A0B0392-5B89-4C63-A1D8-1EA797692AC0}" dt="2023-04-17T07:59:34.773" v="4794"/>
          <ac:spMkLst>
            <pc:docMk/>
            <pc:sldMk cId="752261033" sldId="2147469825"/>
            <ac:spMk id="45" creationId="{1E322E54-A222-0C00-61DC-9FBDD6F80B95}"/>
          </ac:spMkLst>
        </pc:spChg>
        <pc:spChg chg="mod">
          <ac:chgData name="Paul LEGEARD" userId="73b5704d-da1d-4b70-8e12-6d54d32b01a3" providerId="ADAL" clId="{6A0B0392-5B89-4C63-A1D8-1EA797692AC0}" dt="2023-04-17T07:59:34.773" v="4794"/>
          <ac:spMkLst>
            <pc:docMk/>
            <pc:sldMk cId="752261033" sldId="2147469825"/>
            <ac:spMk id="47" creationId="{FC71AC57-F51E-ADD6-209A-F150ACEACE5D}"/>
          </ac:spMkLst>
        </pc:spChg>
        <pc:spChg chg="mod">
          <ac:chgData name="Paul LEGEARD" userId="73b5704d-da1d-4b70-8e12-6d54d32b01a3" providerId="ADAL" clId="{6A0B0392-5B89-4C63-A1D8-1EA797692AC0}" dt="2023-04-17T07:59:34.773" v="4794"/>
          <ac:spMkLst>
            <pc:docMk/>
            <pc:sldMk cId="752261033" sldId="2147469825"/>
            <ac:spMk id="48" creationId="{6DAA0FED-B38D-71DD-DCCA-2532E1ACEA7D}"/>
          </ac:spMkLst>
        </pc:spChg>
        <pc:spChg chg="mod">
          <ac:chgData name="Paul LEGEARD" userId="73b5704d-da1d-4b70-8e12-6d54d32b01a3" providerId="ADAL" clId="{6A0B0392-5B89-4C63-A1D8-1EA797692AC0}" dt="2023-04-17T07:59:40.225" v="4796"/>
          <ac:spMkLst>
            <pc:docMk/>
            <pc:sldMk cId="752261033" sldId="2147469825"/>
            <ac:spMk id="50" creationId="{A0CA17D8-7069-6D70-4A86-5B3C9CD48C3C}"/>
          </ac:spMkLst>
        </pc:spChg>
        <pc:spChg chg="mod">
          <ac:chgData name="Paul LEGEARD" userId="73b5704d-da1d-4b70-8e12-6d54d32b01a3" providerId="ADAL" clId="{6A0B0392-5B89-4C63-A1D8-1EA797692AC0}" dt="2023-04-17T08:00:26.443" v="4953" actId="20577"/>
          <ac:spMkLst>
            <pc:docMk/>
            <pc:sldMk cId="752261033" sldId="2147469825"/>
            <ac:spMk id="51" creationId="{C167E37F-D271-9C38-922A-4A57BABC9BE5}"/>
          </ac:spMkLst>
        </pc:spChg>
        <pc:spChg chg="mod">
          <ac:chgData name="Paul LEGEARD" userId="73b5704d-da1d-4b70-8e12-6d54d32b01a3" providerId="ADAL" clId="{6A0B0392-5B89-4C63-A1D8-1EA797692AC0}" dt="2023-04-17T07:59:40.225" v="4796"/>
          <ac:spMkLst>
            <pc:docMk/>
            <pc:sldMk cId="752261033" sldId="2147469825"/>
            <ac:spMk id="53" creationId="{0EE0B64F-2927-9E6A-86FE-70DF7C2EF746}"/>
          </ac:spMkLst>
        </pc:spChg>
        <pc:spChg chg="mod">
          <ac:chgData name="Paul LEGEARD" userId="73b5704d-da1d-4b70-8e12-6d54d32b01a3" providerId="ADAL" clId="{6A0B0392-5B89-4C63-A1D8-1EA797692AC0}" dt="2023-04-17T08:00:41.575" v="4995" actId="20577"/>
          <ac:spMkLst>
            <pc:docMk/>
            <pc:sldMk cId="752261033" sldId="2147469825"/>
            <ac:spMk id="54" creationId="{32B9396F-4518-C52B-4618-918327C0C50F}"/>
          </ac:spMkLst>
        </pc:spChg>
        <pc:spChg chg="mod">
          <ac:chgData name="Paul LEGEARD" userId="73b5704d-da1d-4b70-8e12-6d54d32b01a3" providerId="ADAL" clId="{6A0B0392-5B89-4C63-A1D8-1EA797692AC0}" dt="2023-04-17T08:00:46.217" v="4996"/>
          <ac:spMkLst>
            <pc:docMk/>
            <pc:sldMk cId="752261033" sldId="2147469825"/>
            <ac:spMk id="56" creationId="{8DFADE39-6741-5AF3-414C-E8F82E4841B2}"/>
          </ac:spMkLst>
        </pc:spChg>
        <pc:spChg chg="mod">
          <ac:chgData name="Paul LEGEARD" userId="73b5704d-da1d-4b70-8e12-6d54d32b01a3" providerId="ADAL" clId="{6A0B0392-5B89-4C63-A1D8-1EA797692AC0}" dt="2023-04-17T08:00:46.217" v="4996"/>
          <ac:spMkLst>
            <pc:docMk/>
            <pc:sldMk cId="752261033" sldId="2147469825"/>
            <ac:spMk id="57" creationId="{8A65900A-057F-987C-CF15-E6101EB992DF}"/>
          </ac:spMkLst>
        </pc:spChg>
        <pc:spChg chg="mod">
          <ac:chgData name="Paul LEGEARD" userId="73b5704d-da1d-4b70-8e12-6d54d32b01a3" providerId="ADAL" clId="{6A0B0392-5B89-4C63-A1D8-1EA797692AC0}" dt="2023-04-17T08:00:49.788" v="4998"/>
          <ac:spMkLst>
            <pc:docMk/>
            <pc:sldMk cId="752261033" sldId="2147469825"/>
            <ac:spMk id="59" creationId="{61E08D61-182F-6839-BDAB-C3B0342AE8FF}"/>
          </ac:spMkLst>
        </pc:spChg>
        <pc:spChg chg="mod">
          <ac:chgData name="Paul LEGEARD" userId="73b5704d-da1d-4b70-8e12-6d54d32b01a3" providerId="ADAL" clId="{6A0B0392-5B89-4C63-A1D8-1EA797692AC0}" dt="2023-04-17T08:03:10.793" v="5311" actId="14100"/>
          <ac:spMkLst>
            <pc:docMk/>
            <pc:sldMk cId="752261033" sldId="2147469825"/>
            <ac:spMk id="60" creationId="{F4A8AD2A-05A7-8586-7429-E12B0627FAE9}"/>
          </ac:spMkLst>
        </pc:spChg>
        <pc:spChg chg="mod">
          <ac:chgData name="Paul LEGEARD" userId="73b5704d-da1d-4b70-8e12-6d54d32b01a3" providerId="ADAL" clId="{6A0B0392-5B89-4C63-A1D8-1EA797692AC0}" dt="2023-04-17T08:01:42.543" v="5084"/>
          <ac:spMkLst>
            <pc:docMk/>
            <pc:sldMk cId="752261033" sldId="2147469825"/>
            <ac:spMk id="62" creationId="{51C6B5CE-7583-5292-C41B-3F12B32F85CD}"/>
          </ac:spMkLst>
        </pc:spChg>
        <pc:spChg chg="mod">
          <ac:chgData name="Paul LEGEARD" userId="73b5704d-da1d-4b70-8e12-6d54d32b01a3" providerId="ADAL" clId="{6A0B0392-5B89-4C63-A1D8-1EA797692AC0}" dt="2023-04-17T08:02:10.237" v="5149" actId="6549"/>
          <ac:spMkLst>
            <pc:docMk/>
            <pc:sldMk cId="752261033" sldId="2147469825"/>
            <ac:spMk id="63" creationId="{7D9EC274-2857-7007-B657-552F9D80D0FA}"/>
          </ac:spMkLst>
        </pc:spChg>
        <pc:spChg chg="mod">
          <ac:chgData name="Paul LEGEARD" userId="73b5704d-da1d-4b70-8e12-6d54d32b01a3" providerId="ADAL" clId="{6A0B0392-5B89-4C63-A1D8-1EA797692AC0}" dt="2023-04-17T08:02:15.509" v="5150"/>
          <ac:spMkLst>
            <pc:docMk/>
            <pc:sldMk cId="752261033" sldId="2147469825"/>
            <ac:spMk id="65" creationId="{C9AEA61F-1768-E4E8-03D1-FC0980E3DB0F}"/>
          </ac:spMkLst>
        </pc:spChg>
        <pc:spChg chg="mod">
          <ac:chgData name="Paul LEGEARD" userId="73b5704d-da1d-4b70-8e12-6d54d32b01a3" providerId="ADAL" clId="{6A0B0392-5B89-4C63-A1D8-1EA797692AC0}" dt="2023-04-17T08:02:34.366" v="5218" actId="14100"/>
          <ac:spMkLst>
            <pc:docMk/>
            <pc:sldMk cId="752261033" sldId="2147469825"/>
            <ac:spMk id="66" creationId="{BC3A736A-4BF1-5AF6-848D-F07506026132}"/>
          </ac:spMkLst>
        </pc:spChg>
        <pc:spChg chg="mod">
          <ac:chgData name="Paul LEGEARD" userId="73b5704d-da1d-4b70-8e12-6d54d32b01a3" providerId="ADAL" clId="{6A0B0392-5B89-4C63-A1D8-1EA797692AC0}" dt="2023-04-17T08:02:15.509" v="5150"/>
          <ac:spMkLst>
            <pc:docMk/>
            <pc:sldMk cId="752261033" sldId="2147469825"/>
            <ac:spMk id="68" creationId="{1CC98A76-D94F-2921-9DEC-6123F8359198}"/>
          </ac:spMkLst>
        </pc:spChg>
        <pc:spChg chg="mod">
          <ac:chgData name="Paul LEGEARD" userId="73b5704d-da1d-4b70-8e12-6d54d32b01a3" providerId="ADAL" clId="{6A0B0392-5B89-4C63-A1D8-1EA797692AC0}" dt="2023-04-17T08:02:38.931" v="5224" actId="20577"/>
          <ac:spMkLst>
            <pc:docMk/>
            <pc:sldMk cId="752261033" sldId="2147469825"/>
            <ac:spMk id="69" creationId="{82CA29DF-B533-34DB-C823-F59D978703CA}"/>
          </ac:spMkLst>
        </pc:spChg>
        <pc:spChg chg="mod">
          <ac:chgData name="Paul LEGEARD" userId="73b5704d-da1d-4b70-8e12-6d54d32b01a3" providerId="ADAL" clId="{6A0B0392-5B89-4C63-A1D8-1EA797692AC0}" dt="2023-04-17T08:02:15.509" v="5150"/>
          <ac:spMkLst>
            <pc:docMk/>
            <pc:sldMk cId="752261033" sldId="2147469825"/>
            <ac:spMk id="71" creationId="{0A84BD10-1FDC-9FEC-ABE7-BD406D7409BB}"/>
          </ac:spMkLst>
        </pc:spChg>
        <pc:spChg chg="mod">
          <ac:chgData name="Paul LEGEARD" userId="73b5704d-da1d-4b70-8e12-6d54d32b01a3" providerId="ADAL" clId="{6A0B0392-5B89-4C63-A1D8-1EA797692AC0}" dt="2023-04-17T08:02:52.180" v="5262" actId="313"/>
          <ac:spMkLst>
            <pc:docMk/>
            <pc:sldMk cId="752261033" sldId="2147469825"/>
            <ac:spMk id="72" creationId="{B1B0DC16-39CC-806B-99A8-570D0205E8F8}"/>
          </ac:spMkLst>
        </pc:spChg>
        <pc:spChg chg="mod">
          <ac:chgData name="Paul LEGEARD" userId="73b5704d-da1d-4b70-8e12-6d54d32b01a3" providerId="ADAL" clId="{6A0B0392-5B89-4C63-A1D8-1EA797692AC0}" dt="2023-04-17T08:02:15.509" v="5150"/>
          <ac:spMkLst>
            <pc:docMk/>
            <pc:sldMk cId="752261033" sldId="2147469825"/>
            <ac:spMk id="74" creationId="{F6F151B4-6A18-8D26-11EB-867232E95C68}"/>
          </ac:spMkLst>
        </pc:spChg>
        <pc:spChg chg="mod">
          <ac:chgData name="Paul LEGEARD" userId="73b5704d-da1d-4b70-8e12-6d54d32b01a3" providerId="ADAL" clId="{6A0B0392-5B89-4C63-A1D8-1EA797692AC0}" dt="2023-04-17T08:02:55.341" v="5283" actId="20577"/>
          <ac:spMkLst>
            <pc:docMk/>
            <pc:sldMk cId="752261033" sldId="2147469825"/>
            <ac:spMk id="75" creationId="{020ECD64-BA68-7C01-2BA4-82DACD5557D5}"/>
          </ac:spMkLst>
        </pc:spChg>
        <pc:spChg chg="mod">
          <ac:chgData name="Paul LEGEARD" userId="73b5704d-da1d-4b70-8e12-6d54d32b01a3" providerId="ADAL" clId="{6A0B0392-5B89-4C63-A1D8-1EA797692AC0}" dt="2023-04-17T08:02:15.509" v="5150"/>
          <ac:spMkLst>
            <pc:docMk/>
            <pc:sldMk cId="752261033" sldId="2147469825"/>
            <ac:spMk id="77" creationId="{981047A7-19D6-4C9D-17B5-32F978F31E4C}"/>
          </ac:spMkLst>
        </pc:spChg>
        <pc:spChg chg="mod">
          <ac:chgData name="Paul LEGEARD" userId="73b5704d-da1d-4b70-8e12-6d54d32b01a3" providerId="ADAL" clId="{6A0B0392-5B89-4C63-A1D8-1EA797692AC0}" dt="2023-04-17T08:02:15.509" v="5150"/>
          <ac:spMkLst>
            <pc:docMk/>
            <pc:sldMk cId="752261033" sldId="2147469825"/>
            <ac:spMk id="78" creationId="{7AFFAD6B-08A3-FDE8-CE70-DC41A75007B6}"/>
          </ac:spMkLst>
        </pc:spChg>
        <pc:spChg chg="mod">
          <ac:chgData name="Paul LEGEARD" userId="73b5704d-da1d-4b70-8e12-6d54d32b01a3" providerId="ADAL" clId="{6A0B0392-5B89-4C63-A1D8-1EA797692AC0}" dt="2023-04-17T08:02:15.509" v="5150"/>
          <ac:spMkLst>
            <pc:docMk/>
            <pc:sldMk cId="752261033" sldId="2147469825"/>
            <ac:spMk id="80" creationId="{6E67029B-B26E-507B-AE95-C997C3E288F8}"/>
          </ac:spMkLst>
        </pc:spChg>
        <pc:spChg chg="mod">
          <ac:chgData name="Paul LEGEARD" userId="73b5704d-da1d-4b70-8e12-6d54d32b01a3" providerId="ADAL" clId="{6A0B0392-5B89-4C63-A1D8-1EA797692AC0}" dt="2023-04-17T08:02:15.509" v="5150"/>
          <ac:spMkLst>
            <pc:docMk/>
            <pc:sldMk cId="752261033" sldId="2147469825"/>
            <ac:spMk id="81" creationId="{997F1F6E-67D1-02C6-2C3D-62E4AA8090E2}"/>
          </ac:spMkLst>
        </pc:spChg>
        <pc:spChg chg="add del mod">
          <ac:chgData name="Paul LEGEARD" userId="73b5704d-da1d-4b70-8e12-6d54d32b01a3" providerId="ADAL" clId="{6A0B0392-5B89-4C63-A1D8-1EA797692AC0}" dt="2023-04-17T08:11:41.914" v="6019" actId="478"/>
          <ac:spMkLst>
            <pc:docMk/>
            <pc:sldMk cId="752261033" sldId="2147469825"/>
            <ac:spMk id="82" creationId="{AD7495D4-3A25-3D38-BAD6-2D894F5A2A06}"/>
          </ac:spMkLst>
        </pc:spChg>
        <pc:spChg chg="add del mod">
          <ac:chgData name="Paul LEGEARD" userId="73b5704d-da1d-4b70-8e12-6d54d32b01a3" providerId="ADAL" clId="{6A0B0392-5B89-4C63-A1D8-1EA797692AC0}" dt="2023-04-17T08:11:41.914" v="6019" actId="478"/>
          <ac:spMkLst>
            <pc:docMk/>
            <pc:sldMk cId="752261033" sldId="2147469825"/>
            <ac:spMk id="83" creationId="{F6A0DD26-E315-2523-11F5-08FD5137C40C}"/>
          </ac:spMkLst>
        </pc:spChg>
        <pc:spChg chg="add del mod">
          <ac:chgData name="Paul LEGEARD" userId="73b5704d-da1d-4b70-8e12-6d54d32b01a3" providerId="ADAL" clId="{6A0B0392-5B89-4C63-A1D8-1EA797692AC0}" dt="2023-04-17T08:11:41.914" v="6019" actId="478"/>
          <ac:spMkLst>
            <pc:docMk/>
            <pc:sldMk cId="752261033" sldId="2147469825"/>
            <ac:spMk id="84" creationId="{CCF614FD-58C0-7404-EE72-F5001EDB68F2}"/>
          </ac:spMkLst>
        </pc:spChg>
        <pc:spChg chg="add del mod">
          <ac:chgData name="Paul LEGEARD" userId="73b5704d-da1d-4b70-8e12-6d54d32b01a3" providerId="ADAL" clId="{6A0B0392-5B89-4C63-A1D8-1EA797692AC0}" dt="2023-04-17T08:11:41.914" v="6019" actId="478"/>
          <ac:spMkLst>
            <pc:docMk/>
            <pc:sldMk cId="752261033" sldId="2147469825"/>
            <ac:spMk id="85" creationId="{70176AE2-5F1A-DD9C-CC50-EF6AB68233C1}"/>
          </ac:spMkLst>
        </pc:spChg>
        <pc:spChg chg="add del mod">
          <ac:chgData name="Paul LEGEARD" userId="73b5704d-da1d-4b70-8e12-6d54d32b01a3" providerId="ADAL" clId="{6A0B0392-5B89-4C63-A1D8-1EA797692AC0}" dt="2023-04-17T08:11:41.914" v="6019" actId="478"/>
          <ac:spMkLst>
            <pc:docMk/>
            <pc:sldMk cId="752261033" sldId="2147469825"/>
            <ac:spMk id="86" creationId="{60C2E6B9-5386-50CB-D8DC-B0E99B8ACBC8}"/>
          </ac:spMkLst>
        </pc:spChg>
        <pc:spChg chg="add del mod">
          <ac:chgData name="Paul LEGEARD" userId="73b5704d-da1d-4b70-8e12-6d54d32b01a3" providerId="ADAL" clId="{6A0B0392-5B89-4C63-A1D8-1EA797692AC0}" dt="2023-04-17T08:11:41.914" v="6019" actId="478"/>
          <ac:spMkLst>
            <pc:docMk/>
            <pc:sldMk cId="752261033" sldId="2147469825"/>
            <ac:spMk id="87" creationId="{D4B4F7C9-F5E5-DABB-977D-611C19B41B1D}"/>
          </ac:spMkLst>
        </pc:spChg>
        <pc:spChg chg="add del mod">
          <ac:chgData name="Paul LEGEARD" userId="73b5704d-da1d-4b70-8e12-6d54d32b01a3" providerId="ADAL" clId="{6A0B0392-5B89-4C63-A1D8-1EA797692AC0}" dt="2023-04-17T08:11:41.914" v="6019" actId="478"/>
          <ac:spMkLst>
            <pc:docMk/>
            <pc:sldMk cId="752261033" sldId="2147469825"/>
            <ac:spMk id="88" creationId="{6930319E-3DD0-55C1-911E-CA67CCC9090E}"/>
          </ac:spMkLst>
        </pc:spChg>
        <pc:spChg chg="add mod">
          <ac:chgData name="Paul LEGEARD" userId="73b5704d-da1d-4b70-8e12-6d54d32b01a3" providerId="ADAL" clId="{6A0B0392-5B89-4C63-A1D8-1EA797692AC0}" dt="2023-04-17T08:11:48.932" v="6023" actId="14100"/>
          <ac:spMkLst>
            <pc:docMk/>
            <pc:sldMk cId="752261033" sldId="2147469825"/>
            <ac:spMk id="89" creationId="{D27EE455-9A4E-E3B0-9126-79CC9BC6D56D}"/>
          </ac:spMkLst>
        </pc:spChg>
        <pc:spChg chg="add mod">
          <ac:chgData name="Paul LEGEARD" userId="73b5704d-da1d-4b70-8e12-6d54d32b01a3" providerId="ADAL" clId="{6A0B0392-5B89-4C63-A1D8-1EA797692AC0}" dt="2023-04-17T08:11:57.810" v="6047"/>
          <ac:spMkLst>
            <pc:docMk/>
            <pc:sldMk cId="752261033" sldId="2147469825"/>
            <ac:spMk id="90" creationId="{0D93863D-34DB-0179-C33A-DB44383C67D3}"/>
          </ac:spMkLst>
        </pc:spChg>
        <pc:spChg chg="add mod">
          <ac:chgData name="Paul LEGEARD" userId="73b5704d-da1d-4b70-8e12-6d54d32b01a3" providerId="ADAL" clId="{6A0B0392-5B89-4C63-A1D8-1EA797692AC0}" dt="2023-04-17T08:11:44.528" v="6021" actId="1076"/>
          <ac:spMkLst>
            <pc:docMk/>
            <pc:sldMk cId="752261033" sldId="2147469825"/>
            <ac:spMk id="91" creationId="{E9EBBD36-D568-111B-6CE2-1A18BB0F1CC2}"/>
          </ac:spMkLst>
        </pc:spChg>
        <pc:spChg chg="add mod">
          <ac:chgData name="Paul LEGEARD" userId="73b5704d-da1d-4b70-8e12-6d54d32b01a3" providerId="ADAL" clId="{6A0B0392-5B89-4C63-A1D8-1EA797692AC0}" dt="2023-04-17T08:12:17.990" v="6069" actId="12788"/>
          <ac:spMkLst>
            <pc:docMk/>
            <pc:sldMk cId="752261033" sldId="2147469825"/>
            <ac:spMk id="92" creationId="{412DB4A6-5736-F125-923E-1DDF790AA53D}"/>
          </ac:spMkLst>
        </pc:spChg>
        <pc:spChg chg="add mod">
          <ac:chgData name="Paul LEGEARD" userId="73b5704d-da1d-4b70-8e12-6d54d32b01a3" providerId="ADAL" clId="{6A0B0392-5B89-4C63-A1D8-1EA797692AC0}" dt="2023-04-17T08:12:17.990" v="6069" actId="12788"/>
          <ac:spMkLst>
            <pc:docMk/>
            <pc:sldMk cId="752261033" sldId="2147469825"/>
            <ac:spMk id="93" creationId="{B04BA27B-78D4-8DC9-4CB7-FAD04329F6A0}"/>
          </ac:spMkLst>
        </pc:spChg>
        <pc:spChg chg="add mod">
          <ac:chgData name="Paul LEGEARD" userId="73b5704d-da1d-4b70-8e12-6d54d32b01a3" providerId="ADAL" clId="{6A0B0392-5B89-4C63-A1D8-1EA797692AC0}" dt="2023-04-17T08:12:24.237" v="6071" actId="1076"/>
          <ac:spMkLst>
            <pc:docMk/>
            <pc:sldMk cId="752261033" sldId="2147469825"/>
            <ac:spMk id="94" creationId="{323CD112-1CB2-8DBF-675D-C6B9D7D9B593}"/>
          </ac:spMkLst>
        </pc:spChg>
        <pc:spChg chg="add mod">
          <ac:chgData name="Paul LEGEARD" userId="73b5704d-da1d-4b70-8e12-6d54d32b01a3" providerId="ADAL" clId="{6A0B0392-5B89-4C63-A1D8-1EA797692AC0}" dt="2023-04-17T08:12:55.570" v="6105" actId="122"/>
          <ac:spMkLst>
            <pc:docMk/>
            <pc:sldMk cId="752261033" sldId="2147469825"/>
            <ac:spMk id="95" creationId="{EBB46A10-DA89-9EAA-E7CA-B6E11DFA944B}"/>
          </ac:spMkLst>
        </pc:spChg>
        <pc:spChg chg="add mod">
          <ac:chgData name="Paul LEGEARD" userId="73b5704d-da1d-4b70-8e12-6d54d32b01a3" providerId="ADAL" clId="{6A0B0392-5B89-4C63-A1D8-1EA797692AC0}" dt="2023-04-17T08:12:39.871" v="6098" actId="1076"/>
          <ac:spMkLst>
            <pc:docMk/>
            <pc:sldMk cId="752261033" sldId="2147469825"/>
            <ac:spMk id="96" creationId="{49FEE037-215F-EAE8-2FAA-76D912030AC4}"/>
          </ac:spMkLst>
        </pc:spChg>
        <pc:spChg chg="add mod">
          <ac:chgData name="Paul LEGEARD" userId="73b5704d-da1d-4b70-8e12-6d54d32b01a3" providerId="ADAL" clId="{6A0B0392-5B89-4C63-A1D8-1EA797692AC0}" dt="2023-04-17T08:12:41.635" v="6100" actId="1076"/>
          <ac:spMkLst>
            <pc:docMk/>
            <pc:sldMk cId="752261033" sldId="2147469825"/>
            <ac:spMk id="97" creationId="{3FBA69AC-91DB-0A40-C899-B30B13A98228}"/>
          </ac:spMkLst>
        </pc:spChg>
        <pc:grpChg chg="del">
          <ac:chgData name="Paul LEGEARD" userId="73b5704d-da1d-4b70-8e12-6d54d32b01a3" providerId="ADAL" clId="{6A0B0392-5B89-4C63-A1D8-1EA797692AC0}" dt="2023-04-17T07:55:12.893" v="4309" actId="478"/>
          <ac:grpSpMkLst>
            <pc:docMk/>
            <pc:sldMk cId="752261033" sldId="2147469825"/>
            <ac:grpSpMk id="32" creationId="{C8F67862-79E8-5F51-C377-AAE2AEE87552}"/>
          </ac:grpSpMkLst>
        </pc:grpChg>
        <pc:grpChg chg="del">
          <ac:chgData name="Paul LEGEARD" userId="73b5704d-da1d-4b70-8e12-6d54d32b01a3" providerId="ADAL" clId="{6A0B0392-5B89-4C63-A1D8-1EA797692AC0}" dt="2023-04-17T07:55:12.893" v="4309" actId="478"/>
          <ac:grpSpMkLst>
            <pc:docMk/>
            <pc:sldMk cId="752261033" sldId="2147469825"/>
            <ac:grpSpMk id="33" creationId="{EB9ACBD9-A932-A2DB-332E-40CCAED08B9A}"/>
          </ac:grpSpMkLst>
        </pc:grpChg>
        <pc:grpChg chg="del">
          <ac:chgData name="Paul LEGEARD" userId="73b5704d-da1d-4b70-8e12-6d54d32b01a3" providerId="ADAL" clId="{6A0B0392-5B89-4C63-A1D8-1EA797692AC0}" dt="2023-04-17T07:55:12.893" v="4309" actId="478"/>
          <ac:grpSpMkLst>
            <pc:docMk/>
            <pc:sldMk cId="752261033" sldId="2147469825"/>
            <ac:grpSpMk id="34" creationId="{2A0A5477-F107-6562-A344-DA1BFCD7AA53}"/>
          </ac:grpSpMkLst>
        </pc:grpChg>
        <pc:grpChg chg="add del mod">
          <ac:chgData name="Paul LEGEARD" userId="73b5704d-da1d-4b70-8e12-6d54d32b01a3" providerId="ADAL" clId="{6A0B0392-5B89-4C63-A1D8-1EA797692AC0}" dt="2023-04-17T08:11:41.914" v="6019" actId="478"/>
          <ac:grpSpMkLst>
            <pc:docMk/>
            <pc:sldMk cId="752261033" sldId="2147469825"/>
            <ac:grpSpMk id="39" creationId="{F072E5FE-4877-6D54-B83A-2E7F220BF795}"/>
          </ac:grpSpMkLst>
        </pc:grpChg>
        <pc:grpChg chg="add del mod">
          <ac:chgData name="Paul LEGEARD" userId="73b5704d-da1d-4b70-8e12-6d54d32b01a3" providerId="ADAL" clId="{6A0B0392-5B89-4C63-A1D8-1EA797692AC0}" dt="2023-04-17T08:11:41.914" v="6019" actId="478"/>
          <ac:grpSpMkLst>
            <pc:docMk/>
            <pc:sldMk cId="752261033" sldId="2147469825"/>
            <ac:grpSpMk id="40" creationId="{86D888D8-6BA3-B32D-1C16-B082CEDD6E08}"/>
          </ac:grpSpMkLst>
        </pc:grpChg>
        <pc:grpChg chg="add del mod">
          <ac:chgData name="Paul LEGEARD" userId="73b5704d-da1d-4b70-8e12-6d54d32b01a3" providerId="ADAL" clId="{6A0B0392-5B89-4C63-A1D8-1EA797692AC0}" dt="2023-04-17T07:59:39.246" v="4795"/>
          <ac:grpSpMkLst>
            <pc:docMk/>
            <pc:sldMk cId="752261033" sldId="2147469825"/>
            <ac:grpSpMk id="43" creationId="{724B3235-36A9-5A90-2152-E80C91DFBE8C}"/>
          </ac:grpSpMkLst>
        </pc:grpChg>
        <pc:grpChg chg="add del mod">
          <ac:chgData name="Paul LEGEARD" userId="73b5704d-da1d-4b70-8e12-6d54d32b01a3" providerId="ADAL" clId="{6A0B0392-5B89-4C63-A1D8-1EA797692AC0}" dt="2023-04-17T07:59:39.246" v="4795"/>
          <ac:grpSpMkLst>
            <pc:docMk/>
            <pc:sldMk cId="752261033" sldId="2147469825"/>
            <ac:grpSpMk id="46" creationId="{3D0C3566-D5F4-BADB-0DAC-41459CB75882}"/>
          </ac:grpSpMkLst>
        </pc:grpChg>
        <pc:grpChg chg="add del mod">
          <ac:chgData name="Paul LEGEARD" userId="73b5704d-da1d-4b70-8e12-6d54d32b01a3" providerId="ADAL" clId="{6A0B0392-5B89-4C63-A1D8-1EA797692AC0}" dt="2023-04-17T08:11:41.914" v="6019" actId="478"/>
          <ac:grpSpMkLst>
            <pc:docMk/>
            <pc:sldMk cId="752261033" sldId="2147469825"/>
            <ac:grpSpMk id="49" creationId="{E826F180-0D52-ED58-97FC-07EF77C204A4}"/>
          </ac:grpSpMkLst>
        </pc:grpChg>
        <pc:grpChg chg="add del mod">
          <ac:chgData name="Paul LEGEARD" userId="73b5704d-da1d-4b70-8e12-6d54d32b01a3" providerId="ADAL" clId="{6A0B0392-5B89-4C63-A1D8-1EA797692AC0}" dt="2023-04-17T08:11:41.914" v="6019" actId="478"/>
          <ac:grpSpMkLst>
            <pc:docMk/>
            <pc:sldMk cId="752261033" sldId="2147469825"/>
            <ac:grpSpMk id="52" creationId="{FC39120F-F07D-614E-94E9-98702EC3B74B}"/>
          </ac:grpSpMkLst>
        </pc:grpChg>
        <pc:grpChg chg="add del mod">
          <ac:chgData name="Paul LEGEARD" userId="73b5704d-da1d-4b70-8e12-6d54d32b01a3" providerId="ADAL" clId="{6A0B0392-5B89-4C63-A1D8-1EA797692AC0}" dt="2023-04-17T08:00:48.256" v="4997"/>
          <ac:grpSpMkLst>
            <pc:docMk/>
            <pc:sldMk cId="752261033" sldId="2147469825"/>
            <ac:grpSpMk id="55" creationId="{9595F2E0-3062-C37B-35D6-4E9CBD8D1D4E}"/>
          </ac:grpSpMkLst>
        </pc:grpChg>
        <pc:grpChg chg="add del mod">
          <ac:chgData name="Paul LEGEARD" userId="73b5704d-da1d-4b70-8e12-6d54d32b01a3" providerId="ADAL" clId="{6A0B0392-5B89-4C63-A1D8-1EA797692AC0}" dt="2023-04-17T08:11:41.914" v="6019" actId="478"/>
          <ac:grpSpMkLst>
            <pc:docMk/>
            <pc:sldMk cId="752261033" sldId="2147469825"/>
            <ac:grpSpMk id="58" creationId="{F6E07DF5-DE73-1EE2-5807-2B86B0454B67}"/>
          </ac:grpSpMkLst>
        </pc:grpChg>
        <pc:grpChg chg="add del mod">
          <ac:chgData name="Paul LEGEARD" userId="73b5704d-da1d-4b70-8e12-6d54d32b01a3" providerId="ADAL" clId="{6A0B0392-5B89-4C63-A1D8-1EA797692AC0}" dt="2023-04-17T08:11:41.914" v="6019" actId="478"/>
          <ac:grpSpMkLst>
            <pc:docMk/>
            <pc:sldMk cId="752261033" sldId="2147469825"/>
            <ac:grpSpMk id="61" creationId="{6FA547B2-262E-80D1-5282-A0898B78236E}"/>
          </ac:grpSpMkLst>
        </pc:grpChg>
        <pc:grpChg chg="add del mod">
          <ac:chgData name="Paul LEGEARD" userId="73b5704d-da1d-4b70-8e12-6d54d32b01a3" providerId="ADAL" clId="{6A0B0392-5B89-4C63-A1D8-1EA797692AC0}" dt="2023-04-17T08:11:41.914" v="6019" actId="478"/>
          <ac:grpSpMkLst>
            <pc:docMk/>
            <pc:sldMk cId="752261033" sldId="2147469825"/>
            <ac:grpSpMk id="64" creationId="{F25C215F-48DF-AEB0-82AF-AD301A9CD9FB}"/>
          </ac:grpSpMkLst>
        </pc:grpChg>
        <pc:grpChg chg="add del mod">
          <ac:chgData name="Paul LEGEARD" userId="73b5704d-da1d-4b70-8e12-6d54d32b01a3" providerId="ADAL" clId="{6A0B0392-5B89-4C63-A1D8-1EA797692AC0}" dt="2023-04-17T08:11:41.914" v="6019" actId="478"/>
          <ac:grpSpMkLst>
            <pc:docMk/>
            <pc:sldMk cId="752261033" sldId="2147469825"/>
            <ac:grpSpMk id="67" creationId="{49181BD3-07F2-49CA-BBE0-3AF3E981AF06}"/>
          </ac:grpSpMkLst>
        </pc:grpChg>
        <pc:grpChg chg="add del mod">
          <ac:chgData name="Paul LEGEARD" userId="73b5704d-da1d-4b70-8e12-6d54d32b01a3" providerId="ADAL" clId="{6A0B0392-5B89-4C63-A1D8-1EA797692AC0}" dt="2023-04-17T08:11:41.914" v="6019" actId="478"/>
          <ac:grpSpMkLst>
            <pc:docMk/>
            <pc:sldMk cId="752261033" sldId="2147469825"/>
            <ac:grpSpMk id="70" creationId="{E071C4C1-00FA-9954-5B12-A49C85F0B86B}"/>
          </ac:grpSpMkLst>
        </pc:grpChg>
        <pc:grpChg chg="add del mod">
          <ac:chgData name="Paul LEGEARD" userId="73b5704d-da1d-4b70-8e12-6d54d32b01a3" providerId="ADAL" clId="{6A0B0392-5B89-4C63-A1D8-1EA797692AC0}" dt="2023-04-17T08:11:41.914" v="6019" actId="478"/>
          <ac:grpSpMkLst>
            <pc:docMk/>
            <pc:sldMk cId="752261033" sldId="2147469825"/>
            <ac:grpSpMk id="73" creationId="{DCC244FA-8914-5AD1-C7C2-CCBF16FF16F4}"/>
          </ac:grpSpMkLst>
        </pc:grpChg>
        <pc:grpChg chg="add del mod">
          <ac:chgData name="Paul LEGEARD" userId="73b5704d-da1d-4b70-8e12-6d54d32b01a3" providerId="ADAL" clId="{6A0B0392-5B89-4C63-A1D8-1EA797692AC0}" dt="2023-04-17T08:03:12.901" v="5312" actId="478"/>
          <ac:grpSpMkLst>
            <pc:docMk/>
            <pc:sldMk cId="752261033" sldId="2147469825"/>
            <ac:grpSpMk id="76" creationId="{983AB9C1-DBCB-09DF-71D9-7A46F840063C}"/>
          </ac:grpSpMkLst>
        </pc:grpChg>
        <pc:grpChg chg="add del mod">
          <ac:chgData name="Paul LEGEARD" userId="73b5704d-da1d-4b70-8e12-6d54d32b01a3" providerId="ADAL" clId="{6A0B0392-5B89-4C63-A1D8-1EA797692AC0}" dt="2023-04-17T08:03:13.954" v="5313" actId="478"/>
          <ac:grpSpMkLst>
            <pc:docMk/>
            <pc:sldMk cId="752261033" sldId="2147469825"/>
            <ac:grpSpMk id="79" creationId="{213423FB-15F0-7B6F-5B1E-51B6216FF015}"/>
          </ac:grpSpMkLst>
        </pc:grpChg>
      </pc:sldChg>
      <pc:sldChg chg="addSp delSp modSp add del mod">
        <pc:chgData name="Paul LEGEARD" userId="73b5704d-da1d-4b70-8e12-6d54d32b01a3" providerId="ADAL" clId="{6A0B0392-5B89-4C63-A1D8-1EA797692AC0}" dt="2023-04-17T15:31:04.189" v="7401" actId="47"/>
        <pc:sldMkLst>
          <pc:docMk/>
          <pc:sldMk cId="1030069154" sldId="2147469826"/>
        </pc:sldMkLst>
        <pc:spChg chg="del">
          <ac:chgData name="Paul LEGEARD" userId="73b5704d-da1d-4b70-8e12-6d54d32b01a3" providerId="ADAL" clId="{6A0B0392-5B89-4C63-A1D8-1EA797692AC0}" dt="2023-04-17T08:03:47.444" v="5330" actId="478"/>
          <ac:spMkLst>
            <pc:docMk/>
            <pc:sldMk cId="1030069154" sldId="2147469826"/>
            <ac:spMk id="2" creationId="{7130E836-7FAA-F6F4-1521-A48732FF31EF}"/>
          </ac:spMkLst>
        </pc:spChg>
        <pc:spChg chg="add mod ord">
          <ac:chgData name="Paul LEGEARD" userId="73b5704d-da1d-4b70-8e12-6d54d32b01a3" providerId="ADAL" clId="{6A0B0392-5B89-4C63-A1D8-1EA797692AC0}" dt="2023-04-17T08:06:22.257" v="5451" actId="208"/>
          <ac:spMkLst>
            <pc:docMk/>
            <pc:sldMk cId="1030069154" sldId="2147469826"/>
            <ac:spMk id="3" creationId="{77A44AF7-0B46-E129-4923-0420D45C11C8}"/>
          </ac:spMkLst>
        </pc:spChg>
        <pc:spChg chg="mod">
          <ac:chgData name="Paul LEGEARD" userId="73b5704d-da1d-4b70-8e12-6d54d32b01a3" providerId="ADAL" clId="{6A0B0392-5B89-4C63-A1D8-1EA797692AC0}" dt="2023-04-17T08:04:00.489" v="5342" actId="20577"/>
          <ac:spMkLst>
            <pc:docMk/>
            <pc:sldMk cId="1030069154" sldId="2147469826"/>
            <ac:spMk id="4" creationId="{52AFB3F8-88A7-4D69-8A52-45D00774625C}"/>
          </ac:spMkLst>
        </pc:spChg>
        <pc:spChg chg="add mod ord">
          <ac:chgData name="Paul LEGEARD" userId="73b5704d-da1d-4b70-8e12-6d54d32b01a3" providerId="ADAL" clId="{6A0B0392-5B89-4C63-A1D8-1EA797692AC0}" dt="2023-04-17T08:06:22.257" v="5451" actId="208"/>
          <ac:spMkLst>
            <pc:docMk/>
            <pc:sldMk cId="1030069154" sldId="2147469826"/>
            <ac:spMk id="5" creationId="{DA60F24F-1CB7-56A1-C5CC-099BEC5C82DC}"/>
          </ac:spMkLst>
        </pc:spChg>
        <pc:spChg chg="del">
          <ac:chgData name="Paul LEGEARD" userId="73b5704d-da1d-4b70-8e12-6d54d32b01a3" providerId="ADAL" clId="{6A0B0392-5B89-4C63-A1D8-1EA797692AC0}" dt="2023-04-17T08:03:47.444" v="5330" actId="478"/>
          <ac:spMkLst>
            <pc:docMk/>
            <pc:sldMk cId="1030069154" sldId="2147469826"/>
            <ac:spMk id="6" creationId="{ABDEA24B-D7D3-0C25-E9BD-45BD25FEAF34}"/>
          </ac:spMkLst>
        </pc:spChg>
        <pc:spChg chg="del">
          <ac:chgData name="Paul LEGEARD" userId="73b5704d-da1d-4b70-8e12-6d54d32b01a3" providerId="ADAL" clId="{6A0B0392-5B89-4C63-A1D8-1EA797692AC0}" dt="2023-04-17T08:03:47.444" v="5330" actId="478"/>
          <ac:spMkLst>
            <pc:docMk/>
            <pc:sldMk cId="1030069154" sldId="2147469826"/>
            <ac:spMk id="7" creationId="{023FD100-34E9-FF11-DB9F-1AA98BB9CED4}"/>
          </ac:spMkLst>
        </pc:spChg>
        <pc:spChg chg="add mod ord">
          <ac:chgData name="Paul LEGEARD" userId="73b5704d-da1d-4b70-8e12-6d54d32b01a3" providerId="ADAL" clId="{6A0B0392-5B89-4C63-A1D8-1EA797692AC0}" dt="2023-04-17T08:06:22.257" v="5451" actId="208"/>
          <ac:spMkLst>
            <pc:docMk/>
            <pc:sldMk cId="1030069154" sldId="2147469826"/>
            <ac:spMk id="9" creationId="{36FAE49B-9847-DF97-CE9E-1E303F50A992}"/>
          </ac:spMkLst>
        </pc:spChg>
        <pc:spChg chg="del">
          <ac:chgData name="Paul LEGEARD" userId="73b5704d-da1d-4b70-8e12-6d54d32b01a3" providerId="ADAL" clId="{6A0B0392-5B89-4C63-A1D8-1EA797692AC0}" dt="2023-04-17T08:03:47.444" v="5330" actId="478"/>
          <ac:spMkLst>
            <pc:docMk/>
            <pc:sldMk cId="1030069154" sldId="2147469826"/>
            <ac:spMk id="10" creationId="{263092C6-ABE8-7197-4F63-255D08E3EA9E}"/>
          </ac:spMkLst>
        </pc:spChg>
        <pc:spChg chg="del">
          <ac:chgData name="Paul LEGEARD" userId="73b5704d-da1d-4b70-8e12-6d54d32b01a3" providerId="ADAL" clId="{6A0B0392-5B89-4C63-A1D8-1EA797692AC0}" dt="2023-04-17T08:03:47.444" v="5330" actId="478"/>
          <ac:spMkLst>
            <pc:docMk/>
            <pc:sldMk cId="1030069154" sldId="2147469826"/>
            <ac:spMk id="11" creationId="{4FAB2DBA-8B97-1381-BAD9-7A5FD753D48F}"/>
          </ac:spMkLst>
        </pc:spChg>
        <pc:spChg chg="del">
          <ac:chgData name="Paul LEGEARD" userId="73b5704d-da1d-4b70-8e12-6d54d32b01a3" providerId="ADAL" clId="{6A0B0392-5B89-4C63-A1D8-1EA797692AC0}" dt="2023-04-17T08:03:47.444" v="5330" actId="478"/>
          <ac:spMkLst>
            <pc:docMk/>
            <pc:sldMk cId="1030069154" sldId="2147469826"/>
            <ac:spMk id="12" creationId="{FD1355C0-E24E-2CE1-A850-525B99045127}"/>
          </ac:spMkLst>
        </pc:spChg>
        <pc:spChg chg="add mod">
          <ac:chgData name="Paul LEGEARD" userId="73b5704d-da1d-4b70-8e12-6d54d32b01a3" providerId="ADAL" clId="{6A0B0392-5B89-4C63-A1D8-1EA797692AC0}" dt="2023-04-17T08:06:44.885" v="5478" actId="1076"/>
          <ac:spMkLst>
            <pc:docMk/>
            <pc:sldMk cId="1030069154" sldId="2147469826"/>
            <ac:spMk id="13" creationId="{B9A80C5C-42C3-4836-6B0E-AC429B302B0A}"/>
          </ac:spMkLst>
        </pc:spChg>
        <pc:spChg chg="mod topLvl">
          <ac:chgData name="Paul LEGEARD" userId="73b5704d-da1d-4b70-8e12-6d54d32b01a3" providerId="ADAL" clId="{6A0B0392-5B89-4C63-A1D8-1EA797692AC0}" dt="2023-04-17T08:05:20.275" v="5431" actId="165"/>
          <ac:spMkLst>
            <pc:docMk/>
            <pc:sldMk cId="1030069154" sldId="2147469826"/>
            <ac:spMk id="14" creationId="{EE197B05-FC9C-3E57-ED3C-DE04C30FDC63}"/>
          </ac:spMkLst>
        </pc:spChg>
        <pc:spChg chg="del">
          <ac:chgData name="Paul LEGEARD" userId="73b5704d-da1d-4b70-8e12-6d54d32b01a3" providerId="ADAL" clId="{6A0B0392-5B89-4C63-A1D8-1EA797692AC0}" dt="2023-04-17T08:04:01.928" v="5343" actId="478"/>
          <ac:spMkLst>
            <pc:docMk/>
            <pc:sldMk cId="1030069154" sldId="2147469826"/>
            <ac:spMk id="15" creationId="{ACB5953D-DAAE-AC36-6F7C-CAC0E55582B3}"/>
          </ac:spMkLst>
        </pc:spChg>
        <pc:spChg chg="add mod">
          <ac:chgData name="Paul LEGEARD" userId="73b5704d-da1d-4b70-8e12-6d54d32b01a3" providerId="ADAL" clId="{6A0B0392-5B89-4C63-A1D8-1EA797692AC0}" dt="2023-04-17T08:06:54.904" v="5488" actId="20577"/>
          <ac:spMkLst>
            <pc:docMk/>
            <pc:sldMk cId="1030069154" sldId="2147469826"/>
            <ac:spMk id="16" creationId="{3F7C9352-BD82-B00D-FB48-9BFBD0C8502A}"/>
          </ac:spMkLst>
        </pc:spChg>
        <pc:spChg chg="add mod">
          <ac:chgData name="Paul LEGEARD" userId="73b5704d-da1d-4b70-8e12-6d54d32b01a3" providerId="ADAL" clId="{6A0B0392-5B89-4C63-A1D8-1EA797692AC0}" dt="2023-04-17T08:06:56.942" v="5492" actId="20577"/>
          <ac:spMkLst>
            <pc:docMk/>
            <pc:sldMk cId="1030069154" sldId="2147469826"/>
            <ac:spMk id="17" creationId="{4433BC84-5B44-8586-A6AF-3D3A2B4D9777}"/>
          </ac:spMkLst>
        </pc:spChg>
        <pc:spChg chg="add mod">
          <ac:chgData name="Paul LEGEARD" userId="73b5704d-da1d-4b70-8e12-6d54d32b01a3" providerId="ADAL" clId="{6A0B0392-5B89-4C63-A1D8-1EA797692AC0}" dt="2023-04-17T08:07:07.934" v="5494" actId="1076"/>
          <ac:spMkLst>
            <pc:docMk/>
            <pc:sldMk cId="1030069154" sldId="2147469826"/>
            <ac:spMk id="18" creationId="{9553F2F7-75D9-8772-0277-0E7B5B24F828}"/>
          </ac:spMkLst>
        </pc:spChg>
        <pc:spChg chg="add mod">
          <ac:chgData name="Paul LEGEARD" userId="73b5704d-da1d-4b70-8e12-6d54d32b01a3" providerId="ADAL" clId="{6A0B0392-5B89-4C63-A1D8-1EA797692AC0}" dt="2023-04-17T08:07:10.593" v="5496" actId="1076"/>
          <ac:spMkLst>
            <pc:docMk/>
            <pc:sldMk cId="1030069154" sldId="2147469826"/>
            <ac:spMk id="19" creationId="{B8A6D261-DB63-403C-DA64-DD0E7FCFC7DF}"/>
          </ac:spMkLst>
        </pc:spChg>
        <pc:spChg chg="add mod">
          <ac:chgData name="Paul LEGEARD" userId="73b5704d-da1d-4b70-8e12-6d54d32b01a3" providerId="ADAL" clId="{6A0B0392-5B89-4C63-A1D8-1EA797692AC0}" dt="2023-04-17T08:07:14.205" v="5498" actId="1076"/>
          <ac:spMkLst>
            <pc:docMk/>
            <pc:sldMk cId="1030069154" sldId="2147469826"/>
            <ac:spMk id="20" creationId="{27759212-EEE7-3C77-DAB0-EB75379C9909}"/>
          </ac:spMkLst>
        </pc:spChg>
        <pc:spChg chg="add mod">
          <ac:chgData name="Paul LEGEARD" userId="73b5704d-da1d-4b70-8e12-6d54d32b01a3" providerId="ADAL" clId="{6A0B0392-5B89-4C63-A1D8-1EA797692AC0}" dt="2023-04-17T08:07:18.178" v="5500" actId="1076"/>
          <ac:spMkLst>
            <pc:docMk/>
            <pc:sldMk cId="1030069154" sldId="2147469826"/>
            <ac:spMk id="21" creationId="{E8A67120-5D19-1DF4-F1F3-240A8063AFD1}"/>
          </ac:spMkLst>
        </pc:spChg>
        <pc:spChg chg="add mod">
          <ac:chgData name="Paul LEGEARD" userId="73b5704d-da1d-4b70-8e12-6d54d32b01a3" providerId="ADAL" clId="{6A0B0392-5B89-4C63-A1D8-1EA797692AC0}" dt="2023-04-17T08:07:20.963" v="5502" actId="1076"/>
          <ac:spMkLst>
            <pc:docMk/>
            <pc:sldMk cId="1030069154" sldId="2147469826"/>
            <ac:spMk id="22" creationId="{31E97665-2936-B32E-D56E-29791D9B241B}"/>
          </ac:spMkLst>
        </pc:spChg>
        <pc:spChg chg="add mod">
          <ac:chgData name="Paul LEGEARD" userId="73b5704d-da1d-4b70-8e12-6d54d32b01a3" providerId="ADAL" clId="{6A0B0392-5B89-4C63-A1D8-1EA797692AC0}" dt="2023-04-17T08:07:24.418" v="5504" actId="1076"/>
          <ac:spMkLst>
            <pc:docMk/>
            <pc:sldMk cId="1030069154" sldId="2147469826"/>
            <ac:spMk id="23" creationId="{3B37F8B9-DB65-C420-35C9-59C5AF559104}"/>
          </ac:spMkLst>
        </pc:spChg>
        <pc:spChg chg="del mod">
          <ac:chgData name="Paul LEGEARD" userId="73b5704d-da1d-4b70-8e12-6d54d32b01a3" providerId="ADAL" clId="{6A0B0392-5B89-4C63-A1D8-1EA797692AC0}" dt="2023-04-17T08:03:51.503" v="5332" actId="478"/>
          <ac:spMkLst>
            <pc:docMk/>
            <pc:sldMk cId="1030069154" sldId="2147469826"/>
            <ac:spMk id="25" creationId="{B1BF2E3D-6487-09D9-E21E-5A7968C9FFAB}"/>
          </ac:spMkLst>
        </pc:spChg>
        <pc:spChg chg="mod">
          <ac:chgData name="Paul LEGEARD" userId="73b5704d-da1d-4b70-8e12-6d54d32b01a3" providerId="ADAL" clId="{6A0B0392-5B89-4C63-A1D8-1EA797692AC0}" dt="2023-04-17T08:08:40.526" v="5795" actId="1076"/>
          <ac:spMkLst>
            <pc:docMk/>
            <pc:sldMk cId="1030069154" sldId="2147469826"/>
            <ac:spMk id="26" creationId="{18F24087-672C-ACD2-EC90-776B31EED514}"/>
          </ac:spMkLst>
        </pc:spChg>
        <pc:spChg chg="mod topLvl">
          <ac:chgData name="Paul LEGEARD" userId="73b5704d-da1d-4b70-8e12-6d54d32b01a3" providerId="ADAL" clId="{6A0B0392-5B89-4C63-A1D8-1EA797692AC0}" dt="2023-04-17T08:05:29.649" v="5432" actId="14100"/>
          <ac:spMkLst>
            <pc:docMk/>
            <pc:sldMk cId="1030069154" sldId="2147469826"/>
            <ac:spMk id="35" creationId="{372A8BF4-4068-1E94-393F-572EAEE31CAF}"/>
          </ac:spMkLst>
        </pc:spChg>
        <pc:spChg chg="del">
          <ac:chgData name="Paul LEGEARD" userId="73b5704d-da1d-4b70-8e12-6d54d32b01a3" providerId="ADAL" clId="{6A0B0392-5B89-4C63-A1D8-1EA797692AC0}" dt="2023-04-17T08:03:47.444" v="5330" actId="478"/>
          <ac:spMkLst>
            <pc:docMk/>
            <pc:sldMk cId="1030069154" sldId="2147469826"/>
            <ac:spMk id="36" creationId="{9F97C811-D404-B4B8-8AE6-DBA6788EE250}"/>
          </ac:spMkLst>
        </pc:spChg>
        <pc:spChg chg="mod topLvl">
          <ac:chgData name="Paul LEGEARD" userId="73b5704d-da1d-4b70-8e12-6d54d32b01a3" providerId="ADAL" clId="{6A0B0392-5B89-4C63-A1D8-1EA797692AC0}" dt="2023-04-17T08:05:29.649" v="5432" actId="14100"/>
          <ac:spMkLst>
            <pc:docMk/>
            <pc:sldMk cId="1030069154" sldId="2147469826"/>
            <ac:spMk id="41" creationId="{86584A10-7734-3EE6-F276-E83297915D86}"/>
          </ac:spMkLst>
        </pc:spChg>
        <pc:spChg chg="mod topLvl">
          <ac:chgData name="Paul LEGEARD" userId="73b5704d-da1d-4b70-8e12-6d54d32b01a3" providerId="ADAL" clId="{6A0B0392-5B89-4C63-A1D8-1EA797692AC0}" dt="2023-04-17T08:05:20.275" v="5431" actId="165"/>
          <ac:spMkLst>
            <pc:docMk/>
            <pc:sldMk cId="1030069154" sldId="2147469826"/>
            <ac:spMk id="42" creationId="{6E6F954B-F444-F5B7-115C-00E3460B342D}"/>
          </ac:spMkLst>
        </pc:spChg>
        <pc:spChg chg="mod topLvl">
          <ac:chgData name="Paul LEGEARD" userId="73b5704d-da1d-4b70-8e12-6d54d32b01a3" providerId="ADAL" clId="{6A0B0392-5B89-4C63-A1D8-1EA797692AC0}" dt="2023-04-17T08:05:29.649" v="5432" actId="14100"/>
          <ac:spMkLst>
            <pc:docMk/>
            <pc:sldMk cId="1030069154" sldId="2147469826"/>
            <ac:spMk id="50" creationId="{A0CA17D8-7069-6D70-4A86-5B3C9CD48C3C}"/>
          </ac:spMkLst>
        </pc:spChg>
        <pc:spChg chg="mod topLvl">
          <ac:chgData name="Paul LEGEARD" userId="73b5704d-da1d-4b70-8e12-6d54d32b01a3" providerId="ADAL" clId="{6A0B0392-5B89-4C63-A1D8-1EA797692AC0}" dt="2023-04-17T08:05:20.275" v="5431" actId="165"/>
          <ac:spMkLst>
            <pc:docMk/>
            <pc:sldMk cId="1030069154" sldId="2147469826"/>
            <ac:spMk id="51" creationId="{C167E37F-D271-9C38-922A-4A57BABC9BE5}"/>
          </ac:spMkLst>
        </pc:spChg>
        <pc:spChg chg="mod topLvl">
          <ac:chgData name="Paul LEGEARD" userId="73b5704d-da1d-4b70-8e12-6d54d32b01a3" providerId="ADAL" clId="{6A0B0392-5B89-4C63-A1D8-1EA797692AC0}" dt="2023-04-17T08:05:29.649" v="5432" actId="14100"/>
          <ac:spMkLst>
            <pc:docMk/>
            <pc:sldMk cId="1030069154" sldId="2147469826"/>
            <ac:spMk id="53" creationId="{0EE0B64F-2927-9E6A-86FE-70DF7C2EF746}"/>
          </ac:spMkLst>
        </pc:spChg>
        <pc:spChg chg="mod topLvl">
          <ac:chgData name="Paul LEGEARD" userId="73b5704d-da1d-4b70-8e12-6d54d32b01a3" providerId="ADAL" clId="{6A0B0392-5B89-4C63-A1D8-1EA797692AC0}" dt="2023-04-17T08:05:20.275" v="5431" actId="165"/>
          <ac:spMkLst>
            <pc:docMk/>
            <pc:sldMk cId="1030069154" sldId="2147469826"/>
            <ac:spMk id="54" creationId="{32B9396F-4518-C52B-4618-918327C0C50F}"/>
          </ac:spMkLst>
        </pc:spChg>
        <pc:spChg chg="mod topLvl">
          <ac:chgData name="Paul LEGEARD" userId="73b5704d-da1d-4b70-8e12-6d54d32b01a3" providerId="ADAL" clId="{6A0B0392-5B89-4C63-A1D8-1EA797692AC0}" dt="2023-04-17T08:05:29.649" v="5432" actId="14100"/>
          <ac:spMkLst>
            <pc:docMk/>
            <pc:sldMk cId="1030069154" sldId="2147469826"/>
            <ac:spMk id="59" creationId="{61E08D61-182F-6839-BDAB-C3B0342AE8FF}"/>
          </ac:spMkLst>
        </pc:spChg>
        <pc:spChg chg="mod topLvl">
          <ac:chgData name="Paul LEGEARD" userId="73b5704d-da1d-4b70-8e12-6d54d32b01a3" providerId="ADAL" clId="{6A0B0392-5B89-4C63-A1D8-1EA797692AC0}" dt="2023-04-17T08:05:20.275" v="5431" actId="165"/>
          <ac:spMkLst>
            <pc:docMk/>
            <pc:sldMk cId="1030069154" sldId="2147469826"/>
            <ac:spMk id="60" creationId="{F4A8AD2A-05A7-8586-7429-E12B0627FAE9}"/>
          </ac:spMkLst>
        </pc:spChg>
        <pc:spChg chg="mod topLvl">
          <ac:chgData name="Paul LEGEARD" userId="73b5704d-da1d-4b70-8e12-6d54d32b01a3" providerId="ADAL" clId="{6A0B0392-5B89-4C63-A1D8-1EA797692AC0}" dt="2023-04-17T08:05:29.649" v="5432" actId="14100"/>
          <ac:spMkLst>
            <pc:docMk/>
            <pc:sldMk cId="1030069154" sldId="2147469826"/>
            <ac:spMk id="62" creationId="{51C6B5CE-7583-5292-C41B-3F12B32F85CD}"/>
          </ac:spMkLst>
        </pc:spChg>
        <pc:spChg chg="mod topLvl">
          <ac:chgData name="Paul LEGEARD" userId="73b5704d-da1d-4b70-8e12-6d54d32b01a3" providerId="ADAL" clId="{6A0B0392-5B89-4C63-A1D8-1EA797692AC0}" dt="2023-04-17T08:05:20.275" v="5431" actId="165"/>
          <ac:spMkLst>
            <pc:docMk/>
            <pc:sldMk cId="1030069154" sldId="2147469826"/>
            <ac:spMk id="63" creationId="{7D9EC274-2857-7007-B657-552F9D80D0FA}"/>
          </ac:spMkLst>
        </pc:spChg>
        <pc:spChg chg="mod topLvl">
          <ac:chgData name="Paul LEGEARD" userId="73b5704d-da1d-4b70-8e12-6d54d32b01a3" providerId="ADAL" clId="{6A0B0392-5B89-4C63-A1D8-1EA797692AC0}" dt="2023-04-17T08:05:29.649" v="5432" actId="14100"/>
          <ac:spMkLst>
            <pc:docMk/>
            <pc:sldMk cId="1030069154" sldId="2147469826"/>
            <ac:spMk id="65" creationId="{C9AEA61F-1768-E4E8-03D1-FC0980E3DB0F}"/>
          </ac:spMkLst>
        </pc:spChg>
        <pc:spChg chg="mod topLvl">
          <ac:chgData name="Paul LEGEARD" userId="73b5704d-da1d-4b70-8e12-6d54d32b01a3" providerId="ADAL" clId="{6A0B0392-5B89-4C63-A1D8-1EA797692AC0}" dt="2023-04-17T08:05:20.275" v="5431" actId="165"/>
          <ac:spMkLst>
            <pc:docMk/>
            <pc:sldMk cId="1030069154" sldId="2147469826"/>
            <ac:spMk id="66" creationId="{BC3A736A-4BF1-5AF6-848D-F07506026132}"/>
          </ac:spMkLst>
        </pc:spChg>
        <pc:spChg chg="mod topLvl">
          <ac:chgData name="Paul LEGEARD" userId="73b5704d-da1d-4b70-8e12-6d54d32b01a3" providerId="ADAL" clId="{6A0B0392-5B89-4C63-A1D8-1EA797692AC0}" dt="2023-04-17T08:05:29.649" v="5432" actId="14100"/>
          <ac:spMkLst>
            <pc:docMk/>
            <pc:sldMk cId="1030069154" sldId="2147469826"/>
            <ac:spMk id="68" creationId="{1CC98A76-D94F-2921-9DEC-6123F8359198}"/>
          </ac:spMkLst>
        </pc:spChg>
        <pc:spChg chg="mod topLvl">
          <ac:chgData name="Paul LEGEARD" userId="73b5704d-da1d-4b70-8e12-6d54d32b01a3" providerId="ADAL" clId="{6A0B0392-5B89-4C63-A1D8-1EA797692AC0}" dt="2023-04-17T08:05:20.275" v="5431" actId="165"/>
          <ac:spMkLst>
            <pc:docMk/>
            <pc:sldMk cId="1030069154" sldId="2147469826"/>
            <ac:spMk id="69" creationId="{82CA29DF-B533-34DB-C823-F59D978703CA}"/>
          </ac:spMkLst>
        </pc:spChg>
        <pc:spChg chg="mod topLvl">
          <ac:chgData name="Paul LEGEARD" userId="73b5704d-da1d-4b70-8e12-6d54d32b01a3" providerId="ADAL" clId="{6A0B0392-5B89-4C63-A1D8-1EA797692AC0}" dt="2023-04-17T08:05:29.649" v="5432" actId="14100"/>
          <ac:spMkLst>
            <pc:docMk/>
            <pc:sldMk cId="1030069154" sldId="2147469826"/>
            <ac:spMk id="71" creationId="{0A84BD10-1FDC-9FEC-ABE7-BD406D7409BB}"/>
          </ac:spMkLst>
        </pc:spChg>
        <pc:spChg chg="mod topLvl">
          <ac:chgData name="Paul LEGEARD" userId="73b5704d-da1d-4b70-8e12-6d54d32b01a3" providerId="ADAL" clId="{6A0B0392-5B89-4C63-A1D8-1EA797692AC0}" dt="2023-04-17T08:05:20.275" v="5431" actId="165"/>
          <ac:spMkLst>
            <pc:docMk/>
            <pc:sldMk cId="1030069154" sldId="2147469826"/>
            <ac:spMk id="72" creationId="{B1B0DC16-39CC-806B-99A8-570D0205E8F8}"/>
          </ac:spMkLst>
        </pc:spChg>
        <pc:spChg chg="mod topLvl">
          <ac:chgData name="Paul LEGEARD" userId="73b5704d-da1d-4b70-8e12-6d54d32b01a3" providerId="ADAL" clId="{6A0B0392-5B89-4C63-A1D8-1EA797692AC0}" dt="2023-04-17T08:05:29.649" v="5432" actId="14100"/>
          <ac:spMkLst>
            <pc:docMk/>
            <pc:sldMk cId="1030069154" sldId="2147469826"/>
            <ac:spMk id="74" creationId="{F6F151B4-6A18-8D26-11EB-867232E95C68}"/>
          </ac:spMkLst>
        </pc:spChg>
        <pc:spChg chg="mod topLvl">
          <ac:chgData name="Paul LEGEARD" userId="73b5704d-da1d-4b70-8e12-6d54d32b01a3" providerId="ADAL" clId="{6A0B0392-5B89-4C63-A1D8-1EA797692AC0}" dt="2023-04-17T08:05:20.275" v="5431" actId="165"/>
          <ac:spMkLst>
            <pc:docMk/>
            <pc:sldMk cId="1030069154" sldId="2147469826"/>
            <ac:spMk id="75" creationId="{020ECD64-BA68-7C01-2BA4-82DACD5557D5}"/>
          </ac:spMkLst>
        </pc:spChg>
        <pc:spChg chg="del">
          <ac:chgData name="Paul LEGEARD" userId="73b5704d-da1d-4b70-8e12-6d54d32b01a3" providerId="ADAL" clId="{6A0B0392-5B89-4C63-A1D8-1EA797692AC0}" dt="2023-04-17T08:04:07.613" v="5344" actId="478"/>
          <ac:spMkLst>
            <pc:docMk/>
            <pc:sldMk cId="1030069154" sldId="2147469826"/>
            <ac:spMk id="82" creationId="{AD7495D4-3A25-3D38-BAD6-2D894F5A2A06}"/>
          </ac:spMkLst>
        </pc:spChg>
        <pc:spChg chg="del">
          <ac:chgData name="Paul LEGEARD" userId="73b5704d-da1d-4b70-8e12-6d54d32b01a3" providerId="ADAL" clId="{6A0B0392-5B89-4C63-A1D8-1EA797692AC0}" dt="2023-04-17T08:04:07.991" v="5345" actId="478"/>
          <ac:spMkLst>
            <pc:docMk/>
            <pc:sldMk cId="1030069154" sldId="2147469826"/>
            <ac:spMk id="83" creationId="{F6A0DD26-E315-2523-11F5-08FD5137C40C}"/>
          </ac:spMkLst>
        </pc:spChg>
        <pc:spChg chg="del">
          <ac:chgData name="Paul LEGEARD" userId="73b5704d-da1d-4b70-8e12-6d54d32b01a3" providerId="ADAL" clId="{6A0B0392-5B89-4C63-A1D8-1EA797692AC0}" dt="2023-04-17T08:04:09.943" v="5348" actId="478"/>
          <ac:spMkLst>
            <pc:docMk/>
            <pc:sldMk cId="1030069154" sldId="2147469826"/>
            <ac:spMk id="84" creationId="{CCF614FD-58C0-7404-EE72-F5001EDB68F2}"/>
          </ac:spMkLst>
        </pc:spChg>
        <pc:spChg chg="del">
          <ac:chgData name="Paul LEGEARD" userId="73b5704d-da1d-4b70-8e12-6d54d32b01a3" providerId="ADAL" clId="{6A0B0392-5B89-4C63-A1D8-1EA797692AC0}" dt="2023-04-17T08:04:15.351" v="5350" actId="478"/>
          <ac:spMkLst>
            <pc:docMk/>
            <pc:sldMk cId="1030069154" sldId="2147469826"/>
            <ac:spMk id="85" creationId="{70176AE2-5F1A-DD9C-CC50-EF6AB68233C1}"/>
          </ac:spMkLst>
        </pc:spChg>
        <pc:spChg chg="del">
          <ac:chgData name="Paul LEGEARD" userId="73b5704d-da1d-4b70-8e12-6d54d32b01a3" providerId="ADAL" clId="{6A0B0392-5B89-4C63-A1D8-1EA797692AC0}" dt="2023-04-17T08:04:15.351" v="5350" actId="478"/>
          <ac:spMkLst>
            <pc:docMk/>
            <pc:sldMk cId="1030069154" sldId="2147469826"/>
            <ac:spMk id="86" creationId="{60C2E6B9-5386-50CB-D8DC-B0E99B8ACBC8}"/>
          </ac:spMkLst>
        </pc:spChg>
        <pc:spChg chg="del">
          <ac:chgData name="Paul LEGEARD" userId="73b5704d-da1d-4b70-8e12-6d54d32b01a3" providerId="ADAL" clId="{6A0B0392-5B89-4C63-A1D8-1EA797692AC0}" dt="2023-04-17T08:04:15.351" v="5350" actId="478"/>
          <ac:spMkLst>
            <pc:docMk/>
            <pc:sldMk cId="1030069154" sldId="2147469826"/>
            <ac:spMk id="87" creationId="{D4B4F7C9-F5E5-DABB-977D-611C19B41B1D}"/>
          </ac:spMkLst>
        </pc:spChg>
        <pc:spChg chg="del">
          <ac:chgData name="Paul LEGEARD" userId="73b5704d-da1d-4b70-8e12-6d54d32b01a3" providerId="ADAL" clId="{6A0B0392-5B89-4C63-A1D8-1EA797692AC0}" dt="2023-04-17T08:04:15.351" v="5350" actId="478"/>
          <ac:spMkLst>
            <pc:docMk/>
            <pc:sldMk cId="1030069154" sldId="2147469826"/>
            <ac:spMk id="88" creationId="{6930319E-3DD0-55C1-911E-CA67CCC9090E}"/>
          </ac:spMkLst>
        </pc:spChg>
        <pc:grpChg chg="del mod">
          <ac:chgData name="Paul LEGEARD" userId="73b5704d-da1d-4b70-8e12-6d54d32b01a3" providerId="ADAL" clId="{6A0B0392-5B89-4C63-A1D8-1EA797692AC0}" dt="2023-04-17T08:05:20.275" v="5431" actId="165"/>
          <ac:grpSpMkLst>
            <pc:docMk/>
            <pc:sldMk cId="1030069154" sldId="2147469826"/>
            <ac:grpSpMk id="39" creationId="{F072E5FE-4877-6D54-B83A-2E7F220BF795}"/>
          </ac:grpSpMkLst>
        </pc:grpChg>
        <pc:grpChg chg="add del mod">
          <ac:chgData name="Paul LEGEARD" userId="73b5704d-da1d-4b70-8e12-6d54d32b01a3" providerId="ADAL" clId="{6A0B0392-5B89-4C63-A1D8-1EA797692AC0}" dt="2023-04-17T08:05:20.275" v="5431" actId="165"/>
          <ac:grpSpMkLst>
            <pc:docMk/>
            <pc:sldMk cId="1030069154" sldId="2147469826"/>
            <ac:grpSpMk id="40" creationId="{86D888D8-6BA3-B32D-1C16-B082CEDD6E08}"/>
          </ac:grpSpMkLst>
        </pc:grpChg>
        <pc:grpChg chg="del mod">
          <ac:chgData name="Paul LEGEARD" userId="73b5704d-da1d-4b70-8e12-6d54d32b01a3" providerId="ADAL" clId="{6A0B0392-5B89-4C63-A1D8-1EA797692AC0}" dt="2023-04-17T08:05:20.275" v="5431" actId="165"/>
          <ac:grpSpMkLst>
            <pc:docMk/>
            <pc:sldMk cId="1030069154" sldId="2147469826"/>
            <ac:grpSpMk id="49" creationId="{E826F180-0D52-ED58-97FC-07EF77C204A4}"/>
          </ac:grpSpMkLst>
        </pc:grpChg>
        <pc:grpChg chg="del mod">
          <ac:chgData name="Paul LEGEARD" userId="73b5704d-da1d-4b70-8e12-6d54d32b01a3" providerId="ADAL" clId="{6A0B0392-5B89-4C63-A1D8-1EA797692AC0}" dt="2023-04-17T08:05:20.275" v="5431" actId="165"/>
          <ac:grpSpMkLst>
            <pc:docMk/>
            <pc:sldMk cId="1030069154" sldId="2147469826"/>
            <ac:grpSpMk id="52" creationId="{FC39120F-F07D-614E-94E9-98702EC3B74B}"/>
          </ac:grpSpMkLst>
        </pc:grpChg>
        <pc:grpChg chg="del mod">
          <ac:chgData name="Paul LEGEARD" userId="73b5704d-da1d-4b70-8e12-6d54d32b01a3" providerId="ADAL" clId="{6A0B0392-5B89-4C63-A1D8-1EA797692AC0}" dt="2023-04-17T08:05:20.275" v="5431" actId="165"/>
          <ac:grpSpMkLst>
            <pc:docMk/>
            <pc:sldMk cId="1030069154" sldId="2147469826"/>
            <ac:grpSpMk id="58" creationId="{F6E07DF5-DE73-1EE2-5807-2B86B0454B67}"/>
          </ac:grpSpMkLst>
        </pc:grpChg>
        <pc:grpChg chg="del mod">
          <ac:chgData name="Paul LEGEARD" userId="73b5704d-da1d-4b70-8e12-6d54d32b01a3" providerId="ADAL" clId="{6A0B0392-5B89-4C63-A1D8-1EA797692AC0}" dt="2023-04-17T08:05:20.275" v="5431" actId="165"/>
          <ac:grpSpMkLst>
            <pc:docMk/>
            <pc:sldMk cId="1030069154" sldId="2147469826"/>
            <ac:grpSpMk id="61" creationId="{6FA547B2-262E-80D1-5282-A0898B78236E}"/>
          </ac:grpSpMkLst>
        </pc:grpChg>
        <pc:grpChg chg="del mod">
          <ac:chgData name="Paul LEGEARD" userId="73b5704d-da1d-4b70-8e12-6d54d32b01a3" providerId="ADAL" clId="{6A0B0392-5B89-4C63-A1D8-1EA797692AC0}" dt="2023-04-17T08:05:20.275" v="5431" actId="165"/>
          <ac:grpSpMkLst>
            <pc:docMk/>
            <pc:sldMk cId="1030069154" sldId="2147469826"/>
            <ac:grpSpMk id="64" creationId="{F25C215F-48DF-AEB0-82AF-AD301A9CD9FB}"/>
          </ac:grpSpMkLst>
        </pc:grpChg>
        <pc:grpChg chg="del mod">
          <ac:chgData name="Paul LEGEARD" userId="73b5704d-da1d-4b70-8e12-6d54d32b01a3" providerId="ADAL" clId="{6A0B0392-5B89-4C63-A1D8-1EA797692AC0}" dt="2023-04-17T08:05:20.275" v="5431" actId="165"/>
          <ac:grpSpMkLst>
            <pc:docMk/>
            <pc:sldMk cId="1030069154" sldId="2147469826"/>
            <ac:grpSpMk id="67" creationId="{49181BD3-07F2-49CA-BBE0-3AF3E981AF06}"/>
          </ac:grpSpMkLst>
        </pc:grpChg>
        <pc:grpChg chg="del mod">
          <ac:chgData name="Paul LEGEARD" userId="73b5704d-da1d-4b70-8e12-6d54d32b01a3" providerId="ADAL" clId="{6A0B0392-5B89-4C63-A1D8-1EA797692AC0}" dt="2023-04-17T08:05:20.275" v="5431" actId="165"/>
          <ac:grpSpMkLst>
            <pc:docMk/>
            <pc:sldMk cId="1030069154" sldId="2147469826"/>
            <ac:grpSpMk id="70" creationId="{E071C4C1-00FA-9954-5B12-A49C85F0B86B}"/>
          </ac:grpSpMkLst>
        </pc:grpChg>
        <pc:grpChg chg="del mod">
          <ac:chgData name="Paul LEGEARD" userId="73b5704d-da1d-4b70-8e12-6d54d32b01a3" providerId="ADAL" clId="{6A0B0392-5B89-4C63-A1D8-1EA797692AC0}" dt="2023-04-17T08:05:20.275" v="5431" actId="165"/>
          <ac:grpSpMkLst>
            <pc:docMk/>
            <pc:sldMk cId="1030069154" sldId="2147469826"/>
            <ac:grpSpMk id="73" creationId="{DCC244FA-8914-5AD1-C7C2-CCBF16FF16F4}"/>
          </ac:grpSpMkLst>
        </pc:grpChg>
      </pc:sldChg>
      <pc:sldChg chg="delSp modSp add del mod">
        <pc:chgData name="Paul LEGEARD" userId="73b5704d-da1d-4b70-8e12-6d54d32b01a3" providerId="ADAL" clId="{6A0B0392-5B89-4C63-A1D8-1EA797692AC0}" dt="2023-04-17T13:36:46.022" v="6475" actId="2696"/>
        <pc:sldMkLst>
          <pc:docMk/>
          <pc:sldMk cId="2254355971" sldId="2147469827"/>
        </pc:sldMkLst>
        <pc:spChg chg="mod">
          <ac:chgData name="Paul LEGEARD" userId="73b5704d-da1d-4b70-8e12-6d54d32b01a3" providerId="ADAL" clId="{6A0B0392-5B89-4C63-A1D8-1EA797692AC0}" dt="2023-04-17T08:10:54.861" v="5990" actId="1076"/>
          <ac:spMkLst>
            <pc:docMk/>
            <pc:sldMk cId="2254355971" sldId="2147469827"/>
            <ac:spMk id="3" creationId="{4826D637-8A74-3228-572B-FE8D6CCB7F3D}"/>
          </ac:spMkLst>
        </pc:spChg>
        <pc:spChg chg="mod">
          <ac:chgData name="Paul LEGEARD" userId="73b5704d-da1d-4b70-8e12-6d54d32b01a3" providerId="ADAL" clId="{6A0B0392-5B89-4C63-A1D8-1EA797692AC0}" dt="2023-04-17T08:09:45.181" v="5846" actId="20577"/>
          <ac:spMkLst>
            <pc:docMk/>
            <pc:sldMk cId="2254355971" sldId="2147469827"/>
            <ac:spMk id="4" creationId="{52AFB3F8-88A7-4D69-8A52-45D00774625C}"/>
          </ac:spMkLst>
        </pc:spChg>
        <pc:spChg chg="mod">
          <ac:chgData name="Paul LEGEARD" userId="73b5704d-da1d-4b70-8e12-6d54d32b01a3" providerId="ADAL" clId="{6A0B0392-5B89-4C63-A1D8-1EA797692AC0}" dt="2023-04-17T08:10:54.861" v="5990" actId="1076"/>
          <ac:spMkLst>
            <pc:docMk/>
            <pc:sldMk cId="2254355971" sldId="2147469827"/>
            <ac:spMk id="5" creationId="{CE31C728-87A6-3958-0E76-05833775DD9E}"/>
          </ac:spMkLst>
        </pc:spChg>
        <pc:spChg chg="mod">
          <ac:chgData name="Paul LEGEARD" userId="73b5704d-da1d-4b70-8e12-6d54d32b01a3" providerId="ADAL" clId="{6A0B0392-5B89-4C63-A1D8-1EA797692AC0}" dt="2023-04-17T08:09:49.006" v="5848" actId="20577"/>
          <ac:spMkLst>
            <pc:docMk/>
            <pc:sldMk cId="2254355971" sldId="2147469827"/>
            <ac:spMk id="9" creationId="{D1BE5D8A-73A5-DAA4-F111-9F351AD06026}"/>
          </ac:spMkLst>
        </pc:spChg>
        <pc:spChg chg="mod">
          <ac:chgData name="Paul LEGEARD" userId="73b5704d-da1d-4b70-8e12-6d54d32b01a3" providerId="ADAL" clId="{6A0B0392-5B89-4C63-A1D8-1EA797692AC0}" dt="2023-04-17T08:10:54.861" v="5990" actId="1076"/>
          <ac:spMkLst>
            <pc:docMk/>
            <pc:sldMk cId="2254355971" sldId="2147469827"/>
            <ac:spMk id="16" creationId="{03F11543-D79C-5472-D9F1-A1DA38520F13}"/>
          </ac:spMkLst>
        </pc:spChg>
        <pc:spChg chg="mod">
          <ac:chgData name="Paul LEGEARD" userId="73b5704d-da1d-4b70-8e12-6d54d32b01a3" providerId="ADAL" clId="{6A0B0392-5B89-4C63-A1D8-1EA797692AC0}" dt="2023-04-17T08:10:54.861" v="5990" actId="1076"/>
          <ac:spMkLst>
            <pc:docMk/>
            <pc:sldMk cId="2254355971" sldId="2147469827"/>
            <ac:spMk id="19" creationId="{03F9484B-D681-AD9B-1A36-01BD882F0D9B}"/>
          </ac:spMkLst>
        </pc:spChg>
        <pc:spChg chg="mod">
          <ac:chgData name="Paul LEGEARD" userId="73b5704d-da1d-4b70-8e12-6d54d32b01a3" providerId="ADAL" clId="{6A0B0392-5B89-4C63-A1D8-1EA797692AC0}" dt="2023-04-17T08:09:52.328" v="5854" actId="20577"/>
          <ac:spMkLst>
            <pc:docMk/>
            <pc:sldMk cId="2254355971" sldId="2147469827"/>
            <ac:spMk id="20" creationId="{A600F0F3-B5AC-98F5-4D88-0873CCA863C6}"/>
          </ac:spMkLst>
        </pc:spChg>
        <pc:spChg chg="mod">
          <ac:chgData name="Paul LEGEARD" userId="73b5704d-da1d-4b70-8e12-6d54d32b01a3" providerId="ADAL" clId="{6A0B0392-5B89-4C63-A1D8-1EA797692AC0}" dt="2023-04-17T08:10:54.861" v="5990" actId="1076"/>
          <ac:spMkLst>
            <pc:docMk/>
            <pc:sldMk cId="2254355971" sldId="2147469827"/>
            <ac:spMk id="23" creationId="{2B12174B-DBA0-62AC-CCF1-CA21A62E72E2}"/>
          </ac:spMkLst>
        </pc:spChg>
        <pc:spChg chg="del">
          <ac:chgData name="Paul LEGEARD" userId="73b5704d-da1d-4b70-8e12-6d54d32b01a3" providerId="ADAL" clId="{6A0B0392-5B89-4C63-A1D8-1EA797692AC0}" dt="2023-04-17T08:10:10.694" v="5898" actId="478"/>
          <ac:spMkLst>
            <pc:docMk/>
            <pc:sldMk cId="2254355971" sldId="2147469827"/>
            <ac:spMk id="27" creationId="{92FABA35-BC7B-8F50-77B1-CE0DE1D918B0}"/>
          </ac:spMkLst>
        </pc:spChg>
        <pc:spChg chg="del">
          <ac:chgData name="Paul LEGEARD" userId="73b5704d-da1d-4b70-8e12-6d54d32b01a3" providerId="ADAL" clId="{6A0B0392-5B89-4C63-A1D8-1EA797692AC0}" dt="2023-04-17T08:10:10.694" v="5898" actId="478"/>
          <ac:spMkLst>
            <pc:docMk/>
            <pc:sldMk cId="2254355971" sldId="2147469827"/>
            <ac:spMk id="28" creationId="{477A16EC-CBF2-10C8-55A5-0CCDD554B3A8}"/>
          </ac:spMkLst>
        </pc:spChg>
        <pc:spChg chg="del">
          <ac:chgData name="Paul LEGEARD" userId="73b5704d-da1d-4b70-8e12-6d54d32b01a3" providerId="ADAL" clId="{6A0B0392-5B89-4C63-A1D8-1EA797692AC0}" dt="2023-04-17T08:10:10.694" v="5898" actId="478"/>
          <ac:spMkLst>
            <pc:docMk/>
            <pc:sldMk cId="2254355971" sldId="2147469827"/>
            <ac:spMk id="29" creationId="{35858527-A85C-8BB8-EF48-4B2F948048D9}"/>
          </ac:spMkLst>
        </pc:spChg>
        <pc:grpChg chg="mod">
          <ac:chgData name="Paul LEGEARD" userId="73b5704d-da1d-4b70-8e12-6d54d32b01a3" providerId="ADAL" clId="{6A0B0392-5B89-4C63-A1D8-1EA797692AC0}" dt="2023-04-17T08:10:54.861" v="5990" actId="1076"/>
          <ac:grpSpMkLst>
            <pc:docMk/>
            <pc:sldMk cId="2254355971" sldId="2147469827"/>
            <ac:grpSpMk id="32" creationId="{C8F67862-79E8-5F51-C377-AAE2AEE87552}"/>
          </ac:grpSpMkLst>
        </pc:grpChg>
        <pc:grpChg chg="mod">
          <ac:chgData name="Paul LEGEARD" userId="73b5704d-da1d-4b70-8e12-6d54d32b01a3" providerId="ADAL" clId="{6A0B0392-5B89-4C63-A1D8-1EA797692AC0}" dt="2023-04-17T08:10:54.861" v="5990" actId="1076"/>
          <ac:grpSpMkLst>
            <pc:docMk/>
            <pc:sldMk cId="2254355971" sldId="2147469827"/>
            <ac:grpSpMk id="33" creationId="{EB9ACBD9-A932-A2DB-332E-40CCAED08B9A}"/>
          </ac:grpSpMkLst>
        </pc:grpChg>
        <pc:grpChg chg="del">
          <ac:chgData name="Paul LEGEARD" userId="73b5704d-da1d-4b70-8e12-6d54d32b01a3" providerId="ADAL" clId="{6A0B0392-5B89-4C63-A1D8-1EA797692AC0}" dt="2023-04-17T08:10:10.694" v="5898" actId="478"/>
          <ac:grpSpMkLst>
            <pc:docMk/>
            <pc:sldMk cId="2254355971" sldId="2147469827"/>
            <ac:grpSpMk id="34" creationId="{2A0A5477-F107-6562-A344-DA1BFCD7AA53}"/>
          </ac:grpSpMkLst>
        </pc:grpChg>
      </pc:sldChg>
      <pc:sldChg chg="modSp add mod">
        <pc:chgData name="Paul LEGEARD" userId="73b5704d-da1d-4b70-8e12-6d54d32b01a3" providerId="ADAL" clId="{6A0B0392-5B89-4C63-A1D8-1EA797692AC0}" dt="2023-04-17T13:45:38.989" v="7005" actId="20577"/>
        <pc:sldMkLst>
          <pc:docMk/>
          <pc:sldMk cId="2511989454" sldId="2147469827"/>
        </pc:sldMkLst>
        <pc:spChg chg="mod">
          <ac:chgData name="Paul LEGEARD" userId="73b5704d-da1d-4b70-8e12-6d54d32b01a3" providerId="ADAL" clId="{6A0B0392-5B89-4C63-A1D8-1EA797692AC0}" dt="2023-04-17T13:45:38.989" v="7005" actId="20577"/>
          <ac:spMkLst>
            <pc:docMk/>
            <pc:sldMk cId="2511989454" sldId="2147469827"/>
            <ac:spMk id="16" creationId="{03F11543-D79C-5472-D9F1-A1DA38520F13}"/>
          </ac:spMkLst>
        </pc:spChg>
      </pc:sldChg>
      <pc:sldChg chg="modSp add del mod ord">
        <pc:chgData name="Paul LEGEARD" userId="73b5704d-da1d-4b70-8e12-6d54d32b01a3" providerId="ADAL" clId="{6A0B0392-5B89-4C63-A1D8-1EA797692AC0}" dt="2023-04-17T15:31:02.787" v="7399" actId="47"/>
        <pc:sldMkLst>
          <pc:docMk/>
          <pc:sldMk cId="225286122" sldId="2147469828"/>
        </pc:sldMkLst>
        <pc:spChg chg="mod">
          <ac:chgData name="Paul LEGEARD" userId="73b5704d-da1d-4b70-8e12-6d54d32b01a3" providerId="ADAL" clId="{6A0B0392-5B89-4C63-A1D8-1EA797692AC0}" dt="2023-04-17T08:11:25.866" v="6018" actId="20577"/>
          <ac:spMkLst>
            <pc:docMk/>
            <pc:sldMk cId="225286122" sldId="2147469828"/>
            <ac:spMk id="26" creationId="{18F24087-672C-ACD2-EC90-776B31EED514}"/>
          </ac:spMkLst>
        </pc:spChg>
      </pc:sldChg>
      <pc:sldChg chg="addSp delSp modSp add del mod ord">
        <pc:chgData name="Paul LEGEARD" userId="73b5704d-da1d-4b70-8e12-6d54d32b01a3" providerId="ADAL" clId="{6A0B0392-5B89-4C63-A1D8-1EA797692AC0}" dt="2023-04-17T13:39:43.188" v="6653" actId="47"/>
        <pc:sldMkLst>
          <pc:docMk/>
          <pc:sldMk cId="1352197783" sldId="2147469829"/>
        </pc:sldMkLst>
        <pc:spChg chg="add mod">
          <ac:chgData name="Paul LEGEARD" userId="73b5704d-da1d-4b70-8e12-6d54d32b01a3" providerId="ADAL" clId="{6A0B0392-5B89-4C63-A1D8-1EA797692AC0}" dt="2023-04-17T08:14:58.245" v="6145" actId="122"/>
          <ac:spMkLst>
            <pc:docMk/>
            <pc:sldMk cId="1352197783" sldId="2147469829"/>
            <ac:spMk id="3" creationId="{C29227C6-5445-BF7E-1573-27CAA9D59C9C}"/>
          </ac:spMkLst>
        </pc:spChg>
        <pc:spChg chg="mod">
          <ac:chgData name="Paul LEGEARD" userId="73b5704d-da1d-4b70-8e12-6d54d32b01a3" providerId="ADAL" clId="{6A0B0392-5B89-4C63-A1D8-1EA797692AC0}" dt="2023-04-17T08:14:39.697" v="6129" actId="20577"/>
          <ac:spMkLst>
            <pc:docMk/>
            <pc:sldMk cId="1352197783" sldId="2147469829"/>
            <ac:spMk id="4" creationId="{52AFB3F8-88A7-4D69-8A52-45D00774625C}"/>
          </ac:spMkLst>
        </pc:spChg>
        <pc:spChg chg="del">
          <ac:chgData name="Paul LEGEARD" userId="73b5704d-da1d-4b70-8e12-6d54d32b01a3" providerId="ADAL" clId="{6A0B0392-5B89-4C63-A1D8-1EA797692AC0}" dt="2023-04-17T08:14:41.525" v="6130" actId="478"/>
          <ac:spMkLst>
            <pc:docMk/>
            <pc:sldMk cId="1352197783" sldId="2147469829"/>
            <ac:spMk id="6" creationId="{85218550-C2C3-3ABA-C265-3AEB8EA15533}"/>
          </ac:spMkLst>
        </pc:spChg>
        <pc:spChg chg="del">
          <ac:chgData name="Paul LEGEARD" userId="73b5704d-da1d-4b70-8e12-6d54d32b01a3" providerId="ADAL" clId="{6A0B0392-5B89-4C63-A1D8-1EA797692AC0}" dt="2023-04-17T08:14:41.525" v="6130" actId="478"/>
          <ac:spMkLst>
            <pc:docMk/>
            <pc:sldMk cId="1352197783" sldId="2147469829"/>
            <ac:spMk id="9" creationId="{F65CBBED-5224-5076-0C31-381AF14C3C68}"/>
          </ac:spMkLst>
        </pc:spChg>
        <pc:spChg chg="del">
          <ac:chgData name="Paul LEGEARD" userId="73b5704d-da1d-4b70-8e12-6d54d32b01a3" providerId="ADAL" clId="{6A0B0392-5B89-4C63-A1D8-1EA797692AC0}" dt="2023-04-17T08:14:41.525" v="6130" actId="478"/>
          <ac:spMkLst>
            <pc:docMk/>
            <pc:sldMk cId="1352197783" sldId="2147469829"/>
            <ac:spMk id="10" creationId="{9EB876A4-742E-1318-8591-C31EE779B321}"/>
          </ac:spMkLst>
        </pc:spChg>
        <pc:spChg chg="del">
          <ac:chgData name="Paul LEGEARD" userId="73b5704d-da1d-4b70-8e12-6d54d32b01a3" providerId="ADAL" clId="{6A0B0392-5B89-4C63-A1D8-1EA797692AC0}" dt="2023-04-17T08:14:41.525" v="6130" actId="478"/>
          <ac:spMkLst>
            <pc:docMk/>
            <pc:sldMk cId="1352197783" sldId="2147469829"/>
            <ac:spMk id="17" creationId="{813F333F-BB36-886D-0017-80A1BA89C807}"/>
          </ac:spMkLst>
        </pc:spChg>
        <pc:spChg chg="del">
          <ac:chgData name="Paul LEGEARD" userId="73b5704d-da1d-4b70-8e12-6d54d32b01a3" providerId="ADAL" clId="{6A0B0392-5B89-4C63-A1D8-1EA797692AC0}" dt="2023-04-17T08:14:41.525" v="6130" actId="478"/>
          <ac:spMkLst>
            <pc:docMk/>
            <pc:sldMk cId="1352197783" sldId="2147469829"/>
            <ac:spMk id="22" creationId="{47C475A5-710A-FDBA-369A-6AC8B9941F71}"/>
          </ac:spMkLst>
        </pc:spChg>
        <pc:spChg chg="del">
          <ac:chgData name="Paul LEGEARD" userId="73b5704d-da1d-4b70-8e12-6d54d32b01a3" providerId="ADAL" clId="{6A0B0392-5B89-4C63-A1D8-1EA797692AC0}" dt="2023-04-17T08:14:41.525" v="6130" actId="478"/>
          <ac:spMkLst>
            <pc:docMk/>
            <pc:sldMk cId="1352197783" sldId="2147469829"/>
            <ac:spMk id="25" creationId="{0BA4A829-7A48-2E54-1F8A-DE46A12634A3}"/>
          </ac:spMkLst>
        </pc:spChg>
        <pc:spChg chg="del">
          <ac:chgData name="Paul LEGEARD" userId="73b5704d-da1d-4b70-8e12-6d54d32b01a3" providerId="ADAL" clId="{6A0B0392-5B89-4C63-A1D8-1EA797692AC0}" dt="2023-04-17T08:14:41.525" v="6130" actId="478"/>
          <ac:spMkLst>
            <pc:docMk/>
            <pc:sldMk cId="1352197783" sldId="2147469829"/>
            <ac:spMk id="26" creationId="{47528C7D-1BD8-1D0B-290B-65F9975458AD}"/>
          </ac:spMkLst>
        </pc:spChg>
        <pc:spChg chg="del">
          <ac:chgData name="Paul LEGEARD" userId="73b5704d-da1d-4b70-8e12-6d54d32b01a3" providerId="ADAL" clId="{6A0B0392-5B89-4C63-A1D8-1EA797692AC0}" dt="2023-04-17T08:14:41.525" v="6130" actId="478"/>
          <ac:spMkLst>
            <pc:docMk/>
            <pc:sldMk cId="1352197783" sldId="2147469829"/>
            <ac:spMk id="36" creationId="{2CCD79DA-D087-7117-092A-1ED114774991}"/>
          </ac:spMkLst>
        </pc:spChg>
        <pc:spChg chg="del">
          <ac:chgData name="Paul LEGEARD" userId="73b5704d-da1d-4b70-8e12-6d54d32b01a3" providerId="ADAL" clId="{6A0B0392-5B89-4C63-A1D8-1EA797692AC0}" dt="2023-04-17T08:14:41.525" v="6130" actId="478"/>
          <ac:spMkLst>
            <pc:docMk/>
            <pc:sldMk cId="1352197783" sldId="2147469829"/>
            <ac:spMk id="43" creationId="{E236D620-3491-897A-01D4-AE29622018FC}"/>
          </ac:spMkLst>
        </pc:spChg>
        <pc:spChg chg="del">
          <ac:chgData name="Paul LEGEARD" userId="73b5704d-da1d-4b70-8e12-6d54d32b01a3" providerId="ADAL" clId="{6A0B0392-5B89-4C63-A1D8-1EA797692AC0}" dt="2023-04-17T08:14:41.525" v="6130" actId="478"/>
          <ac:spMkLst>
            <pc:docMk/>
            <pc:sldMk cId="1352197783" sldId="2147469829"/>
            <ac:spMk id="44" creationId="{7DC99D69-5170-D330-6E5E-6D2792787C35}"/>
          </ac:spMkLst>
        </pc:spChg>
        <pc:spChg chg="del">
          <ac:chgData name="Paul LEGEARD" userId="73b5704d-da1d-4b70-8e12-6d54d32b01a3" providerId="ADAL" clId="{6A0B0392-5B89-4C63-A1D8-1EA797692AC0}" dt="2023-04-17T08:14:41.525" v="6130" actId="478"/>
          <ac:spMkLst>
            <pc:docMk/>
            <pc:sldMk cId="1352197783" sldId="2147469829"/>
            <ac:spMk id="45" creationId="{A1FED9C3-C256-B7A6-4FB7-6F727676AEC1}"/>
          </ac:spMkLst>
        </pc:spChg>
        <pc:spChg chg="del">
          <ac:chgData name="Paul LEGEARD" userId="73b5704d-da1d-4b70-8e12-6d54d32b01a3" providerId="ADAL" clId="{6A0B0392-5B89-4C63-A1D8-1EA797692AC0}" dt="2023-04-17T08:14:41.525" v="6130" actId="478"/>
          <ac:spMkLst>
            <pc:docMk/>
            <pc:sldMk cId="1352197783" sldId="2147469829"/>
            <ac:spMk id="46" creationId="{DAEAF24F-0861-79C6-8511-05BFB63124D9}"/>
          </ac:spMkLst>
        </pc:spChg>
        <pc:spChg chg="del">
          <ac:chgData name="Paul LEGEARD" userId="73b5704d-da1d-4b70-8e12-6d54d32b01a3" providerId="ADAL" clId="{6A0B0392-5B89-4C63-A1D8-1EA797692AC0}" dt="2023-04-17T08:14:41.525" v="6130" actId="478"/>
          <ac:spMkLst>
            <pc:docMk/>
            <pc:sldMk cId="1352197783" sldId="2147469829"/>
            <ac:spMk id="47" creationId="{43938DDB-7FA7-A527-CFDB-620CD7FABAEB}"/>
          </ac:spMkLst>
        </pc:spChg>
        <pc:picChg chg="del">
          <ac:chgData name="Paul LEGEARD" userId="73b5704d-da1d-4b70-8e12-6d54d32b01a3" providerId="ADAL" clId="{6A0B0392-5B89-4C63-A1D8-1EA797692AC0}" dt="2023-04-17T08:14:41.525" v="6130" actId="478"/>
          <ac:picMkLst>
            <pc:docMk/>
            <pc:sldMk cId="1352197783" sldId="2147469829"/>
            <ac:picMk id="11" creationId="{9E93D060-E1B1-8134-C289-6713DD64C315}"/>
          </ac:picMkLst>
        </pc:picChg>
        <pc:picChg chg="del">
          <ac:chgData name="Paul LEGEARD" userId="73b5704d-da1d-4b70-8e12-6d54d32b01a3" providerId="ADAL" clId="{6A0B0392-5B89-4C63-A1D8-1EA797692AC0}" dt="2023-04-17T08:14:41.525" v="6130" actId="478"/>
          <ac:picMkLst>
            <pc:docMk/>
            <pc:sldMk cId="1352197783" sldId="2147469829"/>
            <ac:picMk id="24" creationId="{6D551F6A-DDEB-AD8B-07EC-28358D62A54C}"/>
          </ac:picMkLst>
        </pc:picChg>
        <pc:picChg chg="del">
          <ac:chgData name="Paul LEGEARD" userId="73b5704d-da1d-4b70-8e12-6d54d32b01a3" providerId="ADAL" clId="{6A0B0392-5B89-4C63-A1D8-1EA797692AC0}" dt="2023-04-17T08:14:41.525" v="6130" actId="478"/>
          <ac:picMkLst>
            <pc:docMk/>
            <pc:sldMk cId="1352197783" sldId="2147469829"/>
            <ac:picMk id="38" creationId="{83C722D3-DE5D-1345-9435-E2AE811CF099}"/>
          </ac:picMkLst>
        </pc:picChg>
        <pc:cxnChg chg="del">
          <ac:chgData name="Paul LEGEARD" userId="73b5704d-da1d-4b70-8e12-6d54d32b01a3" providerId="ADAL" clId="{6A0B0392-5B89-4C63-A1D8-1EA797692AC0}" dt="2023-04-17T08:14:41.525" v="6130" actId="478"/>
          <ac:cxnSpMkLst>
            <pc:docMk/>
            <pc:sldMk cId="1352197783" sldId="2147469829"/>
            <ac:cxnSpMk id="2" creationId="{14765310-8D7B-00FF-E6FA-22E661861B87}"/>
          </ac:cxnSpMkLst>
        </pc:cxnChg>
        <pc:cxnChg chg="del">
          <ac:chgData name="Paul LEGEARD" userId="73b5704d-da1d-4b70-8e12-6d54d32b01a3" providerId="ADAL" clId="{6A0B0392-5B89-4C63-A1D8-1EA797692AC0}" dt="2023-04-17T08:14:41.525" v="6130" actId="478"/>
          <ac:cxnSpMkLst>
            <pc:docMk/>
            <pc:sldMk cId="1352197783" sldId="2147469829"/>
            <ac:cxnSpMk id="32" creationId="{E2036FF3-4F86-5495-A37A-799B6E070C3D}"/>
          </ac:cxnSpMkLst>
        </pc:cxnChg>
        <pc:cxnChg chg="del mod">
          <ac:chgData name="Paul LEGEARD" userId="73b5704d-da1d-4b70-8e12-6d54d32b01a3" providerId="ADAL" clId="{6A0B0392-5B89-4C63-A1D8-1EA797692AC0}" dt="2023-04-17T08:14:41.525" v="6130" actId="478"/>
          <ac:cxnSpMkLst>
            <pc:docMk/>
            <pc:sldMk cId="1352197783" sldId="2147469829"/>
            <ac:cxnSpMk id="41" creationId="{B69364FF-74BF-81F8-8CC9-BF00A61C260D}"/>
          </ac:cxnSpMkLst>
        </pc:cxnChg>
      </pc:sldChg>
      <pc:sldChg chg="modSp add mod">
        <pc:chgData name="Paul LEGEARD" userId="73b5704d-da1d-4b70-8e12-6d54d32b01a3" providerId="ADAL" clId="{6A0B0392-5B89-4C63-A1D8-1EA797692AC0}" dt="2023-04-17T13:43:14.629" v="6971" actId="20577"/>
        <pc:sldMkLst>
          <pc:docMk/>
          <pc:sldMk cId="1900700534" sldId="2147469829"/>
        </pc:sldMkLst>
        <pc:spChg chg="mod">
          <ac:chgData name="Paul LEGEARD" userId="73b5704d-da1d-4b70-8e12-6d54d32b01a3" providerId="ADAL" clId="{6A0B0392-5B89-4C63-A1D8-1EA797692AC0}" dt="2023-04-17T13:43:14.629" v="6971" actId="20577"/>
          <ac:spMkLst>
            <pc:docMk/>
            <pc:sldMk cId="1900700534" sldId="2147469829"/>
            <ac:spMk id="4" creationId="{52AFB3F8-88A7-4D69-8A52-45D00774625C}"/>
          </ac:spMkLst>
        </pc:spChg>
        <pc:spChg chg="mod">
          <ac:chgData name="Paul LEGEARD" userId="73b5704d-da1d-4b70-8e12-6d54d32b01a3" providerId="ADAL" clId="{6A0B0392-5B89-4C63-A1D8-1EA797692AC0}" dt="2023-04-17T13:40:20.020" v="6750" actId="20577"/>
          <ac:spMkLst>
            <pc:docMk/>
            <pc:sldMk cId="1900700534" sldId="2147469829"/>
            <ac:spMk id="5" creationId="{CE31C728-87A6-3958-0E76-05833775DD9E}"/>
          </ac:spMkLst>
        </pc:spChg>
        <pc:spChg chg="mod">
          <ac:chgData name="Paul LEGEARD" userId="73b5704d-da1d-4b70-8e12-6d54d32b01a3" providerId="ADAL" clId="{6A0B0392-5B89-4C63-A1D8-1EA797692AC0}" dt="2023-04-17T13:40:34.397" v="6816" actId="20577"/>
          <ac:spMkLst>
            <pc:docMk/>
            <pc:sldMk cId="1900700534" sldId="2147469829"/>
            <ac:spMk id="16" creationId="{03F11543-D79C-5472-D9F1-A1DA38520F13}"/>
          </ac:spMkLst>
        </pc:spChg>
        <pc:spChg chg="mod">
          <ac:chgData name="Paul LEGEARD" userId="73b5704d-da1d-4b70-8e12-6d54d32b01a3" providerId="ADAL" clId="{6A0B0392-5B89-4C63-A1D8-1EA797692AC0}" dt="2023-04-17T13:39:55.886" v="6658" actId="20577"/>
          <ac:spMkLst>
            <pc:docMk/>
            <pc:sldMk cId="1900700534" sldId="2147469829"/>
            <ac:spMk id="20" creationId="{A600F0F3-B5AC-98F5-4D88-0873CCA863C6}"/>
          </ac:spMkLst>
        </pc:spChg>
      </pc:sldChg>
      <pc:sldChg chg="addSp delSp modSp add del mod">
        <pc:chgData name="Paul LEGEARD" userId="73b5704d-da1d-4b70-8e12-6d54d32b01a3" providerId="ADAL" clId="{6A0B0392-5B89-4C63-A1D8-1EA797692AC0}" dt="2023-04-17T15:30:57.391" v="7398" actId="47"/>
        <pc:sldMkLst>
          <pc:docMk/>
          <pc:sldMk cId="69907537" sldId="2147469830"/>
        </pc:sldMkLst>
        <pc:spChg chg="del">
          <ac:chgData name="Paul LEGEARD" userId="73b5704d-da1d-4b70-8e12-6d54d32b01a3" providerId="ADAL" clId="{6A0B0392-5B89-4C63-A1D8-1EA797692AC0}" dt="2023-04-17T14:12:10.077" v="7332" actId="478"/>
          <ac:spMkLst>
            <pc:docMk/>
            <pc:sldMk cId="69907537" sldId="2147469830"/>
            <ac:spMk id="2" creationId="{ACBE3AF1-D819-0799-6CC6-DDA2CD644A31}"/>
          </ac:spMkLst>
        </pc:spChg>
        <pc:spChg chg="mod">
          <ac:chgData name="Paul LEGEARD" userId="73b5704d-da1d-4b70-8e12-6d54d32b01a3" providerId="ADAL" clId="{6A0B0392-5B89-4C63-A1D8-1EA797692AC0}" dt="2023-04-17T14:12:21.133" v="7360" actId="20577"/>
          <ac:spMkLst>
            <pc:docMk/>
            <pc:sldMk cId="69907537" sldId="2147469830"/>
            <ac:spMk id="4" creationId="{52AFB3F8-88A7-4D69-8A52-45D00774625C}"/>
          </ac:spMkLst>
        </pc:spChg>
        <pc:spChg chg="del">
          <ac:chgData name="Paul LEGEARD" userId="73b5704d-da1d-4b70-8e12-6d54d32b01a3" providerId="ADAL" clId="{6A0B0392-5B89-4C63-A1D8-1EA797692AC0}" dt="2023-04-17T14:12:08.633" v="7331" actId="478"/>
          <ac:spMkLst>
            <pc:docMk/>
            <pc:sldMk cId="69907537" sldId="2147469830"/>
            <ac:spMk id="5" creationId="{3FDB415F-CD83-DB07-6E1A-56FDECB792F5}"/>
          </ac:spMkLst>
        </pc:spChg>
        <pc:spChg chg="del">
          <ac:chgData name="Paul LEGEARD" userId="73b5704d-da1d-4b70-8e12-6d54d32b01a3" providerId="ADAL" clId="{6A0B0392-5B89-4C63-A1D8-1EA797692AC0}" dt="2023-04-17T14:12:08.633" v="7331" actId="478"/>
          <ac:spMkLst>
            <pc:docMk/>
            <pc:sldMk cId="69907537" sldId="2147469830"/>
            <ac:spMk id="9" creationId="{8546DFD4-C5CE-A4DB-7C56-5C4D247D4BDC}"/>
          </ac:spMkLst>
        </pc:spChg>
        <pc:spChg chg="mod">
          <ac:chgData name="Paul LEGEARD" userId="73b5704d-da1d-4b70-8e12-6d54d32b01a3" providerId="ADAL" clId="{6A0B0392-5B89-4C63-A1D8-1EA797692AC0}" dt="2023-04-17T14:00:23.016" v="7288" actId="164"/>
          <ac:spMkLst>
            <pc:docMk/>
            <pc:sldMk cId="69907537" sldId="2147469830"/>
            <ac:spMk id="10" creationId="{86E586DA-C2D2-2A38-D620-EB7DE13F74C5}"/>
          </ac:spMkLst>
        </pc:spChg>
        <pc:spChg chg="mod">
          <ac:chgData name="Paul LEGEARD" userId="73b5704d-da1d-4b70-8e12-6d54d32b01a3" providerId="ADAL" clId="{6A0B0392-5B89-4C63-A1D8-1EA797692AC0}" dt="2023-04-17T14:00:23.016" v="7288" actId="164"/>
          <ac:spMkLst>
            <pc:docMk/>
            <pc:sldMk cId="69907537" sldId="2147469830"/>
            <ac:spMk id="11" creationId="{E174BA27-84F9-922B-4981-56D2A7E96567}"/>
          </ac:spMkLst>
        </pc:spChg>
        <pc:spChg chg="del">
          <ac:chgData name="Paul LEGEARD" userId="73b5704d-da1d-4b70-8e12-6d54d32b01a3" providerId="ADAL" clId="{6A0B0392-5B89-4C63-A1D8-1EA797692AC0}" dt="2023-04-17T13:59:50.068" v="7278" actId="478"/>
          <ac:spMkLst>
            <pc:docMk/>
            <pc:sldMk cId="69907537" sldId="2147469830"/>
            <ac:spMk id="12" creationId="{F8F524BD-4937-C28D-D745-682E5C8BCF76}"/>
          </ac:spMkLst>
        </pc:spChg>
        <pc:spChg chg="mod">
          <ac:chgData name="Paul LEGEARD" userId="73b5704d-da1d-4b70-8e12-6d54d32b01a3" providerId="ADAL" clId="{6A0B0392-5B89-4C63-A1D8-1EA797692AC0}" dt="2023-04-17T14:03:49.837" v="7293"/>
          <ac:spMkLst>
            <pc:docMk/>
            <pc:sldMk cId="69907537" sldId="2147469830"/>
            <ac:spMk id="13" creationId="{9593B958-7941-0A0A-7D5B-270EF4D03818}"/>
          </ac:spMkLst>
        </pc:spChg>
        <pc:spChg chg="mod">
          <ac:chgData name="Paul LEGEARD" userId="73b5704d-da1d-4b70-8e12-6d54d32b01a3" providerId="ADAL" clId="{6A0B0392-5B89-4C63-A1D8-1EA797692AC0}" dt="2023-04-17T14:03:45.703" v="7292" actId="6549"/>
          <ac:spMkLst>
            <pc:docMk/>
            <pc:sldMk cId="69907537" sldId="2147469830"/>
            <ac:spMk id="14" creationId="{AB8DA098-32C3-AA2D-9FBC-DB64C534B58A}"/>
          </ac:spMkLst>
        </pc:spChg>
        <pc:spChg chg="mod">
          <ac:chgData name="Paul LEGEARD" userId="73b5704d-da1d-4b70-8e12-6d54d32b01a3" providerId="ADAL" clId="{6A0B0392-5B89-4C63-A1D8-1EA797692AC0}" dt="2023-04-17T14:45:51.741" v="7365" actId="20577"/>
          <ac:spMkLst>
            <pc:docMk/>
            <pc:sldMk cId="69907537" sldId="2147469830"/>
            <ac:spMk id="16" creationId="{2F6A1E23-7F1C-DC63-DB3E-A32C0BA82238}"/>
          </ac:spMkLst>
        </pc:spChg>
        <pc:spChg chg="del mod">
          <ac:chgData name="Paul LEGEARD" userId="73b5704d-da1d-4b70-8e12-6d54d32b01a3" providerId="ADAL" clId="{6A0B0392-5B89-4C63-A1D8-1EA797692AC0}" dt="2023-04-17T14:12:11.540" v="7334" actId="478"/>
          <ac:spMkLst>
            <pc:docMk/>
            <pc:sldMk cId="69907537" sldId="2147469830"/>
            <ac:spMk id="17" creationId="{F86C5B3B-754F-BA97-DE47-A09073B87E52}"/>
          </ac:spMkLst>
        </pc:spChg>
        <pc:spChg chg="del">
          <ac:chgData name="Paul LEGEARD" userId="73b5704d-da1d-4b70-8e12-6d54d32b01a3" providerId="ADAL" clId="{6A0B0392-5B89-4C63-A1D8-1EA797692AC0}" dt="2023-04-17T14:12:08.633" v="7331" actId="478"/>
          <ac:spMkLst>
            <pc:docMk/>
            <pc:sldMk cId="69907537" sldId="2147469830"/>
            <ac:spMk id="18" creationId="{F7DBF74F-6A7C-EB55-B0C2-FE98A129FEF5}"/>
          </ac:spMkLst>
        </pc:spChg>
        <pc:spChg chg="del">
          <ac:chgData name="Paul LEGEARD" userId="73b5704d-da1d-4b70-8e12-6d54d32b01a3" providerId="ADAL" clId="{6A0B0392-5B89-4C63-A1D8-1EA797692AC0}" dt="2023-04-17T14:12:13.075" v="7335" actId="478"/>
          <ac:spMkLst>
            <pc:docMk/>
            <pc:sldMk cId="69907537" sldId="2147469830"/>
            <ac:spMk id="19" creationId="{99F2D78C-C7C1-3793-4674-0A15937AB4FA}"/>
          </ac:spMkLst>
        </pc:spChg>
        <pc:spChg chg="del">
          <ac:chgData name="Paul LEGEARD" userId="73b5704d-da1d-4b70-8e12-6d54d32b01a3" providerId="ADAL" clId="{6A0B0392-5B89-4C63-A1D8-1EA797692AC0}" dt="2023-04-17T14:12:08.633" v="7331" actId="478"/>
          <ac:spMkLst>
            <pc:docMk/>
            <pc:sldMk cId="69907537" sldId="2147469830"/>
            <ac:spMk id="21" creationId="{EDFB8289-6E79-D4C7-A663-91E05AF402CA}"/>
          </ac:spMkLst>
        </pc:spChg>
        <pc:spChg chg="del">
          <ac:chgData name="Paul LEGEARD" userId="73b5704d-da1d-4b70-8e12-6d54d32b01a3" providerId="ADAL" clId="{6A0B0392-5B89-4C63-A1D8-1EA797692AC0}" dt="2023-04-17T14:12:08.633" v="7331" actId="478"/>
          <ac:spMkLst>
            <pc:docMk/>
            <pc:sldMk cId="69907537" sldId="2147469830"/>
            <ac:spMk id="22" creationId="{22917534-4C1B-9974-793A-5EBC3AB7F483}"/>
          </ac:spMkLst>
        </pc:spChg>
        <pc:spChg chg="del">
          <ac:chgData name="Paul LEGEARD" userId="73b5704d-da1d-4b70-8e12-6d54d32b01a3" providerId="ADAL" clId="{6A0B0392-5B89-4C63-A1D8-1EA797692AC0}" dt="2023-04-17T14:12:08.633" v="7331" actId="478"/>
          <ac:spMkLst>
            <pc:docMk/>
            <pc:sldMk cId="69907537" sldId="2147469830"/>
            <ac:spMk id="23" creationId="{196BB7EA-3DD1-4853-E236-2C43B65BCC6D}"/>
          </ac:spMkLst>
        </pc:spChg>
        <pc:spChg chg="mod">
          <ac:chgData name="Paul LEGEARD" userId="73b5704d-da1d-4b70-8e12-6d54d32b01a3" providerId="ADAL" clId="{6A0B0392-5B89-4C63-A1D8-1EA797692AC0}" dt="2023-04-17T14:08:30.369" v="7297" actId="6549"/>
          <ac:spMkLst>
            <pc:docMk/>
            <pc:sldMk cId="69907537" sldId="2147469830"/>
            <ac:spMk id="24" creationId="{AFFE9B65-5963-E138-BDBA-E5B163064D13}"/>
          </ac:spMkLst>
        </pc:spChg>
        <pc:grpChg chg="add mod">
          <ac:chgData name="Paul LEGEARD" userId="73b5704d-da1d-4b70-8e12-6d54d32b01a3" providerId="ADAL" clId="{6A0B0392-5B89-4C63-A1D8-1EA797692AC0}" dt="2023-04-17T14:12:16.586" v="7336" actId="1076"/>
          <ac:grpSpMkLst>
            <pc:docMk/>
            <pc:sldMk cId="69907537" sldId="2147469830"/>
            <ac:grpSpMk id="3" creationId="{3BD582BC-F341-F9B3-C763-4C61F85D84F6}"/>
          </ac:grpSpMkLst>
        </pc:grpChg>
        <pc:grpChg chg="add del mod">
          <ac:chgData name="Paul LEGEARD" userId="73b5704d-da1d-4b70-8e12-6d54d32b01a3" providerId="ADAL" clId="{6A0B0392-5B89-4C63-A1D8-1EA797692AC0}" dt="2023-04-17T14:12:16.586" v="7336" actId="1076"/>
          <ac:grpSpMkLst>
            <pc:docMk/>
            <pc:sldMk cId="69907537" sldId="2147469830"/>
            <ac:grpSpMk id="7" creationId="{4ECDF135-4615-282D-5034-A370795432A5}"/>
          </ac:grpSpMkLst>
        </pc:grpChg>
        <pc:grpChg chg="add del mod">
          <ac:chgData name="Paul LEGEARD" userId="73b5704d-da1d-4b70-8e12-6d54d32b01a3" providerId="ADAL" clId="{6A0B0392-5B89-4C63-A1D8-1EA797692AC0}" dt="2023-04-17T14:12:16.586" v="7336" actId="1076"/>
          <ac:grpSpMkLst>
            <pc:docMk/>
            <pc:sldMk cId="69907537" sldId="2147469830"/>
            <ac:grpSpMk id="15" creationId="{177CB271-741B-E6BD-0335-9FB442E1BD51}"/>
          </ac:grpSpMkLst>
        </pc:grpChg>
        <pc:picChg chg="del">
          <ac:chgData name="Paul LEGEARD" userId="73b5704d-da1d-4b70-8e12-6d54d32b01a3" providerId="ADAL" clId="{6A0B0392-5B89-4C63-A1D8-1EA797692AC0}" dt="2023-04-17T14:12:08.633" v="7331" actId="478"/>
          <ac:picMkLst>
            <pc:docMk/>
            <pc:sldMk cId="69907537" sldId="2147469830"/>
            <ac:picMk id="20" creationId="{B4D18A56-9D72-821E-BAAD-E702649F1726}"/>
          </ac:picMkLst>
        </pc:picChg>
        <pc:cxnChg chg="del">
          <ac:chgData name="Paul LEGEARD" userId="73b5704d-da1d-4b70-8e12-6d54d32b01a3" providerId="ADAL" clId="{6A0B0392-5B89-4C63-A1D8-1EA797692AC0}" dt="2023-04-17T14:12:08.633" v="7331" actId="478"/>
          <ac:cxnSpMkLst>
            <pc:docMk/>
            <pc:sldMk cId="69907537" sldId="2147469830"/>
            <ac:cxnSpMk id="6" creationId="{54320455-DFA4-1B8C-A169-3378B6B10E01}"/>
          </ac:cxnSpMkLst>
        </pc:cxnChg>
      </pc:sldChg>
      <pc:sldChg chg="add del">
        <pc:chgData name="Paul LEGEARD" userId="73b5704d-da1d-4b70-8e12-6d54d32b01a3" providerId="ADAL" clId="{6A0B0392-5B89-4C63-A1D8-1EA797692AC0}" dt="2023-04-17T13:40:42.408" v="6817" actId="47"/>
        <pc:sldMkLst>
          <pc:docMk/>
          <pc:sldMk cId="359071383" sldId="2147469830"/>
        </pc:sldMkLst>
      </pc:sldChg>
      <pc:sldChg chg="delSp modSp add del mod">
        <pc:chgData name="Paul LEGEARD" userId="73b5704d-da1d-4b70-8e12-6d54d32b01a3" providerId="ADAL" clId="{6A0B0392-5B89-4C63-A1D8-1EA797692AC0}" dt="2023-04-17T15:31:03.641" v="7400" actId="47"/>
        <pc:sldMkLst>
          <pc:docMk/>
          <pc:sldMk cId="3771320942" sldId="2147469831"/>
        </pc:sldMkLst>
        <pc:spChg chg="del">
          <ac:chgData name="Paul LEGEARD" userId="73b5704d-da1d-4b70-8e12-6d54d32b01a3" providerId="ADAL" clId="{6A0B0392-5B89-4C63-A1D8-1EA797692AC0}" dt="2023-04-17T14:54:17.747" v="7384" actId="478"/>
          <ac:spMkLst>
            <pc:docMk/>
            <pc:sldMk cId="3771320942" sldId="2147469831"/>
            <ac:spMk id="2" creationId="{7130E836-7FAA-F6F4-1521-A48732FF31EF}"/>
          </ac:spMkLst>
        </pc:spChg>
        <pc:spChg chg="mod">
          <ac:chgData name="Paul LEGEARD" userId="73b5704d-da1d-4b70-8e12-6d54d32b01a3" providerId="ADAL" clId="{6A0B0392-5B89-4C63-A1D8-1EA797692AC0}" dt="2023-04-17T14:54:23.838" v="7389" actId="1076"/>
          <ac:spMkLst>
            <pc:docMk/>
            <pc:sldMk cId="3771320942" sldId="2147469831"/>
            <ac:spMk id="4" creationId="{52AFB3F8-88A7-4D69-8A52-45D00774625C}"/>
          </ac:spMkLst>
        </pc:spChg>
        <pc:spChg chg="del">
          <ac:chgData name="Paul LEGEARD" userId="73b5704d-da1d-4b70-8e12-6d54d32b01a3" providerId="ADAL" clId="{6A0B0392-5B89-4C63-A1D8-1EA797692AC0}" dt="2023-04-17T14:54:17.747" v="7384" actId="478"/>
          <ac:spMkLst>
            <pc:docMk/>
            <pc:sldMk cId="3771320942" sldId="2147469831"/>
            <ac:spMk id="6" creationId="{ABDEA24B-D7D3-0C25-E9BD-45BD25FEAF34}"/>
          </ac:spMkLst>
        </pc:spChg>
        <pc:spChg chg="del">
          <ac:chgData name="Paul LEGEARD" userId="73b5704d-da1d-4b70-8e12-6d54d32b01a3" providerId="ADAL" clId="{6A0B0392-5B89-4C63-A1D8-1EA797692AC0}" dt="2023-04-17T14:54:17.747" v="7384" actId="478"/>
          <ac:spMkLst>
            <pc:docMk/>
            <pc:sldMk cId="3771320942" sldId="2147469831"/>
            <ac:spMk id="7" creationId="{023FD100-34E9-FF11-DB9F-1AA98BB9CED4}"/>
          </ac:spMkLst>
        </pc:spChg>
        <pc:spChg chg="del">
          <ac:chgData name="Paul LEGEARD" userId="73b5704d-da1d-4b70-8e12-6d54d32b01a3" providerId="ADAL" clId="{6A0B0392-5B89-4C63-A1D8-1EA797692AC0}" dt="2023-04-17T14:54:17.747" v="7384" actId="478"/>
          <ac:spMkLst>
            <pc:docMk/>
            <pc:sldMk cId="3771320942" sldId="2147469831"/>
            <ac:spMk id="10" creationId="{263092C6-ABE8-7197-4F63-255D08E3EA9E}"/>
          </ac:spMkLst>
        </pc:spChg>
        <pc:spChg chg="del">
          <ac:chgData name="Paul LEGEARD" userId="73b5704d-da1d-4b70-8e12-6d54d32b01a3" providerId="ADAL" clId="{6A0B0392-5B89-4C63-A1D8-1EA797692AC0}" dt="2023-04-17T14:54:17.747" v="7384" actId="478"/>
          <ac:spMkLst>
            <pc:docMk/>
            <pc:sldMk cId="3771320942" sldId="2147469831"/>
            <ac:spMk id="11" creationId="{4FAB2DBA-8B97-1381-BAD9-7A5FD753D48F}"/>
          </ac:spMkLst>
        </pc:spChg>
        <pc:spChg chg="del">
          <ac:chgData name="Paul LEGEARD" userId="73b5704d-da1d-4b70-8e12-6d54d32b01a3" providerId="ADAL" clId="{6A0B0392-5B89-4C63-A1D8-1EA797692AC0}" dt="2023-04-17T14:54:17.747" v="7384" actId="478"/>
          <ac:spMkLst>
            <pc:docMk/>
            <pc:sldMk cId="3771320942" sldId="2147469831"/>
            <ac:spMk id="12" creationId="{FD1355C0-E24E-2CE1-A850-525B99045127}"/>
          </ac:spMkLst>
        </pc:spChg>
        <pc:spChg chg="mod topLvl">
          <ac:chgData name="Paul LEGEARD" userId="73b5704d-da1d-4b70-8e12-6d54d32b01a3" providerId="ADAL" clId="{6A0B0392-5B89-4C63-A1D8-1EA797692AC0}" dt="2023-04-17T14:54:28.602" v="7391" actId="1076"/>
          <ac:spMkLst>
            <pc:docMk/>
            <pc:sldMk cId="3771320942" sldId="2147469831"/>
            <ac:spMk id="14" creationId="{EE197B05-FC9C-3E57-ED3C-DE04C30FDC63}"/>
          </ac:spMkLst>
        </pc:spChg>
        <pc:spChg chg="del">
          <ac:chgData name="Paul LEGEARD" userId="73b5704d-da1d-4b70-8e12-6d54d32b01a3" providerId="ADAL" clId="{6A0B0392-5B89-4C63-A1D8-1EA797692AC0}" dt="2023-04-17T14:54:20.539" v="7386" actId="478"/>
          <ac:spMkLst>
            <pc:docMk/>
            <pc:sldMk cId="3771320942" sldId="2147469831"/>
            <ac:spMk id="15" creationId="{ACB5953D-DAAE-AC36-6F7C-CAC0E55582B3}"/>
          </ac:spMkLst>
        </pc:spChg>
        <pc:spChg chg="del">
          <ac:chgData name="Paul LEGEARD" userId="73b5704d-da1d-4b70-8e12-6d54d32b01a3" providerId="ADAL" clId="{6A0B0392-5B89-4C63-A1D8-1EA797692AC0}" dt="2023-04-17T14:54:25.843" v="7390" actId="478"/>
          <ac:spMkLst>
            <pc:docMk/>
            <pc:sldMk cId="3771320942" sldId="2147469831"/>
            <ac:spMk id="25" creationId="{B1BF2E3D-6487-09D9-E21E-5A7968C9FFAB}"/>
          </ac:spMkLst>
        </pc:spChg>
        <pc:spChg chg="del">
          <ac:chgData name="Paul LEGEARD" userId="73b5704d-da1d-4b70-8e12-6d54d32b01a3" providerId="ADAL" clId="{6A0B0392-5B89-4C63-A1D8-1EA797692AC0}" dt="2023-04-17T14:54:19.192" v="7385" actId="478"/>
          <ac:spMkLst>
            <pc:docMk/>
            <pc:sldMk cId="3771320942" sldId="2147469831"/>
            <ac:spMk id="26" creationId="{18F24087-672C-ACD2-EC90-776B31EED514}"/>
          </ac:spMkLst>
        </pc:spChg>
        <pc:spChg chg="mod topLvl">
          <ac:chgData name="Paul LEGEARD" userId="73b5704d-da1d-4b70-8e12-6d54d32b01a3" providerId="ADAL" clId="{6A0B0392-5B89-4C63-A1D8-1EA797692AC0}" dt="2023-04-17T14:54:33.986" v="7392" actId="14100"/>
          <ac:spMkLst>
            <pc:docMk/>
            <pc:sldMk cId="3771320942" sldId="2147469831"/>
            <ac:spMk id="35" creationId="{372A8BF4-4068-1E94-393F-572EAEE31CAF}"/>
          </ac:spMkLst>
        </pc:spChg>
        <pc:spChg chg="del">
          <ac:chgData name="Paul LEGEARD" userId="73b5704d-da1d-4b70-8e12-6d54d32b01a3" providerId="ADAL" clId="{6A0B0392-5B89-4C63-A1D8-1EA797692AC0}" dt="2023-04-17T14:54:19.192" v="7385" actId="478"/>
          <ac:spMkLst>
            <pc:docMk/>
            <pc:sldMk cId="3771320942" sldId="2147469831"/>
            <ac:spMk id="36" creationId="{9F97C811-D404-B4B8-8AE6-DBA6788EE250}"/>
          </ac:spMkLst>
        </pc:spChg>
        <pc:spChg chg="mod topLvl">
          <ac:chgData name="Paul LEGEARD" userId="73b5704d-da1d-4b70-8e12-6d54d32b01a3" providerId="ADAL" clId="{6A0B0392-5B89-4C63-A1D8-1EA797692AC0}" dt="2023-04-17T14:54:33.986" v="7392" actId="14100"/>
          <ac:spMkLst>
            <pc:docMk/>
            <pc:sldMk cId="3771320942" sldId="2147469831"/>
            <ac:spMk id="41" creationId="{86584A10-7734-3EE6-F276-E83297915D86}"/>
          </ac:spMkLst>
        </pc:spChg>
        <pc:spChg chg="mod topLvl">
          <ac:chgData name="Paul LEGEARD" userId="73b5704d-da1d-4b70-8e12-6d54d32b01a3" providerId="ADAL" clId="{6A0B0392-5B89-4C63-A1D8-1EA797692AC0}" dt="2023-04-17T14:54:28.602" v="7391" actId="1076"/>
          <ac:spMkLst>
            <pc:docMk/>
            <pc:sldMk cId="3771320942" sldId="2147469831"/>
            <ac:spMk id="42" creationId="{6E6F954B-F444-F5B7-115C-00E3460B342D}"/>
          </ac:spMkLst>
        </pc:spChg>
        <pc:spChg chg="mod topLvl">
          <ac:chgData name="Paul LEGEARD" userId="73b5704d-da1d-4b70-8e12-6d54d32b01a3" providerId="ADAL" clId="{6A0B0392-5B89-4C63-A1D8-1EA797692AC0}" dt="2023-04-17T14:54:33.986" v="7392" actId="14100"/>
          <ac:spMkLst>
            <pc:docMk/>
            <pc:sldMk cId="3771320942" sldId="2147469831"/>
            <ac:spMk id="50" creationId="{A0CA17D8-7069-6D70-4A86-5B3C9CD48C3C}"/>
          </ac:spMkLst>
        </pc:spChg>
        <pc:spChg chg="mod topLvl">
          <ac:chgData name="Paul LEGEARD" userId="73b5704d-da1d-4b70-8e12-6d54d32b01a3" providerId="ADAL" clId="{6A0B0392-5B89-4C63-A1D8-1EA797692AC0}" dt="2023-04-17T14:54:28.602" v="7391" actId="1076"/>
          <ac:spMkLst>
            <pc:docMk/>
            <pc:sldMk cId="3771320942" sldId="2147469831"/>
            <ac:spMk id="51" creationId="{C167E37F-D271-9C38-922A-4A57BABC9BE5}"/>
          </ac:spMkLst>
        </pc:spChg>
        <pc:spChg chg="mod topLvl">
          <ac:chgData name="Paul LEGEARD" userId="73b5704d-da1d-4b70-8e12-6d54d32b01a3" providerId="ADAL" clId="{6A0B0392-5B89-4C63-A1D8-1EA797692AC0}" dt="2023-04-17T14:54:33.986" v="7392" actId="14100"/>
          <ac:spMkLst>
            <pc:docMk/>
            <pc:sldMk cId="3771320942" sldId="2147469831"/>
            <ac:spMk id="53" creationId="{0EE0B64F-2927-9E6A-86FE-70DF7C2EF746}"/>
          </ac:spMkLst>
        </pc:spChg>
        <pc:spChg chg="mod topLvl">
          <ac:chgData name="Paul LEGEARD" userId="73b5704d-da1d-4b70-8e12-6d54d32b01a3" providerId="ADAL" clId="{6A0B0392-5B89-4C63-A1D8-1EA797692AC0}" dt="2023-04-17T14:54:28.602" v="7391" actId="1076"/>
          <ac:spMkLst>
            <pc:docMk/>
            <pc:sldMk cId="3771320942" sldId="2147469831"/>
            <ac:spMk id="54" creationId="{32B9396F-4518-C52B-4618-918327C0C50F}"/>
          </ac:spMkLst>
        </pc:spChg>
        <pc:spChg chg="mod topLvl">
          <ac:chgData name="Paul LEGEARD" userId="73b5704d-da1d-4b70-8e12-6d54d32b01a3" providerId="ADAL" clId="{6A0B0392-5B89-4C63-A1D8-1EA797692AC0}" dt="2023-04-17T14:54:33.986" v="7392" actId="14100"/>
          <ac:spMkLst>
            <pc:docMk/>
            <pc:sldMk cId="3771320942" sldId="2147469831"/>
            <ac:spMk id="59" creationId="{61E08D61-182F-6839-BDAB-C3B0342AE8FF}"/>
          </ac:spMkLst>
        </pc:spChg>
        <pc:spChg chg="mod topLvl">
          <ac:chgData name="Paul LEGEARD" userId="73b5704d-da1d-4b70-8e12-6d54d32b01a3" providerId="ADAL" clId="{6A0B0392-5B89-4C63-A1D8-1EA797692AC0}" dt="2023-04-17T14:54:28.602" v="7391" actId="1076"/>
          <ac:spMkLst>
            <pc:docMk/>
            <pc:sldMk cId="3771320942" sldId="2147469831"/>
            <ac:spMk id="60" creationId="{F4A8AD2A-05A7-8586-7429-E12B0627FAE9}"/>
          </ac:spMkLst>
        </pc:spChg>
        <pc:spChg chg="mod topLvl">
          <ac:chgData name="Paul LEGEARD" userId="73b5704d-da1d-4b70-8e12-6d54d32b01a3" providerId="ADAL" clId="{6A0B0392-5B89-4C63-A1D8-1EA797692AC0}" dt="2023-04-17T15:04:15.354" v="7396" actId="165"/>
          <ac:spMkLst>
            <pc:docMk/>
            <pc:sldMk cId="3771320942" sldId="2147469831"/>
            <ac:spMk id="62" creationId="{51C6B5CE-7583-5292-C41B-3F12B32F85CD}"/>
          </ac:spMkLst>
        </pc:spChg>
        <pc:spChg chg="mod topLvl">
          <ac:chgData name="Paul LEGEARD" userId="73b5704d-da1d-4b70-8e12-6d54d32b01a3" providerId="ADAL" clId="{6A0B0392-5B89-4C63-A1D8-1EA797692AC0}" dt="2023-04-17T15:04:19.710" v="7397" actId="1076"/>
          <ac:spMkLst>
            <pc:docMk/>
            <pc:sldMk cId="3771320942" sldId="2147469831"/>
            <ac:spMk id="63" creationId="{7D9EC274-2857-7007-B657-552F9D80D0FA}"/>
          </ac:spMkLst>
        </pc:spChg>
        <pc:spChg chg="mod topLvl">
          <ac:chgData name="Paul LEGEARD" userId="73b5704d-da1d-4b70-8e12-6d54d32b01a3" providerId="ADAL" clId="{6A0B0392-5B89-4C63-A1D8-1EA797692AC0}" dt="2023-04-17T15:03:42.327" v="7394" actId="14100"/>
          <ac:spMkLst>
            <pc:docMk/>
            <pc:sldMk cId="3771320942" sldId="2147469831"/>
            <ac:spMk id="65" creationId="{C9AEA61F-1768-E4E8-03D1-FC0980E3DB0F}"/>
          </ac:spMkLst>
        </pc:spChg>
        <pc:spChg chg="mod topLvl">
          <ac:chgData name="Paul LEGEARD" userId="73b5704d-da1d-4b70-8e12-6d54d32b01a3" providerId="ADAL" clId="{6A0B0392-5B89-4C63-A1D8-1EA797692AC0}" dt="2023-04-17T15:03:33.330" v="7393" actId="1076"/>
          <ac:spMkLst>
            <pc:docMk/>
            <pc:sldMk cId="3771320942" sldId="2147469831"/>
            <ac:spMk id="66" creationId="{BC3A736A-4BF1-5AF6-848D-F07506026132}"/>
          </ac:spMkLst>
        </pc:spChg>
        <pc:spChg chg="mod topLvl">
          <ac:chgData name="Paul LEGEARD" userId="73b5704d-da1d-4b70-8e12-6d54d32b01a3" providerId="ADAL" clId="{6A0B0392-5B89-4C63-A1D8-1EA797692AC0}" dt="2023-04-17T15:03:42.327" v="7394" actId="14100"/>
          <ac:spMkLst>
            <pc:docMk/>
            <pc:sldMk cId="3771320942" sldId="2147469831"/>
            <ac:spMk id="68" creationId="{1CC98A76-D94F-2921-9DEC-6123F8359198}"/>
          </ac:spMkLst>
        </pc:spChg>
        <pc:spChg chg="mod topLvl">
          <ac:chgData name="Paul LEGEARD" userId="73b5704d-da1d-4b70-8e12-6d54d32b01a3" providerId="ADAL" clId="{6A0B0392-5B89-4C63-A1D8-1EA797692AC0}" dt="2023-04-17T15:03:33.330" v="7393" actId="1076"/>
          <ac:spMkLst>
            <pc:docMk/>
            <pc:sldMk cId="3771320942" sldId="2147469831"/>
            <ac:spMk id="69" creationId="{82CA29DF-B533-34DB-C823-F59D978703CA}"/>
          </ac:spMkLst>
        </pc:spChg>
        <pc:spChg chg="mod topLvl">
          <ac:chgData name="Paul LEGEARD" userId="73b5704d-da1d-4b70-8e12-6d54d32b01a3" providerId="ADAL" clId="{6A0B0392-5B89-4C63-A1D8-1EA797692AC0}" dt="2023-04-17T15:03:42.327" v="7394" actId="14100"/>
          <ac:spMkLst>
            <pc:docMk/>
            <pc:sldMk cId="3771320942" sldId="2147469831"/>
            <ac:spMk id="71" creationId="{0A84BD10-1FDC-9FEC-ABE7-BD406D7409BB}"/>
          </ac:spMkLst>
        </pc:spChg>
        <pc:spChg chg="mod topLvl">
          <ac:chgData name="Paul LEGEARD" userId="73b5704d-da1d-4b70-8e12-6d54d32b01a3" providerId="ADAL" clId="{6A0B0392-5B89-4C63-A1D8-1EA797692AC0}" dt="2023-04-17T15:03:33.330" v="7393" actId="1076"/>
          <ac:spMkLst>
            <pc:docMk/>
            <pc:sldMk cId="3771320942" sldId="2147469831"/>
            <ac:spMk id="72" creationId="{B1B0DC16-39CC-806B-99A8-570D0205E8F8}"/>
          </ac:spMkLst>
        </pc:spChg>
        <pc:spChg chg="mod topLvl">
          <ac:chgData name="Paul LEGEARD" userId="73b5704d-da1d-4b70-8e12-6d54d32b01a3" providerId="ADAL" clId="{6A0B0392-5B89-4C63-A1D8-1EA797692AC0}" dt="2023-04-17T15:03:42.327" v="7394" actId="14100"/>
          <ac:spMkLst>
            <pc:docMk/>
            <pc:sldMk cId="3771320942" sldId="2147469831"/>
            <ac:spMk id="74" creationId="{F6F151B4-6A18-8D26-11EB-867232E95C68}"/>
          </ac:spMkLst>
        </pc:spChg>
        <pc:spChg chg="mod topLvl">
          <ac:chgData name="Paul LEGEARD" userId="73b5704d-da1d-4b70-8e12-6d54d32b01a3" providerId="ADAL" clId="{6A0B0392-5B89-4C63-A1D8-1EA797692AC0}" dt="2023-04-17T15:03:33.330" v="7393" actId="1076"/>
          <ac:spMkLst>
            <pc:docMk/>
            <pc:sldMk cId="3771320942" sldId="2147469831"/>
            <ac:spMk id="75" creationId="{020ECD64-BA68-7C01-2BA4-82DACD5557D5}"/>
          </ac:spMkLst>
        </pc:spChg>
        <pc:spChg chg="del">
          <ac:chgData name="Paul LEGEARD" userId="73b5704d-da1d-4b70-8e12-6d54d32b01a3" providerId="ADAL" clId="{6A0B0392-5B89-4C63-A1D8-1EA797692AC0}" dt="2023-04-17T14:51:47.594" v="7367" actId="478"/>
          <ac:spMkLst>
            <pc:docMk/>
            <pc:sldMk cId="3771320942" sldId="2147469831"/>
            <ac:spMk id="82" creationId="{AD7495D4-3A25-3D38-BAD6-2D894F5A2A06}"/>
          </ac:spMkLst>
        </pc:spChg>
        <pc:spChg chg="del">
          <ac:chgData name="Paul LEGEARD" userId="73b5704d-da1d-4b70-8e12-6d54d32b01a3" providerId="ADAL" clId="{6A0B0392-5B89-4C63-A1D8-1EA797692AC0}" dt="2023-04-17T14:51:48.852" v="7369" actId="478"/>
          <ac:spMkLst>
            <pc:docMk/>
            <pc:sldMk cId="3771320942" sldId="2147469831"/>
            <ac:spMk id="83" creationId="{F6A0DD26-E315-2523-11F5-08FD5137C40C}"/>
          </ac:spMkLst>
        </pc:spChg>
        <pc:spChg chg="del">
          <ac:chgData name="Paul LEGEARD" userId="73b5704d-da1d-4b70-8e12-6d54d32b01a3" providerId="ADAL" clId="{6A0B0392-5B89-4C63-A1D8-1EA797692AC0}" dt="2023-04-17T14:51:48.418" v="7368" actId="478"/>
          <ac:spMkLst>
            <pc:docMk/>
            <pc:sldMk cId="3771320942" sldId="2147469831"/>
            <ac:spMk id="84" creationId="{CCF614FD-58C0-7404-EE72-F5001EDB68F2}"/>
          </ac:spMkLst>
        </pc:spChg>
        <pc:spChg chg="del mod">
          <ac:chgData name="Paul LEGEARD" userId="73b5704d-da1d-4b70-8e12-6d54d32b01a3" providerId="ADAL" clId="{6A0B0392-5B89-4C63-A1D8-1EA797692AC0}" dt="2023-04-17T14:54:22.009" v="7387" actId="478"/>
          <ac:spMkLst>
            <pc:docMk/>
            <pc:sldMk cId="3771320942" sldId="2147469831"/>
            <ac:spMk id="85" creationId="{70176AE2-5F1A-DD9C-CC50-EF6AB68233C1}"/>
          </ac:spMkLst>
        </pc:spChg>
        <pc:spChg chg="del">
          <ac:chgData name="Paul LEGEARD" userId="73b5704d-da1d-4b70-8e12-6d54d32b01a3" providerId="ADAL" clId="{6A0B0392-5B89-4C63-A1D8-1EA797692AC0}" dt="2023-04-17T14:54:22.009" v="7387" actId="478"/>
          <ac:spMkLst>
            <pc:docMk/>
            <pc:sldMk cId="3771320942" sldId="2147469831"/>
            <ac:spMk id="86" creationId="{60C2E6B9-5386-50CB-D8DC-B0E99B8ACBC8}"/>
          </ac:spMkLst>
        </pc:spChg>
        <pc:spChg chg="del mod">
          <ac:chgData name="Paul LEGEARD" userId="73b5704d-da1d-4b70-8e12-6d54d32b01a3" providerId="ADAL" clId="{6A0B0392-5B89-4C63-A1D8-1EA797692AC0}" dt="2023-04-17T14:54:22.009" v="7387" actId="478"/>
          <ac:spMkLst>
            <pc:docMk/>
            <pc:sldMk cId="3771320942" sldId="2147469831"/>
            <ac:spMk id="87" creationId="{D4B4F7C9-F5E5-DABB-977D-611C19B41B1D}"/>
          </ac:spMkLst>
        </pc:spChg>
        <pc:spChg chg="del mod">
          <ac:chgData name="Paul LEGEARD" userId="73b5704d-da1d-4b70-8e12-6d54d32b01a3" providerId="ADAL" clId="{6A0B0392-5B89-4C63-A1D8-1EA797692AC0}" dt="2023-04-17T14:54:22.009" v="7387" actId="478"/>
          <ac:spMkLst>
            <pc:docMk/>
            <pc:sldMk cId="3771320942" sldId="2147469831"/>
            <ac:spMk id="88" creationId="{6930319E-3DD0-55C1-911E-CA67CCC9090E}"/>
          </ac:spMkLst>
        </pc:spChg>
        <pc:grpChg chg="del">
          <ac:chgData name="Paul LEGEARD" userId="73b5704d-da1d-4b70-8e12-6d54d32b01a3" providerId="ADAL" clId="{6A0B0392-5B89-4C63-A1D8-1EA797692AC0}" dt="2023-04-17T14:51:59.810" v="7370" actId="165"/>
          <ac:grpSpMkLst>
            <pc:docMk/>
            <pc:sldMk cId="3771320942" sldId="2147469831"/>
            <ac:grpSpMk id="39" creationId="{F072E5FE-4877-6D54-B83A-2E7F220BF795}"/>
          </ac:grpSpMkLst>
        </pc:grpChg>
        <pc:grpChg chg="del">
          <ac:chgData name="Paul LEGEARD" userId="73b5704d-da1d-4b70-8e12-6d54d32b01a3" providerId="ADAL" clId="{6A0B0392-5B89-4C63-A1D8-1EA797692AC0}" dt="2023-04-17T14:51:59.810" v="7370" actId="165"/>
          <ac:grpSpMkLst>
            <pc:docMk/>
            <pc:sldMk cId="3771320942" sldId="2147469831"/>
            <ac:grpSpMk id="40" creationId="{86D888D8-6BA3-B32D-1C16-B082CEDD6E08}"/>
          </ac:grpSpMkLst>
        </pc:grpChg>
        <pc:grpChg chg="del">
          <ac:chgData name="Paul LEGEARD" userId="73b5704d-da1d-4b70-8e12-6d54d32b01a3" providerId="ADAL" clId="{6A0B0392-5B89-4C63-A1D8-1EA797692AC0}" dt="2023-04-17T14:51:59.810" v="7370" actId="165"/>
          <ac:grpSpMkLst>
            <pc:docMk/>
            <pc:sldMk cId="3771320942" sldId="2147469831"/>
            <ac:grpSpMk id="49" creationId="{E826F180-0D52-ED58-97FC-07EF77C204A4}"/>
          </ac:grpSpMkLst>
        </pc:grpChg>
        <pc:grpChg chg="del">
          <ac:chgData name="Paul LEGEARD" userId="73b5704d-da1d-4b70-8e12-6d54d32b01a3" providerId="ADAL" clId="{6A0B0392-5B89-4C63-A1D8-1EA797692AC0}" dt="2023-04-17T14:51:59.810" v="7370" actId="165"/>
          <ac:grpSpMkLst>
            <pc:docMk/>
            <pc:sldMk cId="3771320942" sldId="2147469831"/>
            <ac:grpSpMk id="52" creationId="{FC39120F-F07D-614E-94E9-98702EC3B74B}"/>
          </ac:grpSpMkLst>
        </pc:grpChg>
        <pc:grpChg chg="del">
          <ac:chgData name="Paul LEGEARD" userId="73b5704d-da1d-4b70-8e12-6d54d32b01a3" providerId="ADAL" clId="{6A0B0392-5B89-4C63-A1D8-1EA797692AC0}" dt="2023-04-17T14:51:59.810" v="7370" actId="165"/>
          <ac:grpSpMkLst>
            <pc:docMk/>
            <pc:sldMk cId="3771320942" sldId="2147469831"/>
            <ac:grpSpMk id="58" creationId="{F6E07DF5-DE73-1EE2-5807-2B86B0454B67}"/>
          </ac:grpSpMkLst>
        </pc:grpChg>
        <pc:grpChg chg="del mod">
          <ac:chgData name="Paul LEGEARD" userId="73b5704d-da1d-4b70-8e12-6d54d32b01a3" providerId="ADAL" clId="{6A0B0392-5B89-4C63-A1D8-1EA797692AC0}" dt="2023-04-17T15:04:15.354" v="7396" actId="165"/>
          <ac:grpSpMkLst>
            <pc:docMk/>
            <pc:sldMk cId="3771320942" sldId="2147469831"/>
            <ac:grpSpMk id="61" creationId="{6FA547B2-262E-80D1-5282-A0898B78236E}"/>
          </ac:grpSpMkLst>
        </pc:grpChg>
        <pc:grpChg chg="del">
          <ac:chgData name="Paul LEGEARD" userId="73b5704d-da1d-4b70-8e12-6d54d32b01a3" providerId="ADAL" clId="{6A0B0392-5B89-4C63-A1D8-1EA797692AC0}" dt="2023-04-17T14:51:59.810" v="7370" actId="165"/>
          <ac:grpSpMkLst>
            <pc:docMk/>
            <pc:sldMk cId="3771320942" sldId="2147469831"/>
            <ac:grpSpMk id="64" creationId="{F25C215F-48DF-AEB0-82AF-AD301A9CD9FB}"/>
          </ac:grpSpMkLst>
        </pc:grpChg>
        <pc:grpChg chg="del">
          <ac:chgData name="Paul LEGEARD" userId="73b5704d-da1d-4b70-8e12-6d54d32b01a3" providerId="ADAL" clId="{6A0B0392-5B89-4C63-A1D8-1EA797692AC0}" dt="2023-04-17T14:51:59.810" v="7370" actId="165"/>
          <ac:grpSpMkLst>
            <pc:docMk/>
            <pc:sldMk cId="3771320942" sldId="2147469831"/>
            <ac:grpSpMk id="67" creationId="{49181BD3-07F2-49CA-BBE0-3AF3E981AF06}"/>
          </ac:grpSpMkLst>
        </pc:grpChg>
        <pc:grpChg chg="del">
          <ac:chgData name="Paul LEGEARD" userId="73b5704d-da1d-4b70-8e12-6d54d32b01a3" providerId="ADAL" clId="{6A0B0392-5B89-4C63-A1D8-1EA797692AC0}" dt="2023-04-17T14:51:59.810" v="7370" actId="165"/>
          <ac:grpSpMkLst>
            <pc:docMk/>
            <pc:sldMk cId="3771320942" sldId="2147469831"/>
            <ac:grpSpMk id="70" creationId="{E071C4C1-00FA-9954-5B12-A49C85F0B86B}"/>
          </ac:grpSpMkLst>
        </pc:grpChg>
        <pc:grpChg chg="del">
          <ac:chgData name="Paul LEGEARD" userId="73b5704d-da1d-4b70-8e12-6d54d32b01a3" providerId="ADAL" clId="{6A0B0392-5B89-4C63-A1D8-1EA797692AC0}" dt="2023-04-17T14:51:59.810" v="7370" actId="165"/>
          <ac:grpSpMkLst>
            <pc:docMk/>
            <pc:sldMk cId="3771320942" sldId="2147469831"/>
            <ac:grpSpMk id="73" creationId="{DCC244FA-8914-5AD1-C7C2-CCBF16FF16F4}"/>
          </ac:grpSpMkLst>
        </pc:grpChg>
      </pc:sldChg>
      <pc:sldMasterChg chg="delSldLayout">
        <pc:chgData name="Paul LEGEARD" userId="73b5704d-da1d-4b70-8e12-6d54d32b01a3" providerId="ADAL" clId="{6A0B0392-5B89-4C63-A1D8-1EA797692AC0}" dt="2023-04-17T07:43:27.106" v="3639" actId="47"/>
        <pc:sldMasterMkLst>
          <pc:docMk/>
          <pc:sldMasterMk cId="3605024799" sldId="2147484446"/>
        </pc:sldMasterMkLst>
        <pc:sldLayoutChg chg="del">
          <pc:chgData name="Paul LEGEARD" userId="73b5704d-da1d-4b70-8e12-6d54d32b01a3" providerId="ADAL" clId="{6A0B0392-5B89-4C63-A1D8-1EA797692AC0}" dt="2023-04-17T07:43:27.106" v="3639" actId="47"/>
          <pc:sldLayoutMkLst>
            <pc:docMk/>
            <pc:sldMasterMk cId="3605024799" sldId="2147484446"/>
            <pc:sldLayoutMk cId="3766040405" sldId="2147484563"/>
          </pc:sldLayoutMkLst>
        </pc:sldLayoutChg>
      </pc:sldMasterChg>
      <pc:sldMasterChg chg="del delSldLayout">
        <pc:chgData name="Paul LEGEARD" userId="73b5704d-da1d-4b70-8e12-6d54d32b01a3" providerId="ADAL" clId="{6A0B0392-5B89-4C63-A1D8-1EA797692AC0}" dt="2023-04-17T07:43:30.754" v="3652" actId="47"/>
        <pc:sldMasterMkLst>
          <pc:docMk/>
          <pc:sldMasterMk cId="737852003" sldId="2147484581"/>
        </pc:sldMasterMkLst>
        <pc:sldLayoutChg chg="del">
          <pc:chgData name="Paul LEGEARD" userId="73b5704d-da1d-4b70-8e12-6d54d32b01a3" providerId="ADAL" clId="{6A0B0392-5B89-4C63-A1D8-1EA797692AC0}" dt="2023-04-17T07:43:30.754" v="3652" actId="47"/>
          <pc:sldLayoutMkLst>
            <pc:docMk/>
            <pc:sldMasterMk cId="737852003" sldId="2147484581"/>
            <pc:sldLayoutMk cId="515354748" sldId="2147484582"/>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734696684" sldId="2147484583"/>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862747571" sldId="2147484584"/>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647383840" sldId="2147484585"/>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787543034" sldId="2147484586"/>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924193891" sldId="2147484587"/>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202188224" sldId="2147484588"/>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593113122" sldId="2147484589"/>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815964436" sldId="2147484590"/>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858910495" sldId="2147484591"/>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495462687" sldId="2147484592"/>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123413688" sldId="2147484593"/>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698530712" sldId="2147484594"/>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292970959" sldId="2147484595"/>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808237725" sldId="2147484596"/>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773029163" sldId="2147484597"/>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684401977" sldId="2147484598"/>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117840224" sldId="2147484599"/>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454971958" sldId="2147484600"/>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6227805" sldId="2147484601"/>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930043286" sldId="2147484602"/>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98161677" sldId="2147484603"/>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441301500" sldId="2147484604"/>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243675940" sldId="2147484605"/>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662645285" sldId="2147484606"/>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053397120" sldId="2147484607"/>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128402295" sldId="2147484608"/>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593579134" sldId="2147484609"/>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62472082" sldId="2147484610"/>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055847894" sldId="2147484611"/>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66522951" sldId="2147484612"/>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98167421" sldId="2147484613"/>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997689188" sldId="2147484614"/>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67996280" sldId="2147484615"/>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445354163" sldId="2147484616"/>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031801671" sldId="2147484617"/>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999069567" sldId="2147484618"/>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595835392" sldId="2147484619"/>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058813760" sldId="2147484620"/>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03919656" sldId="2147484621"/>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2756272269" sldId="2147484622"/>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4010678677" sldId="2147484623"/>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1821310106" sldId="2147484624"/>
          </pc:sldLayoutMkLst>
        </pc:sldLayoutChg>
        <pc:sldLayoutChg chg="del">
          <pc:chgData name="Paul LEGEARD" userId="73b5704d-da1d-4b70-8e12-6d54d32b01a3" providerId="ADAL" clId="{6A0B0392-5B89-4C63-A1D8-1EA797692AC0}" dt="2023-04-17T07:43:30.754" v="3652" actId="47"/>
          <pc:sldLayoutMkLst>
            <pc:docMk/>
            <pc:sldMasterMk cId="737852003" sldId="2147484581"/>
            <pc:sldLayoutMk cId="3306650216" sldId="2147484625"/>
          </pc:sldLayoutMkLst>
        </pc:sldLayoutChg>
        <pc:sldLayoutChg chg="del">
          <pc:chgData name="Paul LEGEARD" userId="73b5704d-da1d-4b70-8e12-6d54d32b01a3" providerId="ADAL" clId="{6A0B0392-5B89-4C63-A1D8-1EA797692AC0}" dt="2023-04-17T07:43:26.698" v="3636" actId="47"/>
          <pc:sldLayoutMkLst>
            <pc:docMk/>
            <pc:sldMasterMk cId="737852003" sldId="2147484581"/>
            <pc:sldLayoutMk cId="3595286028" sldId="2147484626"/>
          </pc:sldLayoutMkLst>
        </pc:sldLayoutChg>
      </pc:sldMasterChg>
    </pc:docChg>
  </pc:docChgLst>
  <pc:docChgLst>
    <pc:chgData name="Paul LEGEARD" userId="73b5704d-da1d-4b70-8e12-6d54d32b01a3" providerId="ADAL" clId="{818CDE1F-DBB7-4542-9864-22B86763DC7E}"/>
    <pc:docChg chg="custSel modSld">
      <pc:chgData name="Paul LEGEARD" userId="73b5704d-da1d-4b70-8e12-6d54d32b01a3" providerId="ADAL" clId="{818CDE1F-DBB7-4542-9864-22B86763DC7E}" dt="2023-04-04T09:50:38.523" v="90" actId="14100"/>
      <pc:docMkLst>
        <pc:docMk/>
      </pc:docMkLst>
      <pc:sldChg chg="delSp mod">
        <pc:chgData name="Paul LEGEARD" userId="73b5704d-da1d-4b70-8e12-6d54d32b01a3" providerId="ADAL" clId="{818CDE1F-DBB7-4542-9864-22B86763DC7E}" dt="2023-04-04T08:54:19.253" v="0" actId="478"/>
        <pc:sldMkLst>
          <pc:docMk/>
          <pc:sldMk cId="1065887249" sldId="256"/>
        </pc:sldMkLst>
        <pc:spChg chg="del">
          <ac:chgData name="Paul LEGEARD" userId="73b5704d-da1d-4b70-8e12-6d54d32b01a3" providerId="ADAL" clId="{818CDE1F-DBB7-4542-9864-22B86763DC7E}" dt="2023-04-04T08:54:19.253" v="0" actId="478"/>
          <ac:spMkLst>
            <pc:docMk/>
            <pc:sldMk cId="1065887249" sldId="256"/>
            <ac:spMk id="2" creationId="{78F2FAC1-1BBF-4E58-A048-93DEFA4FD164}"/>
          </ac:spMkLst>
        </pc:spChg>
      </pc:sldChg>
      <pc:sldChg chg="modNotesTx">
        <pc:chgData name="Paul LEGEARD" userId="73b5704d-da1d-4b70-8e12-6d54d32b01a3" providerId="ADAL" clId="{818CDE1F-DBB7-4542-9864-22B86763DC7E}" dt="2023-04-04T08:55:56.926" v="3" actId="113"/>
        <pc:sldMkLst>
          <pc:docMk/>
          <pc:sldMk cId="3569893162" sldId="2147374865"/>
        </pc:sldMkLst>
      </pc:sldChg>
      <pc:sldChg chg="addSp delSp modSp mod">
        <pc:chgData name="Paul LEGEARD" userId="73b5704d-da1d-4b70-8e12-6d54d32b01a3" providerId="ADAL" clId="{818CDE1F-DBB7-4542-9864-22B86763DC7E}" dt="2023-04-04T09:50:38.523" v="90" actId="14100"/>
        <pc:sldMkLst>
          <pc:docMk/>
          <pc:sldMk cId="4182100474" sldId="2147374873"/>
        </pc:sldMkLst>
        <pc:spChg chg="add del mod">
          <ac:chgData name="Paul LEGEARD" userId="73b5704d-da1d-4b70-8e12-6d54d32b01a3" providerId="ADAL" clId="{818CDE1F-DBB7-4542-9864-22B86763DC7E}" dt="2023-04-04T09:50:19.240" v="70" actId="478"/>
          <ac:spMkLst>
            <pc:docMk/>
            <pc:sldMk cId="4182100474" sldId="2147374873"/>
            <ac:spMk id="2" creationId="{1B3B11C6-6F64-A1EC-BE6D-A052F7F51D4E}"/>
          </ac:spMkLst>
        </pc:spChg>
        <pc:spChg chg="mod">
          <ac:chgData name="Paul LEGEARD" userId="73b5704d-da1d-4b70-8e12-6d54d32b01a3" providerId="ADAL" clId="{818CDE1F-DBB7-4542-9864-22B86763DC7E}" dt="2023-04-04T09:01:08.397" v="21" actId="108"/>
          <ac:spMkLst>
            <pc:docMk/>
            <pc:sldMk cId="4182100474" sldId="2147374873"/>
            <ac:spMk id="34" creationId="{F39D2A20-14D3-0A7B-171A-8093616BCCCF}"/>
          </ac:spMkLst>
        </pc:spChg>
        <pc:spChg chg="mod">
          <ac:chgData name="Paul LEGEARD" userId="73b5704d-da1d-4b70-8e12-6d54d32b01a3" providerId="ADAL" clId="{818CDE1F-DBB7-4542-9864-22B86763DC7E}" dt="2023-04-04T09:50:29.639" v="89" actId="20577"/>
          <ac:spMkLst>
            <pc:docMk/>
            <pc:sldMk cId="4182100474" sldId="2147374873"/>
            <ac:spMk id="40" creationId="{9647CF43-A9F1-A1AB-B95F-E93E92139F20}"/>
          </ac:spMkLst>
        </pc:spChg>
        <pc:spChg chg="del mod topLvl">
          <ac:chgData name="Paul LEGEARD" userId="73b5704d-da1d-4b70-8e12-6d54d32b01a3" providerId="ADAL" clId="{818CDE1F-DBB7-4542-9864-22B86763DC7E}" dt="2023-04-04T09:47:41.295" v="27" actId="478"/>
          <ac:spMkLst>
            <pc:docMk/>
            <pc:sldMk cId="4182100474" sldId="2147374873"/>
            <ac:spMk id="51" creationId="{CA940D74-52C5-2C68-9464-0D709B50E1C5}"/>
          </ac:spMkLst>
        </pc:spChg>
        <pc:spChg chg="del topLvl">
          <ac:chgData name="Paul LEGEARD" userId="73b5704d-da1d-4b70-8e12-6d54d32b01a3" providerId="ADAL" clId="{818CDE1F-DBB7-4542-9864-22B86763DC7E}" dt="2023-04-04T09:47:43.502" v="28" actId="478"/>
          <ac:spMkLst>
            <pc:docMk/>
            <pc:sldMk cId="4182100474" sldId="2147374873"/>
            <ac:spMk id="52" creationId="{D3A5B6EE-890C-7B96-7450-052E2BC58580}"/>
          </ac:spMkLst>
        </pc:spChg>
        <pc:grpChg chg="mod">
          <ac:chgData name="Paul LEGEARD" userId="73b5704d-da1d-4b70-8e12-6d54d32b01a3" providerId="ADAL" clId="{818CDE1F-DBB7-4542-9864-22B86763DC7E}" dt="2023-04-04T09:50:38.523" v="90" actId="14100"/>
          <ac:grpSpMkLst>
            <pc:docMk/>
            <pc:sldMk cId="4182100474" sldId="2147374873"/>
            <ac:grpSpMk id="57" creationId="{E5583D5F-9BB3-277D-CA69-EB0FC2BB8072}"/>
          </ac:grpSpMkLst>
        </pc:grpChg>
        <pc:grpChg chg="del">
          <ac:chgData name="Paul LEGEARD" userId="73b5704d-da1d-4b70-8e12-6d54d32b01a3" providerId="ADAL" clId="{818CDE1F-DBB7-4542-9864-22B86763DC7E}" dt="2023-04-04T09:47:41.295" v="27" actId="478"/>
          <ac:grpSpMkLst>
            <pc:docMk/>
            <pc:sldMk cId="4182100474" sldId="2147374873"/>
            <ac:grpSpMk id="58" creationId="{7133932B-B902-1F44-3CC9-2446F2CD831C}"/>
          </ac:grpSpMkLst>
        </pc:grpChg>
        <pc:grpChg chg="mod">
          <ac:chgData name="Paul LEGEARD" userId="73b5704d-da1d-4b70-8e12-6d54d32b01a3" providerId="ADAL" clId="{818CDE1F-DBB7-4542-9864-22B86763DC7E}" dt="2023-04-04T08:54:43.742" v="1" actId="1076"/>
          <ac:grpSpMkLst>
            <pc:docMk/>
            <pc:sldMk cId="4182100474" sldId="2147374873"/>
            <ac:grpSpMk id="62" creationId="{5B6E6522-D1BC-4775-CB20-DCD6C2BA1A4B}"/>
          </ac:grpSpMkLst>
        </pc:grpChg>
      </pc:sldChg>
      <pc:sldChg chg="modNotesTx">
        <pc:chgData name="Paul LEGEARD" userId="73b5704d-da1d-4b70-8e12-6d54d32b01a3" providerId="ADAL" clId="{818CDE1F-DBB7-4542-9864-22B86763DC7E}" dt="2023-04-04T08:55:53.834" v="2" actId="113"/>
        <pc:sldMkLst>
          <pc:docMk/>
          <pc:sldMk cId="2769979293" sldId="2147469791"/>
        </pc:sldMkLst>
      </pc:sldChg>
    </pc:docChg>
  </pc:docChgLst>
  <pc:docChgLst>
    <pc:chgData name="Sabina PETRASHOVA" userId="S::sabina.petrashova_tribu-conseil.com#ext#@cacommun.onmicrosoft.com::130c87d6-a9a5-4581-a97a-ed5fb9af8a0e" providerId="AD" clId="Web-{1E3ABEE6-7054-4DAA-96D0-20B82DB02C10}"/>
    <pc:docChg chg="modSld">
      <pc:chgData name="Sabina PETRASHOVA" userId="S::sabina.petrashova_tribu-conseil.com#ext#@cacommun.onmicrosoft.com::130c87d6-a9a5-4581-a97a-ed5fb9af8a0e" providerId="AD" clId="Web-{1E3ABEE6-7054-4DAA-96D0-20B82DB02C10}" dt="2023-10-03T09:54:40.682" v="13"/>
      <pc:docMkLst>
        <pc:docMk/>
      </pc:docMkLst>
      <pc:sldChg chg="modSp">
        <pc:chgData name="Sabina PETRASHOVA" userId="S::sabina.petrashova_tribu-conseil.com#ext#@cacommun.onmicrosoft.com::130c87d6-a9a5-4581-a97a-ed5fb9af8a0e" providerId="AD" clId="Web-{1E3ABEE6-7054-4DAA-96D0-20B82DB02C10}" dt="2023-10-03T09:54:40.682" v="13"/>
        <pc:sldMkLst>
          <pc:docMk/>
          <pc:sldMk cId="2177110135" sldId="2147471267"/>
        </pc:sldMkLst>
        <pc:graphicFrameChg chg="mod modGraphic">
          <ac:chgData name="Sabina PETRASHOVA" userId="S::sabina.petrashova_tribu-conseil.com#ext#@cacommun.onmicrosoft.com::130c87d6-a9a5-4581-a97a-ed5fb9af8a0e" providerId="AD" clId="Web-{1E3ABEE6-7054-4DAA-96D0-20B82DB02C10}" dt="2023-10-03T09:54:40.682" v="13"/>
          <ac:graphicFrameMkLst>
            <pc:docMk/>
            <pc:sldMk cId="2177110135" sldId="2147471267"/>
            <ac:graphicFrameMk id="31" creationId="{DB0FFF77-4836-FB6F-BD7B-4F1D0096B34A}"/>
          </ac:graphicFrameMkLst>
        </pc:graphicFrameChg>
      </pc:sldChg>
    </pc:docChg>
  </pc:docChgLst>
  <pc:docChgLst>
    <pc:chgData name="Sabina PETRASHOVA" userId="S::sabina.petrashova_tribu-conseil.com#ext#@cacommun.onmicrosoft.com::130c87d6-a9a5-4581-a97a-ed5fb9af8a0e" providerId="AD" clId="Web-{40C05C4F-030D-5151-65E2-98A3351F9C57}"/>
    <pc:docChg chg="modSld">
      <pc:chgData name="Sabina PETRASHOVA" userId="S::sabina.petrashova_tribu-conseil.com#ext#@cacommun.onmicrosoft.com::130c87d6-a9a5-4581-a97a-ed5fb9af8a0e" providerId="AD" clId="Web-{40C05C4F-030D-5151-65E2-98A3351F9C57}" dt="2023-09-29T14:45:48.105" v="0"/>
      <pc:docMkLst>
        <pc:docMk/>
      </pc:docMkLst>
      <pc:sldChg chg="modSp">
        <pc:chgData name="Sabina PETRASHOVA" userId="S::sabina.petrashova_tribu-conseil.com#ext#@cacommun.onmicrosoft.com::130c87d6-a9a5-4581-a97a-ed5fb9af8a0e" providerId="AD" clId="Web-{40C05C4F-030D-5151-65E2-98A3351F9C57}" dt="2023-09-29T14:45:48.105" v="0"/>
        <pc:sldMkLst>
          <pc:docMk/>
          <pc:sldMk cId="278627115" sldId="2147471323"/>
        </pc:sldMkLst>
        <pc:graphicFrameChg chg="modGraphic">
          <ac:chgData name="Sabina PETRASHOVA" userId="S::sabina.petrashova_tribu-conseil.com#ext#@cacommun.onmicrosoft.com::130c87d6-a9a5-4581-a97a-ed5fb9af8a0e" providerId="AD" clId="Web-{40C05C4F-030D-5151-65E2-98A3351F9C57}" dt="2023-09-29T14:45:48.105" v="0"/>
          <ac:graphicFrameMkLst>
            <pc:docMk/>
            <pc:sldMk cId="278627115" sldId="2147471323"/>
            <ac:graphicFrameMk id="19" creationId="{28818E17-57D2-AD36-7486-F4C9041136C8}"/>
          </ac:graphicFrameMkLst>
        </pc:graphicFrameChg>
      </pc:sldChg>
    </pc:docChg>
  </pc:docChgLst>
  <pc:docChgLst>
    <pc:chgData name="Sabina PETRASHOVA" userId="S::sabina.petrashova_tribu-conseil.com#ext#@cacommun.onmicrosoft.com::130c87d6-a9a5-4581-a97a-ed5fb9af8a0e" providerId="AD" clId="Web-{264A3481-A26F-4DD8-BCFD-AE471582178C}"/>
    <pc:docChg chg="modSld">
      <pc:chgData name="Sabina PETRASHOVA" userId="S::sabina.petrashova_tribu-conseil.com#ext#@cacommun.onmicrosoft.com::130c87d6-a9a5-4581-a97a-ed5fb9af8a0e" providerId="AD" clId="Web-{264A3481-A26F-4DD8-BCFD-AE471582178C}" dt="2023-09-20T06:25:04.132" v="18" actId="20577"/>
      <pc:docMkLst>
        <pc:docMk/>
      </pc:docMkLst>
      <pc:sldChg chg="modSp">
        <pc:chgData name="Sabina PETRASHOVA" userId="S::sabina.petrashova_tribu-conseil.com#ext#@cacommun.onmicrosoft.com::130c87d6-a9a5-4581-a97a-ed5fb9af8a0e" providerId="AD" clId="Web-{264A3481-A26F-4DD8-BCFD-AE471582178C}" dt="2023-09-20T06:25:04.132" v="18" actId="20577"/>
        <pc:sldMkLst>
          <pc:docMk/>
          <pc:sldMk cId="278627115" sldId="2147471323"/>
        </pc:sldMkLst>
        <pc:spChg chg="mod">
          <ac:chgData name="Sabina PETRASHOVA" userId="S::sabina.petrashova_tribu-conseil.com#ext#@cacommun.onmicrosoft.com::130c87d6-a9a5-4581-a97a-ed5fb9af8a0e" providerId="AD" clId="Web-{264A3481-A26F-4DD8-BCFD-AE471582178C}" dt="2023-09-20T06:25:04.132" v="18" actId="20577"/>
          <ac:spMkLst>
            <pc:docMk/>
            <pc:sldMk cId="278627115" sldId="2147471323"/>
            <ac:spMk id="18" creationId="{D3AE7AC4-769B-2BDA-8E8C-84C98E97290A}"/>
          </ac:spMkLst>
        </pc:spChg>
      </pc:sldChg>
    </pc:docChg>
  </pc:docChgLst>
  <pc:docChgLst>
    <pc:chgData name="Sabina PETRASHOVA" userId="S::sabina.petrashova_tribu-conseil.com#ext#@cacommun.onmicrosoft.com::130c87d6-a9a5-4581-a97a-ed5fb9af8a0e" providerId="AD" clId="Web-{9B5AC4F2-521D-4FEC-95DB-4C3A4CFE3261}"/>
    <pc:docChg chg="modSld">
      <pc:chgData name="Sabina PETRASHOVA" userId="S::sabina.petrashova_tribu-conseil.com#ext#@cacommun.onmicrosoft.com::130c87d6-a9a5-4581-a97a-ed5fb9af8a0e" providerId="AD" clId="Web-{9B5AC4F2-521D-4FEC-95DB-4C3A4CFE3261}" dt="2023-09-25T09:29:10.118" v="49" actId="20577"/>
      <pc:docMkLst>
        <pc:docMk/>
      </pc:docMkLst>
      <pc:sldChg chg="addSp delSp modSp">
        <pc:chgData name="Sabina PETRASHOVA" userId="S::sabina.petrashova_tribu-conseil.com#ext#@cacommun.onmicrosoft.com::130c87d6-a9a5-4581-a97a-ed5fb9af8a0e" providerId="AD" clId="Web-{9B5AC4F2-521D-4FEC-95DB-4C3A4CFE3261}" dt="2023-09-25T09:29:10.118" v="49" actId="20577"/>
        <pc:sldMkLst>
          <pc:docMk/>
          <pc:sldMk cId="1428402382" sldId="2147471330"/>
        </pc:sldMkLst>
        <pc:spChg chg="add mod">
          <ac:chgData name="Sabina PETRASHOVA" userId="S::sabina.petrashova_tribu-conseil.com#ext#@cacommun.onmicrosoft.com::130c87d6-a9a5-4581-a97a-ed5fb9af8a0e" providerId="AD" clId="Web-{9B5AC4F2-521D-4FEC-95DB-4C3A4CFE3261}" dt="2023-09-25T09:23:42.755" v="7" actId="20577"/>
          <ac:spMkLst>
            <pc:docMk/>
            <pc:sldMk cId="1428402382" sldId="2147471330"/>
            <ac:spMk id="3" creationId="{746259B4-A366-9450-F382-8DF08FDD80FB}"/>
          </ac:spMkLst>
        </pc:spChg>
        <pc:spChg chg="mod">
          <ac:chgData name="Sabina PETRASHOVA" userId="S::sabina.petrashova_tribu-conseil.com#ext#@cacommun.onmicrosoft.com::130c87d6-a9a5-4581-a97a-ed5fb9af8a0e" providerId="AD" clId="Web-{9B5AC4F2-521D-4FEC-95DB-4C3A4CFE3261}" dt="2023-09-25T09:27:57.805" v="31" actId="1076"/>
          <ac:spMkLst>
            <pc:docMk/>
            <pc:sldMk cId="1428402382" sldId="2147471330"/>
            <ac:spMk id="7" creationId="{E85D8045-EC2E-EF9F-D129-99652C2F9285}"/>
          </ac:spMkLst>
        </pc:spChg>
        <pc:spChg chg="add mod">
          <ac:chgData name="Sabina PETRASHOVA" userId="S::sabina.petrashova_tribu-conseil.com#ext#@cacommun.onmicrosoft.com::130c87d6-a9a5-4581-a97a-ed5fb9af8a0e" providerId="AD" clId="Web-{9B5AC4F2-521D-4FEC-95DB-4C3A4CFE3261}" dt="2023-09-25T09:26:10.132" v="10" actId="1076"/>
          <ac:spMkLst>
            <pc:docMk/>
            <pc:sldMk cId="1428402382" sldId="2147471330"/>
            <ac:spMk id="16" creationId="{3C6D67E2-0A0E-4507-D29C-37D2F739CB30}"/>
          </ac:spMkLst>
        </pc:spChg>
        <pc:spChg chg="mod">
          <ac:chgData name="Sabina PETRASHOVA" userId="S::sabina.petrashova_tribu-conseil.com#ext#@cacommun.onmicrosoft.com::130c87d6-a9a5-4581-a97a-ed5fb9af8a0e" providerId="AD" clId="Web-{9B5AC4F2-521D-4FEC-95DB-4C3A4CFE3261}" dt="2023-09-25T09:28:43.102" v="45" actId="14100"/>
          <ac:spMkLst>
            <pc:docMk/>
            <pc:sldMk cId="1428402382" sldId="2147471330"/>
            <ac:spMk id="22" creationId="{2A7CCB27-1FBF-5A83-ACE8-CEFB25E2D9D9}"/>
          </ac:spMkLst>
        </pc:spChg>
        <pc:spChg chg="add mod">
          <ac:chgData name="Sabina PETRASHOVA" userId="S::sabina.petrashova_tribu-conseil.com#ext#@cacommun.onmicrosoft.com::130c87d6-a9a5-4581-a97a-ed5fb9af8a0e" providerId="AD" clId="Web-{9B5AC4F2-521D-4FEC-95DB-4C3A4CFE3261}" dt="2023-09-25T09:27:23.914" v="26" actId="1076"/>
          <ac:spMkLst>
            <pc:docMk/>
            <pc:sldMk cId="1428402382" sldId="2147471330"/>
            <ac:spMk id="24" creationId="{4B2FEE7A-ACCF-5771-AB61-A33E0707D890}"/>
          </ac:spMkLst>
        </pc:spChg>
        <pc:spChg chg="add mod">
          <ac:chgData name="Sabina PETRASHOVA" userId="S::sabina.petrashova_tribu-conseil.com#ext#@cacommun.onmicrosoft.com::130c87d6-a9a5-4581-a97a-ed5fb9af8a0e" providerId="AD" clId="Web-{9B5AC4F2-521D-4FEC-95DB-4C3A4CFE3261}" dt="2023-09-25T09:27:18.398" v="24" actId="1076"/>
          <ac:spMkLst>
            <pc:docMk/>
            <pc:sldMk cId="1428402382" sldId="2147471330"/>
            <ac:spMk id="28" creationId="{D509D931-8D05-5404-B8C2-60F2937A3CB8}"/>
          </ac:spMkLst>
        </pc:spChg>
        <pc:spChg chg="add del">
          <ac:chgData name="Sabina PETRASHOVA" userId="S::sabina.petrashova_tribu-conseil.com#ext#@cacommun.onmicrosoft.com::130c87d6-a9a5-4581-a97a-ed5fb9af8a0e" providerId="AD" clId="Web-{9B5AC4F2-521D-4FEC-95DB-4C3A4CFE3261}" dt="2023-09-25T09:28:05.461" v="35"/>
          <ac:spMkLst>
            <pc:docMk/>
            <pc:sldMk cId="1428402382" sldId="2147471330"/>
            <ac:spMk id="32" creationId="{CA89222F-0487-266A-96C6-287890CB67B2}"/>
          </ac:spMkLst>
        </pc:spChg>
        <pc:spChg chg="add del">
          <ac:chgData name="Sabina PETRASHOVA" userId="S::sabina.petrashova_tribu-conseil.com#ext#@cacommun.onmicrosoft.com::130c87d6-a9a5-4581-a97a-ed5fb9af8a0e" providerId="AD" clId="Web-{9B5AC4F2-521D-4FEC-95DB-4C3A4CFE3261}" dt="2023-09-25T09:28:10.633" v="39"/>
          <ac:spMkLst>
            <pc:docMk/>
            <pc:sldMk cId="1428402382" sldId="2147471330"/>
            <ac:spMk id="36" creationId="{F98343AD-E400-58CE-0DEB-ACED77B0A304}"/>
          </ac:spMkLst>
        </pc:spChg>
        <pc:spChg chg="add mod">
          <ac:chgData name="Sabina PETRASHOVA" userId="S::sabina.petrashova_tribu-conseil.com#ext#@cacommun.onmicrosoft.com::130c87d6-a9a5-4581-a97a-ed5fb9af8a0e" providerId="AD" clId="Web-{9B5AC4F2-521D-4FEC-95DB-4C3A4CFE3261}" dt="2023-09-25T09:29:10.118" v="49" actId="20577"/>
          <ac:spMkLst>
            <pc:docMk/>
            <pc:sldMk cId="1428402382" sldId="2147471330"/>
            <ac:spMk id="39" creationId="{D892C1BF-385A-D2C5-FF7D-758B4797F93B}"/>
          </ac:spMkLst>
        </pc:spChg>
        <pc:graphicFrameChg chg="mod modGraphic">
          <ac:chgData name="Sabina PETRASHOVA" userId="S::sabina.petrashova_tribu-conseil.com#ext#@cacommun.onmicrosoft.com::130c87d6-a9a5-4581-a97a-ed5fb9af8a0e" providerId="AD" clId="Web-{9B5AC4F2-521D-4FEC-95DB-4C3A4CFE3261}" dt="2023-09-25T09:28:27.102" v="43" actId="1076"/>
          <ac:graphicFrameMkLst>
            <pc:docMk/>
            <pc:sldMk cId="1428402382" sldId="2147471330"/>
            <ac:graphicFrameMk id="12" creationId="{8A96CA9D-83BA-7859-2332-EFCC654ED0E6}"/>
          </ac:graphicFrameMkLst>
        </pc:graphicFrameChg>
        <pc:picChg chg="add mod">
          <ac:chgData name="Sabina PETRASHOVA" userId="S::sabina.petrashova_tribu-conseil.com#ext#@cacommun.onmicrosoft.com::130c87d6-a9a5-4581-a97a-ed5fb9af8a0e" providerId="AD" clId="Web-{9B5AC4F2-521D-4FEC-95DB-4C3A4CFE3261}" dt="2023-09-25T09:26:10.163" v="11" actId="1076"/>
          <ac:picMkLst>
            <pc:docMk/>
            <pc:sldMk cId="1428402382" sldId="2147471330"/>
            <ac:picMk id="10" creationId="{3D0BFD20-5201-038E-EE0F-EB324176859F}"/>
          </ac:picMkLst>
        </pc:picChg>
        <pc:picChg chg="add mod">
          <ac:chgData name="Sabina PETRASHOVA" userId="S::sabina.petrashova_tribu-conseil.com#ext#@cacommun.onmicrosoft.com::130c87d6-a9a5-4581-a97a-ed5fb9af8a0e" providerId="AD" clId="Web-{9B5AC4F2-521D-4FEC-95DB-4C3A4CFE3261}" dt="2023-09-25T09:27:23.945" v="27" actId="1076"/>
          <ac:picMkLst>
            <pc:docMk/>
            <pc:sldMk cId="1428402382" sldId="2147471330"/>
            <ac:picMk id="26" creationId="{59E5B6AB-EDEF-5C59-4EAB-4EF04BC9E0EC}"/>
          </ac:picMkLst>
        </pc:picChg>
        <pc:picChg chg="add mod">
          <ac:chgData name="Sabina PETRASHOVA" userId="S::sabina.petrashova_tribu-conseil.com#ext#@cacommun.onmicrosoft.com::130c87d6-a9a5-4581-a97a-ed5fb9af8a0e" providerId="AD" clId="Web-{9B5AC4F2-521D-4FEC-95DB-4C3A4CFE3261}" dt="2023-09-25T09:27:18.430" v="25" actId="1076"/>
          <ac:picMkLst>
            <pc:docMk/>
            <pc:sldMk cId="1428402382" sldId="2147471330"/>
            <ac:picMk id="30" creationId="{173295C6-ED40-3BF2-4CBC-1D9AC6A3167E}"/>
          </ac:picMkLst>
        </pc:picChg>
        <pc:picChg chg="add del">
          <ac:chgData name="Sabina PETRASHOVA" userId="S::sabina.petrashova_tribu-conseil.com#ext#@cacommun.onmicrosoft.com::130c87d6-a9a5-4581-a97a-ed5fb9af8a0e" providerId="AD" clId="Web-{9B5AC4F2-521D-4FEC-95DB-4C3A4CFE3261}" dt="2023-09-25T09:28:05.461" v="34"/>
          <ac:picMkLst>
            <pc:docMk/>
            <pc:sldMk cId="1428402382" sldId="2147471330"/>
            <ac:picMk id="34" creationId="{013C812F-F351-656D-8810-258E9176F232}"/>
          </ac:picMkLst>
        </pc:picChg>
        <pc:picChg chg="add del">
          <ac:chgData name="Sabina PETRASHOVA" userId="S::sabina.petrashova_tribu-conseil.com#ext#@cacommun.onmicrosoft.com::130c87d6-a9a5-4581-a97a-ed5fb9af8a0e" providerId="AD" clId="Web-{9B5AC4F2-521D-4FEC-95DB-4C3A4CFE3261}" dt="2023-09-25T09:28:10.633" v="38"/>
          <ac:picMkLst>
            <pc:docMk/>
            <pc:sldMk cId="1428402382" sldId="2147471330"/>
            <ac:picMk id="38" creationId="{D55EF40D-E591-7DAE-86DB-FBEADC192394}"/>
          </ac:picMkLst>
        </pc:picChg>
      </pc:sldChg>
    </pc:docChg>
  </pc:docChgLst>
  <pc:docChgLst>
    <pc:chgData name="Paul LEGEARD" userId="73b5704d-da1d-4b70-8e12-6d54d32b01a3" providerId="ADAL" clId="{34D27C30-2355-4BC1-A70E-6D76C2E2FCE9}"/>
    <pc:docChg chg="undo custSel addSld delSld modSld sldOrd delMainMaster modMainMaster">
      <pc:chgData name="Paul LEGEARD" userId="73b5704d-da1d-4b70-8e12-6d54d32b01a3" providerId="ADAL" clId="{34D27C30-2355-4BC1-A70E-6D76C2E2FCE9}" dt="2023-04-12T12:01:53.579" v="2911"/>
      <pc:docMkLst>
        <pc:docMk/>
      </pc:docMkLst>
      <pc:sldChg chg="modSp mod">
        <pc:chgData name="Paul LEGEARD" userId="73b5704d-da1d-4b70-8e12-6d54d32b01a3" providerId="ADAL" clId="{34D27C30-2355-4BC1-A70E-6D76C2E2FCE9}" dt="2023-04-12T09:25:44.286" v="79" actId="20577"/>
        <pc:sldMkLst>
          <pc:docMk/>
          <pc:sldMk cId="1065887249" sldId="256"/>
        </pc:sldMkLst>
        <pc:spChg chg="mod">
          <ac:chgData name="Paul LEGEARD" userId="73b5704d-da1d-4b70-8e12-6d54d32b01a3" providerId="ADAL" clId="{34D27C30-2355-4BC1-A70E-6D76C2E2FCE9}" dt="2023-04-12T09:25:40.761" v="73" actId="404"/>
          <ac:spMkLst>
            <pc:docMk/>
            <pc:sldMk cId="1065887249" sldId="256"/>
            <ac:spMk id="3" creationId="{9E91F614-89FB-4354-B5E3-ECD766CDC165}"/>
          </ac:spMkLst>
        </pc:spChg>
        <pc:spChg chg="mod">
          <ac:chgData name="Paul LEGEARD" userId="73b5704d-da1d-4b70-8e12-6d54d32b01a3" providerId="ADAL" clId="{34D27C30-2355-4BC1-A70E-6D76C2E2FCE9}" dt="2023-04-12T09:25:44.286" v="79" actId="20577"/>
          <ac:spMkLst>
            <pc:docMk/>
            <pc:sldMk cId="1065887249" sldId="256"/>
            <ac:spMk id="7" creationId="{BF1A3B6F-14E8-4284-B1D9-EED8011BDF16}"/>
          </ac:spMkLst>
        </pc:spChg>
      </pc:sldChg>
      <pc:sldChg chg="addSp modSp add modNotes">
        <pc:chgData name="Paul LEGEARD" userId="73b5704d-da1d-4b70-8e12-6d54d32b01a3" providerId="ADAL" clId="{34D27C30-2355-4BC1-A70E-6D76C2E2FCE9}" dt="2023-04-12T12:01:52.599" v="2910"/>
        <pc:sldMkLst>
          <pc:docMk/>
          <pc:sldMk cId="0" sldId="260"/>
        </pc:sldMkLst>
        <pc:spChg chg="add mod">
          <ac:chgData name="Paul LEGEARD" userId="73b5704d-da1d-4b70-8e12-6d54d32b01a3" providerId="ADAL" clId="{34D27C30-2355-4BC1-A70E-6D76C2E2FCE9}" dt="2023-04-12T12:01:52.599" v="2910"/>
          <ac:spMkLst>
            <pc:docMk/>
            <pc:sldMk cId="0" sldId="260"/>
            <ac:spMk id="2" creationId="{20B3FC48-AF31-E697-EC1D-6F782694ADC5}"/>
          </ac:spMkLst>
        </pc:spChg>
      </pc:sldChg>
      <pc:sldChg chg="addSp modSp add">
        <pc:chgData name="Paul LEGEARD" userId="73b5704d-da1d-4b70-8e12-6d54d32b01a3" providerId="ADAL" clId="{34D27C30-2355-4BC1-A70E-6D76C2E2FCE9}" dt="2023-04-12T12:01:50.218" v="2908"/>
        <pc:sldMkLst>
          <pc:docMk/>
          <pc:sldMk cId="0" sldId="263"/>
        </pc:sldMkLst>
        <pc:spChg chg="add mod">
          <ac:chgData name="Paul LEGEARD" userId="73b5704d-da1d-4b70-8e12-6d54d32b01a3" providerId="ADAL" clId="{34D27C30-2355-4BC1-A70E-6D76C2E2FCE9}" dt="2023-04-12T12:01:50.218" v="2908"/>
          <ac:spMkLst>
            <pc:docMk/>
            <pc:sldMk cId="0" sldId="263"/>
            <ac:spMk id="2" creationId="{6191A18D-1D21-6971-EA30-02088DC4D227}"/>
          </ac:spMkLst>
        </pc:spChg>
      </pc:sldChg>
      <pc:sldChg chg="addSp modSp add">
        <pc:chgData name="Paul LEGEARD" userId="73b5704d-da1d-4b70-8e12-6d54d32b01a3" providerId="ADAL" clId="{34D27C30-2355-4BC1-A70E-6D76C2E2FCE9}" dt="2023-04-12T12:01:51.416" v="2909"/>
        <pc:sldMkLst>
          <pc:docMk/>
          <pc:sldMk cId="0" sldId="264"/>
        </pc:sldMkLst>
        <pc:spChg chg="add mod">
          <ac:chgData name="Paul LEGEARD" userId="73b5704d-da1d-4b70-8e12-6d54d32b01a3" providerId="ADAL" clId="{34D27C30-2355-4BC1-A70E-6D76C2E2FCE9}" dt="2023-04-12T12:01:51.416" v="2909"/>
          <ac:spMkLst>
            <pc:docMk/>
            <pc:sldMk cId="0" sldId="264"/>
            <ac:spMk id="2" creationId="{E352D9DB-0175-F201-BF02-EBC0E8DE2A69}"/>
          </ac:spMkLst>
        </pc:spChg>
      </pc:sldChg>
      <pc:sldChg chg="addSp modSp add mod">
        <pc:chgData name="Paul LEGEARD" userId="73b5704d-da1d-4b70-8e12-6d54d32b01a3" providerId="ADAL" clId="{34D27C30-2355-4BC1-A70E-6D76C2E2FCE9}" dt="2023-04-12T12:01:37.570" v="2899" actId="688"/>
        <pc:sldMkLst>
          <pc:docMk/>
          <pc:sldMk cId="0" sldId="265"/>
        </pc:sldMkLst>
        <pc:spChg chg="add mod">
          <ac:chgData name="Paul LEGEARD" userId="73b5704d-da1d-4b70-8e12-6d54d32b01a3" providerId="ADAL" clId="{34D27C30-2355-4BC1-A70E-6D76C2E2FCE9}" dt="2023-04-12T12:01:37.570" v="2899" actId="688"/>
          <ac:spMkLst>
            <pc:docMk/>
            <pc:sldMk cId="0" sldId="265"/>
            <ac:spMk id="2" creationId="{A7FC385D-3B37-E14D-73C5-EEB8C02ABF91}"/>
          </ac:spMkLst>
        </pc:spChg>
      </pc:sldChg>
      <pc:sldChg chg="addSp modSp add">
        <pc:chgData name="Paul LEGEARD" userId="73b5704d-da1d-4b70-8e12-6d54d32b01a3" providerId="ADAL" clId="{34D27C30-2355-4BC1-A70E-6D76C2E2FCE9}" dt="2023-04-12T12:01:39.871" v="2900"/>
        <pc:sldMkLst>
          <pc:docMk/>
          <pc:sldMk cId="0" sldId="266"/>
        </pc:sldMkLst>
        <pc:spChg chg="add mod">
          <ac:chgData name="Paul LEGEARD" userId="73b5704d-da1d-4b70-8e12-6d54d32b01a3" providerId="ADAL" clId="{34D27C30-2355-4BC1-A70E-6D76C2E2FCE9}" dt="2023-04-12T12:01:39.871" v="2900"/>
          <ac:spMkLst>
            <pc:docMk/>
            <pc:sldMk cId="0" sldId="266"/>
            <ac:spMk id="2" creationId="{D7BD7EE2-24D8-D9DB-A7C3-E68EA6AEACC3}"/>
          </ac:spMkLst>
        </pc:spChg>
      </pc:sldChg>
      <pc:sldChg chg="addSp modSp add">
        <pc:chgData name="Paul LEGEARD" userId="73b5704d-da1d-4b70-8e12-6d54d32b01a3" providerId="ADAL" clId="{34D27C30-2355-4BC1-A70E-6D76C2E2FCE9}" dt="2023-04-12T12:01:41.403" v="2901"/>
        <pc:sldMkLst>
          <pc:docMk/>
          <pc:sldMk cId="0" sldId="267"/>
        </pc:sldMkLst>
        <pc:spChg chg="add mod">
          <ac:chgData name="Paul LEGEARD" userId="73b5704d-da1d-4b70-8e12-6d54d32b01a3" providerId="ADAL" clId="{34D27C30-2355-4BC1-A70E-6D76C2E2FCE9}" dt="2023-04-12T12:01:41.403" v="2901"/>
          <ac:spMkLst>
            <pc:docMk/>
            <pc:sldMk cId="0" sldId="267"/>
            <ac:spMk id="2" creationId="{E0D44BA3-41D2-2C53-4D3E-B8190CB0C4B9}"/>
          </ac:spMkLst>
        </pc:spChg>
      </pc:sldChg>
      <pc:sldChg chg="addSp delSp modSp add mod">
        <pc:chgData name="Paul LEGEARD" userId="73b5704d-da1d-4b70-8e12-6d54d32b01a3" providerId="ADAL" clId="{34D27C30-2355-4BC1-A70E-6D76C2E2FCE9}" dt="2023-04-12T12:01:42.538" v="2902"/>
        <pc:sldMkLst>
          <pc:docMk/>
          <pc:sldMk cId="0" sldId="268"/>
        </pc:sldMkLst>
        <pc:spChg chg="add mod">
          <ac:chgData name="Paul LEGEARD" userId="73b5704d-da1d-4b70-8e12-6d54d32b01a3" providerId="ADAL" clId="{34D27C30-2355-4BC1-A70E-6D76C2E2FCE9}" dt="2023-04-12T12:01:42.538" v="2902"/>
          <ac:spMkLst>
            <pc:docMk/>
            <pc:sldMk cId="0" sldId="268"/>
            <ac:spMk id="2" creationId="{C2243608-B22A-E9C3-0046-5878D64501F0}"/>
          </ac:spMkLst>
        </pc:spChg>
        <pc:spChg chg="del">
          <ac:chgData name="Paul LEGEARD" userId="73b5704d-da1d-4b70-8e12-6d54d32b01a3" providerId="ADAL" clId="{34D27C30-2355-4BC1-A70E-6D76C2E2FCE9}" dt="2023-04-12T11:58:01.647" v="2862" actId="478"/>
          <ac:spMkLst>
            <pc:docMk/>
            <pc:sldMk cId="0" sldId="268"/>
            <ac:spMk id="2581" creationId="{00000000-0000-0000-0000-000000000000}"/>
          </ac:spMkLst>
        </pc:spChg>
        <pc:spChg chg="del">
          <ac:chgData name="Paul LEGEARD" userId="73b5704d-da1d-4b70-8e12-6d54d32b01a3" providerId="ADAL" clId="{34D27C30-2355-4BC1-A70E-6D76C2E2FCE9}" dt="2023-04-12T11:58:01.647" v="2862" actId="478"/>
          <ac:spMkLst>
            <pc:docMk/>
            <pc:sldMk cId="0" sldId="268"/>
            <ac:spMk id="2589" creationId="{00000000-0000-0000-0000-000000000000}"/>
          </ac:spMkLst>
        </pc:spChg>
        <pc:spChg chg="del">
          <ac:chgData name="Paul LEGEARD" userId="73b5704d-da1d-4b70-8e12-6d54d32b01a3" providerId="ADAL" clId="{34D27C30-2355-4BC1-A70E-6D76C2E2FCE9}" dt="2023-04-12T11:58:01.647" v="2862" actId="478"/>
          <ac:spMkLst>
            <pc:docMk/>
            <pc:sldMk cId="0" sldId="268"/>
            <ac:spMk id="2590" creationId="{00000000-0000-0000-0000-000000000000}"/>
          </ac:spMkLst>
        </pc:spChg>
        <pc:grpChg chg="del">
          <ac:chgData name="Paul LEGEARD" userId="73b5704d-da1d-4b70-8e12-6d54d32b01a3" providerId="ADAL" clId="{34D27C30-2355-4BC1-A70E-6D76C2E2FCE9}" dt="2023-04-12T11:57:59.854" v="2861" actId="478"/>
          <ac:grpSpMkLst>
            <pc:docMk/>
            <pc:sldMk cId="0" sldId="268"/>
            <ac:grpSpMk id="2592" creationId="{00000000-0000-0000-0000-000000000000}"/>
          </ac:grpSpMkLst>
        </pc:grpChg>
        <pc:picChg chg="del">
          <ac:chgData name="Paul LEGEARD" userId="73b5704d-da1d-4b70-8e12-6d54d32b01a3" providerId="ADAL" clId="{34D27C30-2355-4BC1-A70E-6D76C2E2FCE9}" dt="2023-04-12T11:58:01.647" v="2862" actId="478"/>
          <ac:picMkLst>
            <pc:docMk/>
            <pc:sldMk cId="0" sldId="268"/>
            <ac:picMk id="2582" creationId="{00000000-0000-0000-0000-000000000000}"/>
          </ac:picMkLst>
        </pc:picChg>
        <pc:picChg chg="del">
          <ac:chgData name="Paul LEGEARD" userId="73b5704d-da1d-4b70-8e12-6d54d32b01a3" providerId="ADAL" clId="{34D27C30-2355-4BC1-A70E-6D76C2E2FCE9}" dt="2023-04-12T11:58:01.647" v="2862" actId="478"/>
          <ac:picMkLst>
            <pc:docMk/>
            <pc:sldMk cId="0" sldId="268"/>
            <ac:picMk id="2597" creationId="{00000000-0000-0000-0000-000000000000}"/>
          </ac:picMkLst>
        </pc:picChg>
        <pc:cxnChg chg="del">
          <ac:chgData name="Paul LEGEARD" userId="73b5704d-da1d-4b70-8e12-6d54d32b01a3" providerId="ADAL" clId="{34D27C30-2355-4BC1-A70E-6D76C2E2FCE9}" dt="2023-04-12T11:58:01.647" v="2862" actId="478"/>
          <ac:cxnSpMkLst>
            <pc:docMk/>
            <pc:sldMk cId="0" sldId="268"/>
            <ac:cxnSpMk id="2591" creationId="{00000000-0000-0000-0000-000000000000}"/>
          </ac:cxnSpMkLst>
        </pc:cxnChg>
      </pc:sldChg>
      <pc:sldChg chg="addSp modSp add">
        <pc:chgData name="Paul LEGEARD" userId="73b5704d-da1d-4b70-8e12-6d54d32b01a3" providerId="ADAL" clId="{34D27C30-2355-4BC1-A70E-6D76C2E2FCE9}" dt="2023-04-12T12:01:43.897" v="2903"/>
        <pc:sldMkLst>
          <pc:docMk/>
          <pc:sldMk cId="0" sldId="271"/>
        </pc:sldMkLst>
        <pc:spChg chg="add mod">
          <ac:chgData name="Paul LEGEARD" userId="73b5704d-da1d-4b70-8e12-6d54d32b01a3" providerId="ADAL" clId="{34D27C30-2355-4BC1-A70E-6D76C2E2FCE9}" dt="2023-04-12T12:01:43.897" v="2903"/>
          <ac:spMkLst>
            <pc:docMk/>
            <pc:sldMk cId="0" sldId="271"/>
            <ac:spMk id="2" creationId="{3AECDA4B-FCFA-2705-6E49-69CD564C888E}"/>
          </ac:spMkLst>
        </pc:spChg>
      </pc:sldChg>
      <pc:sldChg chg="addSp modSp add">
        <pc:chgData name="Paul LEGEARD" userId="73b5704d-da1d-4b70-8e12-6d54d32b01a3" providerId="ADAL" clId="{34D27C30-2355-4BC1-A70E-6D76C2E2FCE9}" dt="2023-04-12T12:01:45.072" v="2904"/>
        <pc:sldMkLst>
          <pc:docMk/>
          <pc:sldMk cId="0" sldId="272"/>
        </pc:sldMkLst>
        <pc:spChg chg="add mod">
          <ac:chgData name="Paul LEGEARD" userId="73b5704d-da1d-4b70-8e12-6d54d32b01a3" providerId="ADAL" clId="{34D27C30-2355-4BC1-A70E-6D76C2E2FCE9}" dt="2023-04-12T12:01:45.072" v="2904"/>
          <ac:spMkLst>
            <pc:docMk/>
            <pc:sldMk cId="0" sldId="272"/>
            <ac:spMk id="2" creationId="{67B450B6-93C3-B507-507F-1FBBD03F96F6}"/>
          </ac:spMkLst>
        </pc:spChg>
      </pc:sldChg>
      <pc:sldChg chg="addSp modSp add">
        <pc:chgData name="Paul LEGEARD" userId="73b5704d-da1d-4b70-8e12-6d54d32b01a3" providerId="ADAL" clId="{34D27C30-2355-4BC1-A70E-6D76C2E2FCE9}" dt="2023-04-12T12:01:46.090" v="2905"/>
        <pc:sldMkLst>
          <pc:docMk/>
          <pc:sldMk cId="0" sldId="283"/>
        </pc:sldMkLst>
        <pc:spChg chg="add mod">
          <ac:chgData name="Paul LEGEARD" userId="73b5704d-da1d-4b70-8e12-6d54d32b01a3" providerId="ADAL" clId="{34D27C30-2355-4BC1-A70E-6D76C2E2FCE9}" dt="2023-04-12T12:01:46.090" v="2905"/>
          <ac:spMkLst>
            <pc:docMk/>
            <pc:sldMk cId="0" sldId="283"/>
            <ac:spMk id="2" creationId="{1342711D-3562-75F2-4C79-A9381269ABDC}"/>
          </ac:spMkLst>
        </pc:spChg>
      </pc:sldChg>
      <pc:sldChg chg="addSp modSp add">
        <pc:chgData name="Paul LEGEARD" userId="73b5704d-da1d-4b70-8e12-6d54d32b01a3" providerId="ADAL" clId="{34D27C30-2355-4BC1-A70E-6D76C2E2FCE9}" dt="2023-04-12T12:01:47.131" v="2906"/>
        <pc:sldMkLst>
          <pc:docMk/>
          <pc:sldMk cId="0" sldId="284"/>
        </pc:sldMkLst>
        <pc:spChg chg="add mod">
          <ac:chgData name="Paul LEGEARD" userId="73b5704d-da1d-4b70-8e12-6d54d32b01a3" providerId="ADAL" clId="{34D27C30-2355-4BC1-A70E-6D76C2E2FCE9}" dt="2023-04-12T12:01:47.131" v="2906"/>
          <ac:spMkLst>
            <pc:docMk/>
            <pc:sldMk cId="0" sldId="284"/>
            <ac:spMk id="2" creationId="{DE9E0286-D4B2-A838-1330-DC5087A000E5}"/>
          </ac:spMkLst>
        </pc:spChg>
      </pc:sldChg>
      <pc:sldChg chg="addSp modSp add del ord">
        <pc:chgData name="Paul LEGEARD" userId="73b5704d-da1d-4b70-8e12-6d54d32b01a3" providerId="ADAL" clId="{34D27C30-2355-4BC1-A70E-6D76C2E2FCE9}" dt="2023-04-12T12:01:48.378" v="2907"/>
        <pc:sldMkLst>
          <pc:docMk/>
          <pc:sldMk cId="0" sldId="324"/>
        </pc:sldMkLst>
        <pc:spChg chg="add mod">
          <ac:chgData name="Paul LEGEARD" userId="73b5704d-da1d-4b70-8e12-6d54d32b01a3" providerId="ADAL" clId="{34D27C30-2355-4BC1-A70E-6D76C2E2FCE9}" dt="2023-04-12T12:01:48.378" v="2907"/>
          <ac:spMkLst>
            <pc:docMk/>
            <pc:sldMk cId="0" sldId="324"/>
            <ac:spMk id="2" creationId="{44B87EFC-440C-BC05-8EF4-E446BA4102B6}"/>
          </ac:spMkLst>
        </pc:spChg>
      </pc:sldChg>
      <pc:sldChg chg="del">
        <pc:chgData name="Paul LEGEARD" userId="73b5704d-da1d-4b70-8e12-6d54d32b01a3" providerId="ADAL" clId="{34D27C30-2355-4BC1-A70E-6D76C2E2FCE9}" dt="2023-04-12T11:43:25.792" v="1747" actId="47"/>
        <pc:sldMkLst>
          <pc:docMk/>
          <pc:sldMk cId="447334412" sldId="2146849061"/>
        </pc:sldMkLst>
      </pc:sldChg>
      <pc:sldChg chg="addSp delSp modSp add del mod">
        <pc:chgData name="Paul LEGEARD" userId="73b5704d-da1d-4b70-8e12-6d54d32b01a3" providerId="ADAL" clId="{34D27C30-2355-4BC1-A70E-6D76C2E2FCE9}" dt="2023-04-12T11:40:53.759" v="1640" actId="166"/>
        <pc:sldMkLst>
          <pc:docMk/>
          <pc:sldMk cId="3569893162" sldId="2147374865"/>
        </pc:sldMkLst>
        <pc:spChg chg="add mod">
          <ac:chgData name="Paul LEGEARD" userId="73b5704d-da1d-4b70-8e12-6d54d32b01a3" providerId="ADAL" clId="{34D27C30-2355-4BC1-A70E-6D76C2E2FCE9}" dt="2023-04-12T11:40:00.030" v="1623" actId="14100"/>
          <ac:spMkLst>
            <pc:docMk/>
            <pc:sldMk cId="3569893162" sldId="2147374865"/>
            <ac:spMk id="4" creationId="{F440E334-72F2-7C79-BB5F-1B705EAA3333}"/>
          </ac:spMkLst>
        </pc:spChg>
        <pc:spChg chg="mod">
          <ac:chgData name="Paul LEGEARD" userId="73b5704d-da1d-4b70-8e12-6d54d32b01a3" providerId="ADAL" clId="{34D27C30-2355-4BC1-A70E-6D76C2E2FCE9}" dt="2023-04-12T11:39:03.304" v="1606" actId="14100"/>
          <ac:spMkLst>
            <pc:docMk/>
            <pc:sldMk cId="3569893162" sldId="2147374865"/>
            <ac:spMk id="5" creationId="{2360AAEC-4CAC-6DF1-6210-5D9F214C835D}"/>
          </ac:spMkLst>
        </pc:spChg>
        <pc:spChg chg="del mod">
          <ac:chgData name="Paul LEGEARD" userId="73b5704d-da1d-4b70-8e12-6d54d32b01a3" providerId="ADAL" clId="{34D27C30-2355-4BC1-A70E-6D76C2E2FCE9}" dt="2023-04-12T11:39:49.820" v="1621"/>
          <ac:spMkLst>
            <pc:docMk/>
            <pc:sldMk cId="3569893162" sldId="2147374865"/>
            <ac:spMk id="7" creationId="{4D71F10D-83D5-BD15-EB01-F5B92DAB529A}"/>
          </ac:spMkLst>
        </pc:spChg>
        <pc:spChg chg="mod">
          <ac:chgData name="Paul LEGEARD" userId="73b5704d-da1d-4b70-8e12-6d54d32b01a3" providerId="ADAL" clId="{34D27C30-2355-4BC1-A70E-6D76C2E2FCE9}" dt="2023-04-12T11:38:45.961" v="1600" actId="1076"/>
          <ac:spMkLst>
            <pc:docMk/>
            <pc:sldMk cId="3569893162" sldId="2147374865"/>
            <ac:spMk id="10" creationId="{4E74B778-093B-DB0A-1C28-D5B503641FB1}"/>
          </ac:spMkLst>
        </pc:spChg>
        <pc:spChg chg="add del mod">
          <ac:chgData name="Paul LEGEARD" userId="73b5704d-da1d-4b70-8e12-6d54d32b01a3" providerId="ADAL" clId="{34D27C30-2355-4BC1-A70E-6D76C2E2FCE9}" dt="2023-04-12T11:39:49.820" v="1621"/>
          <ac:spMkLst>
            <pc:docMk/>
            <pc:sldMk cId="3569893162" sldId="2147374865"/>
            <ac:spMk id="12" creationId="{0CF8BA7A-1EAF-F12B-8E19-E405575C5165}"/>
          </ac:spMkLst>
        </pc:spChg>
        <pc:spChg chg="mod">
          <ac:chgData name="Paul LEGEARD" userId="73b5704d-da1d-4b70-8e12-6d54d32b01a3" providerId="ADAL" clId="{34D27C30-2355-4BC1-A70E-6D76C2E2FCE9}" dt="2023-04-12T11:39:49.820" v="1621"/>
          <ac:spMkLst>
            <pc:docMk/>
            <pc:sldMk cId="3569893162" sldId="2147374865"/>
            <ac:spMk id="13" creationId="{14E933B6-DD6F-2675-42B5-9248684F864C}"/>
          </ac:spMkLst>
        </pc:spChg>
        <pc:spChg chg="add mod">
          <ac:chgData name="Paul LEGEARD" userId="73b5704d-da1d-4b70-8e12-6d54d32b01a3" providerId="ADAL" clId="{34D27C30-2355-4BC1-A70E-6D76C2E2FCE9}" dt="2023-04-12T11:40:51.074" v="1639" actId="554"/>
          <ac:spMkLst>
            <pc:docMk/>
            <pc:sldMk cId="3569893162" sldId="2147374865"/>
            <ac:spMk id="15" creationId="{DD8C3729-560E-3A4B-63A6-479666F1D74F}"/>
          </ac:spMkLst>
        </pc:spChg>
        <pc:spChg chg="add del mod">
          <ac:chgData name="Paul LEGEARD" userId="73b5704d-da1d-4b70-8e12-6d54d32b01a3" providerId="ADAL" clId="{34D27C30-2355-4BC1-A70E-6D76C2E2FCE9}" dt="2023-04-12T11:40:15.735" v="1627" actId="478"/>
          <ac:spMkLst>
            <pc:docMk/>
            <pc:sldMk cId="3569893162" sldId="2147374865"/>
            <ac:spMk id="21" creationId="{FCE00962-25DB-14FA-DF46-C700B739B56D}"/>
          </ac:spMkLst>
        </pc:spChg>
        <pc:spChg chg="mod">
          <ac:chgData name="Paul LEGEARD" userId="73b5704d-da1d-4b70-8e12-6d54d32b01a3" providerId="ADAL" clId="{34D27C30-2355-4BC1-A70E-6D76C2E2FCE9}" dt="2023-04-12T11:40:51.074" v="1639" actId="554"/>
          <ac:spMkLst>
            <pc:docMk/>
            <pc:sldMk cId="3569893162" sldId="2147374865"/>
            <ac:spMk id="24" creationId="{1EDB947B-8462-D24E-8EDE-79A901EF5CBD}"/>
          </ac:spMkLst>
        </pc:spChg>
        <pc:spChg chg="mod ord">
          <ac:chgData name="Paul LEGEARD" userId="73b5704d-da1d-4b70-8e12-6d54d32b01a3" providerId="ADAL" clId="{34D27C30-2355-4BC1-A70E-6D76C2E2FCE9}" dt="2023-04-12T11:40:53.759" v="1640" actId="166"/>
          <ac:spMkLst>
            <pc:docMk/>
            <pc:sldMk cId="3569893162" sldId="2147374865"/>
            <ac:spMk id="27" creationId="{CC66BA12-0877-526A-20BE-A4EC24BBE7C7}"/>
          </ac:spMkLst>
        </pc:spChg>
        <pc:spChg chg="mod">
          <ac:chgData name="Paul LEGEARD" userId="73b5704d-da1d-4b70-8e12-6d54d32b01a3" providerId="ADAL" clId="{34D27C30-2355-4BC1-A70E-6D76C2E2FCE9}" dt="2023-04-12T11:38:37.489" v="1566" actId="1037"/>
          <ac:spMkLst>
            <pc:docMk/>
            <pc:sldMk cId="3569893162" sldId="2147374865"/>
            <ac:spMk id="61" creationId="{A57701A6-4FB7-1FAA-DF9D-60AA433FD62A}"/>
          </ac:spMkLst>
        </pc:spChg>
        <pc:spChg chg="mod">
          <ac:chgData name="Paul LEGEARD" userId="73b5704d-da1d-4b70-8e12-6d54d32b01a3" providerId="ADAL" clId="{34D27C30-2355-4BC1-A70E-6D76C2E2FCE9}" dt="2023-04-12T11:38:41.778" v="1598" actId="1037"/>
          <ac:spMkLst>
            <pc:docMk/>
            <pc:sldMk cId="3569893162" sldId="2147374865"/>
            <ac:spMk id="65" creationId="{0CD773FC-DB89-C3B5-A279-051A155F455A}"/>
          </ac:spMkLst>
        </pc:spChg>
        <pc:spChg chg="mod">
          <ac:chgData name="Paul LEGEARD" userId="73b5704d-da1d-4b70-8e12-6d54d32b01a3" providerId="ADAL" clId="{34D27C30-2355-4BC1-A70E-6D76C2E2FCE9}" dt="2023-04-12T11:36:47.682" v="1536" actId="20577"/>
          <ac:spMkLst>
            <pc:docMk/>
            <pc:sldMk cId="3569893162" sldId="2147374865"/>
            <ac:spMk id="79" creationId="{9007893F-DE3F-4277-8B72-135CF4773651}"/>
          </ac:spMkLst>
        </pc:spChg>
        <pc:picChg chg="add mod">
          <ac:chgData name="Paul LEGEARD" userId="73b5704d-da1d-4b70-8e12-6d54d32b01a3" providerId="ADAL" clId="{34D27C30-2355-4BC1-A70E-6D76C2E2FCE9}" dt="2023-04-12T11:38:22.622" v="1538" actId="1076"/>
          <ac:picMkLst>
            <pc:docMk/>
            <pc:sldMk cId="3569893162" sldId="2147374865"/>
            <ac:picMk id="2" creationId="{38FB5AF3-81E2-17A7-EC2D-80BF0A7EC34C}"/>
          </ac:picMkLst>
        </pc:picChg>
        <pc:picChg chg="mod">
          <ac:chgData name="Paul LEGEARD" userId="73b5704d-da1d-4b70-8e12-6d54d32b01a3" providerId="ADAL" clId="{34D27C30-2355-4BC1-A70E-6D76C2E2FCE9}" dt="2023-04-12T11:38:37.489" v="1566" actId="1037"/>
          <ac:picMkLst>
            <pc:docMk/>
            <pc:sldMk cId="3569893162" sldId="2147374865"/>
            <ac:picMk id="3" creationId="{C2086E58-E5E5-609F-0DAB-DC5B44540E45}"/>
          </ac:picMkLst>
        </pc:picChg>
        <pc:picChg chg="add mod">
          <ac:chgData name="Paul LEGEARD" userId="73b5704d-da1d-4b70-8e12-6d54d32b01a3" providerId="ADAL" clId="{34D27C30-2355-4BC1-A70E-6D76C2E2FCE9}" dt="2023-04-12T11:40:14.593" v="1626" actId="1076"/>
          <ac:picMkLst>
            <pc:docMk/>
            <pc:sldMk cId="3569893162" sldId="2147374865"/>
            <ac:picMk id="14" creationId="{54E74F72-35DB-6484-A15B-0BACF3898A10}"/>
          </ac:picMkLst>
        </pc:picChg>
        <pc:picChg chg="mod">
          <ac:chgData name="Paul LEGEARD" userId="73b5704d-da1d-4b70-8e12-6d54d32b01a3" providerId="ADAL" clId="{34D27C30-2355-4BC1-A70E-6D76C2E2FCE9}" dt="2023-04-12T11:38:41.778" v="1598" actId="1037"/>
          <ac:picMkLst>
            <pc:docMk/>
            <pc:sldMk cId="3569893162" sldId="2147374865"/>
            <ac:picMk id="1026" creationId="{8CE31846-3D79-56C4-1A39-5B6B74D85EAB}"/>
          </ac:picMkLst>
        </pc:picChg>
        <pc:cxnChg chg="del">
          <ac:chgData name="Paul LEGEARD" userId="73b5704d-da1d-4b70-8e12-6d54d32b01a3" providerId="ADAL" clId="{34D27C30-2355-4BC1-A70E-6D76C2E2FCE9}" dt="2023-04-12T11:38:58.225" v="1605" actId="478"/>
          <ac:cxnSpMkLst>
            <pc:docMk/>
            <pc:sldMk cId="3569893162" sldId="2147374865"/>
            <ac:cxnSpMk id="56" creationId="{95E5282C-CF41-F458-C64B-A4F8FB83E556}"/>
          </ac:cxnSpMkLst>
        </pc:cxnChg>
        <pc:cxnChg chg="mod">
          <ac:chgData name="Paul LEGEARD" userId="73b5704d-da1d-4b70-8e12-6d54d32b01a3" providerId="ADAL" clId="{34D27C30-2355-4BC1-A70E-6D76C2E2FCE9}" dt="2023-04-12T11:39:06.323" v="1608" actId="14100"/>
          <ac:cxnSpMkLst>
            <pc:docMk/>
            <pc:sldMk cId="3569893162" sldId="2147374865"/>
            <ac:cxnSpMk id="70" creationId="{91AB48DD-8558-CC63-EA68-5B0237B71A9C}"/>
          </ac:cxnSpMkLst>
        </pc:cxnChg>
        <pc:cxnChg chg="mod">
          <ac:chgData name="Paul LEGEARD" userId="73b5704d-da1d-4b70-8e12-6d54d32b01a3" providerId="ADAL" clId="{34D27C30-2355-4BC1-A70E-6D76C2E2FCE9}" dt="2023-04-12T11:38:56.700" v="1604" actId="1076"/>
          <ac:cxnSpMkLst>
            <pc:docMk/>
            <pc:sldMk cId="3569893162" sldId="2147374865"/>
            <ac:cxnSpMk id="73" creationId="{AB9ADE3B-2B4C-CA60-DFA1-8B3400E63D02}"/>
          </ac:cxnSpMkLst>
        </pc:cxnChg>
        <pc:cxnChg chg="del">
          <ac:chgData name="Paul LEGEARD" userId="73b5704d-da1d-4b70-8e12-6d54d32b01a3" providerId="ADAL" clId="{34D27C30-2355-4BC1-A70E-6D76C2E2FCE9}" dt="2023-04-12T11:38:54.656" v="1603" actId="478"/>
          <ac:cxnSpMkLst>
            <pc:docMk/>
            <pc:sldMk cId="3569893162" sldId="2147374865"/>
            <ac:cxnSpMk id="74" creationId="{F4EACF21-B6D3-7236-DD13-8B928BACA7C1}"/>
          </ac:cxnSpMkLst>
        </pc:cxnChg>
      </pc:sldChg>
      <pc:sldChg chg="del">
        <pc:chgData name="Paul LEGEARD" userId="73b5704d-da1d-4b70-8e12-6d54d32b01a3" providerId="ADAL" clId="{34D27C30-2355-4BC1-A70E-6D76C2E2FCE9}" dt="2023-04-12T09:28:45.923" v="264" actId="47"/>
        <pc:sldMkLst>
          <pc:docMk/>
          <pc:sldMk cId="3632184580" sldId="2147374866"/>
        </pc:sldMkLst>
      </pc:sldChg>
      <pc:sldChg chg="del">
        <pc:chgData name="Paul LEGEARD" userId="73b5704d-da1d-4b70-8e12-6d54d32b01a3" providerId="ADAL" clId="{34D27C30-2355-4BC1-A70E-6D76C2E2FCE9}" dt="2023-04-12T09:28:46.144" v="265" actId="47"/>
        <pc:sldMkLst>
          <pc:docMk/>
          <pc:sldMk cId="1944891775" sldId="2147374868"/>
        </pc:sldMkLst>
      </pc:sldChg>
      <pc:sldChg chg="del">
        <pc:chgData name="Paul LEGEARD" userId="73b5704d-da1d-4b70-8e12-6d54d32b01a3" providerId="ADAL" clId="{34D27C30-2355-4BC1-A70E-6D76C2E2FCE9}" dt="2023-04-12T09:28:46.285" v="266" actId="47"/>
        <pc:sldMkLst>
          <pc:docMk/>
          <pc:sldMk cId="2896767368" sldId="2147374869"/>
        </pc:sldMkLst>
      </pc:sldChg>
      <pc:sldChg chg="del">
        <pc:chgData name="Paul LEGEARD" userId="73b5704d-da1d-4b70-8e12-6d54d32b01a3" providerId="ADAL" clId="{34D27C30-2355-4BC1-A70E-6D76C2E2FCE9}" dt="2023-04-12T09:28:46.505" v="267" actId="47"/>
        <pc:sldMkLst>
          <pc:docMk/>
          <pc:sldMk cId="144615472" sldId="2147374870"/>
        </pc:sldMkLst>
      </pc:sldChg>
      <pc:sldChg chg="del">
        <pc:chgData name="Paul LEGEARD" userId="73b5704d-da1d-4b70-8e12-6d54d32b01a3" providerId="ADAL" clId="{34D27C30-2355-4BC1-A70E-6D76C2E2FCE9}" dt="2023-04-12T09:28:46.976" v="268" actId="47"/>
        <pc:sldMkLst>
          <pc:docMk/>
          <pc:sldMk cId="561478069" sldId="2147374871"/>
        </pc:sldMkLst>
      </pc:sldChg>
      <pc:sldChg chg="del">
        <pc:chgData name="Paul LEGEARD" userId="73b5704d-da1d-4b70-8e12-6d54d32b01a3" providerId="ADAL" clId="{34D27C30-2355-4BC1-A70E-6D76C2E2FCE9}" dt="2023-04-12T09:28:42.676" v="258" actId="47"/>
        <pc:sldMkLst>
          <pc:docMk/>
          <pc:sldMk cId="4182100474" sldId="2147374873"/>
        </pc:sldMkLst>
      </pc:sldChg>
      <pc:sldChg chg="del">
        <pc:chgData name="Paul LEGEARD" userId="73b5704d-da1d-4b70-8e12-6d54d32b01a3" providerId="ADAL" clId="{34D27C30-2355-4BC1-A70E-6D76C2E2FCE9}" dt="2023-04-12T09:28:47.187" v="269" actId="47"/>
        <pc:sldMkLst>
          <pc:docMk/>
          <pc:sldMk cId="4271609884" sldId="2147374874"/>
        </pc:sldMkLst>
      </pc:sldChg>
      <pc:sldChg chg="del">
        <pc:chgData name="Paul LEGEARD" userId="73b5704d-da1d-4b70-8e12-6d54d32b01a3" providerId="ADAL" clId="{34D27C30-2355-4BC1-A70E-6D76C2E2FCE9}" dt="2023-04-12T09:28:45.437" v="262" actId="47"/>
        <pc:sldMkLst>
          <pc:docMk/>
          <pc:sldMk cId="1327558788" sldId="2147374878"/>
        </pc:sldMkLst>
      </pc:sldChg>
      <pc:sldChg chg="del">
        <pc:chgData name="Paul LEGEARD" userId="73b5704d-da1d-4b70-8e12-6d54d32b01a3" providerId="ADAL" clId="{34D27C30-2355-4BC1-A70E-6D76C2E2FCE9}" dt="2023-04-12T09:28:45.688" v="263" actId="47"/>
        <pc:sldMkLst>
          <pc:docMk/>
          <pc:sldMk cId="2983749358" sldId="2147374879"/>
        </pc:sldMkLst>
      </pc:sldChg>
      <pc:sldChg chg="modSp add mod ord">
        <pc:chgData name="Paul LEGEARD" userId="73b5704d-da1d-4b70-8e12-6d54d32b01a3" providerId="ADAL" clId="{34D27C30-2355-4BC1-A70E-6D76C2E2FCE9}" dt="2023-04-12T11:42:39.650" v="1674" actId="14100"/>
        <pc:sldMkLst>
          <pc:docMk/>
          <pc:sldMk cId="1898269728" sldId="2147375048"/>
        </pc:sldMkLst>
        <pc:spChg chg="mod">
          <ac:chgData name="Paul LEGEARD" userId="73b5704d-da1d-4b70-8e12-6d54d32b01a3" providerId="ADAL" clId="{34D27C30-2355-4BC1-A70E-6D76C2E2FCE9}" dt="2023-04-12T11:42:39.650" v="1674" actId="14100"/>
          <ac:spMkLst>
            <pc:docMk/>
            <pc:sldMk cId="1898269728" sldId="2147375048"/>
            <ac:spMk id="2" creationId="{81BA7D8F-F811-489A-AC70-FD79EE27800F}"/>
          </ac:spMkLst>
        </pc:spChg>
      </pc:sldChg>
      <pc:sldChg chg="add del">
        <pc:chgData name="Paul LEGEARD" userId="73b5704d-da1d-4b70-8e12-6d54d32b01a3" providerId="ADAL" clId="{34D27C30-2355-4BC1-A70E-6D76C2E2FCE9}" dt="2023-04-12T11:45:45.930" v="1835" actId="47"/>
        <pc:sldMkLst>
          <pc:docMk/>
          <pc:sldMk cId="2617131931" sldId="2147469753"/>
        </pc:sldMkLst>
      </pc:sldChg>
      <pc:sldChg chg="del">
        <pc:chgData name="Paul LEGEARD" userId="73b5704d-da1d-4b70-8e12-6d54d32b01a3" providerId="ADAL" clId="{34D27C30-2355-4BC1-A70E-6D76C2E2FCE9}" dt="2023-04-12T09:28:43.268" v="259" actId="47"/>
        <pc:sldMkLst>
          <pc:docMk/>
          <pc:sldMk cId="4287792751" sldId="2147469790"/>
        </pc:sldMkLst>
      </pc:sldChg>
      <pc:sldChg chg="del">
        <pc:chgData name="Paul LEGEARD" userId="73b5704d-da1d-4b70-8e12-6d54d32b01a3" providerId="ADAL" clId="{34D27C30-2355-4BC1-A70E-6D76C2E2FCE9}" dt="2023-04-12T09:28:45.201" v="261" actId="47"/>
        <pc:sldMkLst>
          <pc:docMk/>
          <pc:sldMk cId="2769979293" sldId="2147469791"/>
        </pc:sldMkLst>
      </pc:sldChg>
      <pc:sldChg chg="del">
        <pc:chgData name="Paul LEGEARD" userId="73b5704d-da1d-4b70-8e12-6d54d32b01a3" providerId="ADAL" clId="{34D27C30-2355-4BC1-A70E-6D76C2E2FCE9}" dt="2023-04-12T11:45:33.948" v="1830" actId="47"/>
        <pc:sldMkLst>
          <pc:docMk/>
          <pc:sldMk cId="1474012493" sldId="2147469792"/>
        </pc:sldMkLst>
      </pc:sldChg>
      <pc:sldChg chg="del">
        <pc:chgData name="Paul LEGEARD" userId="73b5704d-da1d-4b70-8e12-6d54d32b01a3" providerId="ADAL" clId="{34D27C30-2355-4BC1-A70E-6D76C2E2FCE9}" dt="2023-04-12T09:28:48.093" v="270" actId="47"/>
        <pc:sldMkLst>
          <pc:docMk/>
          <pc:sldMk cId="3707775027" sldId="2147469793"/>
        </pc:sldMkLst>
      </pc:sldChg>
      <pc:sldChg chg="add del">
        <pc:chgData name="Paul LEGEARD" userId="73b5704d-da1d-4b70-8e12-6d54d32b01a3" providerId="ADAL" clId="{34D27C30-2355-4BC1-A70E-6D76C2E2FCE9}" dt="2023-04-12T09:25:50.957" v="81" actId="47"/>
        <pc:sldMkLst>
          <pc:docMk/>
          <pc:sldMk cId="849766025" sldId="2147469794"/>
        </pc:sldMkLst>
      </pc:sldChg>
      <pc:sldChg chg="addSp delSp modSp add mod">
        <pc:chgData name="Paul LEGEARD" userId="73b5704d-da1d-4b70-8e12-6d54d32b01a3" providerId="ADAL" clId="{34D27C30-2355-4BC1-A70E-6D76C2E2FCE9}" dt="2023-04-12T11:30:05.376" v="811" actId="20577"/>
        <pc:sldMkLst>
          <pc:docMk/>
          <pc:sldMk cId="3648747636" sldId="2147469794"/>
        </pc:sldMkLst>
        <pc:spChg chg="del">
          <ac:chgData name="Paul LEGEARD" userId="73b5704d-da1d-4b70-8e12-6d54d32b01a3" providerId="ADAL" clId="{34D27C30-2355-4BC1-A70E-6D76C2E2FCE9}" dt="2023-04-12T09:26:10.866" v="126" actId="478"/>
          <ac:spMkLst>
            <pc:docMk/>
            <pc:sldMk cId="3648747636" sldId="2147469794"/>
            <ac:spMk id="3" creationId="{5651475B-1860-4269-9502-E1ED8141E2C6}"/>
          </ac:spMkLst>
        </pc:spChg>
        <pc:spChg chg="add del mod">
          <ac:chgData name="Paul LEGEARD" userId="73b5704d-da1d-4b70-8e12-6d54d32b01a3" providerId="ADAL" clId="{34D27C30-2355-4BC1-A70E-6D76C2E2FCE9}" dt="2023-04-12T11:28:27.021" v="659" actId="478"/>
          <ac:spMkLst>
            <pc:docMk/>
            <pc:sldMk cId="3648747636" sldId="2147469794"/>
            <ac:spMk id="3" creationId="{8E3B6FEE-477F-7B03-BDAB-05069DE40BD7}"/>
          </ac:spMkLst>
        </pc:spChg>
        <pc:spChg chg="mod">
          <ac:chgData name="Paul LEGEARD" userId="73b5704d-da1d-4b70-8e12-6d54d32b01a3" providerId="ADAL" clId="{34D27C30-2355-4BC1-A70E-6D76C2E2FCE9}" dt="2023-04-12T11:28:25.606" v="658" actId="1076"/>
          <ac:spMkLst>
            <pc:docMk/>
            <pc:sldMk cId="3648747636" sldId="2147469794"/>
            <ac:spMk id="4" creationId="{52AFB3F8-88A7-4D69-8A52-45D00774625C}"/>
          </ac:spMkLst>
        </pc:spChg>
        <pc:spChg chg="add del mod">
          <ac:chgData name="Paul LEGEARD" userId="73b5704d-da1d-4b70-8e12-6d54d32b01a3" providerId="ADAL" clId="{34D27C30-2355-4BC1-A70E-6D76C2E2FCE9}" dt="2023-04-12T11:22:39.884" v="320" actId="478"/>
          <ac:spMkLst>
            <pc:docMk/>
            <pc:sldMk cId="3648747636" sldId="2147469794"/>
            <ac:spMk id="5" creationId="{01E3A26E-EE4D-0FE0-F8F2-8316CBF29C4C}"/>
          </ac:spMkLst>
        </pc:spChg>
        <pc:spChg chg="del">
          <ac:chgData name="Paul LEGEARD" userId="73b5704d-da1d-4b70-8e12-6d54d32b01a3" providerId="ADAL" clId="{34D27C30-2355-4BC1-A70E-6D76C2E2FCE9}" dt="2023-04-12T09:26:10.866" v="126" actId="478"/>
          <ac:spMkLst>
            <pc:docMk/>
            <pc:sldMk cId="3648747636" sldId="2147469794"/>
            <ac:spMk id="5" creationId="{6DE49BA5-1C67-4899-A6FD-68896B94F078}"/>
          </ac:spMkLst>
        </pc:spChg>
        <pc:spChg chg="add mod">
          <ac:chgData name="Paul LEGEARD" userId="73b5704d-da1d-4b70-8e12-6d54d32b01a3" providerId="ADAL" clId="{34D27C30-2355-4BC1-A70E-6D76C2E2FCE9}" dt="2023-04-12T11:26:34.247" v="581" actId="1076"/>
          <ac:spMkLst>
            <pc:docMk/>
            <pc:sldMk cId="3648747636" sldId="2147469794"/>
            <ac:spMk id="6" creationId="{85218550-C2C3-3ABA-C265-3AEB8EA15533}"/>
          </ac:spMkLst>
        </pc:spChg>
        <pc:spChg chg="del">
          <ac:chgData name="Paul LEGEARD" userId="73b5704d-da1d-4b70-8e12-6d54d32b01a3" providerId="ADAL" clId="{34D27C30-2355-4BC1-A70E-6D76C2E2FCE9}" dt="2023-04-12T09:26:10.866" v="126" actId="478"/>
          <ac:spMkLst>
            <pc:docMk/>
            <pc:sldMk cId="3648747636" sldId="2147469794"/>
            <ac:spMk id="6" creationId="{9FD44200-2B2E-471A-8D8E-3847F4191214}"/>
          </ac:spMkLst>
        </pc:spChg>
        <pc:spChg chg="add del mod">
          <ac:chgData name="Paul LEGEARD" userId="73b5704d-da1d-4b70-8e12-6d54d32b01a3" providerId="ADAL" clId="{34D27C30-2355-4BC1-A70E-6D76C2E2FCE9}" dt="2023-04-12T11:28:27.021" v="659" actId="478"/>
          <ac:spMkLst>
            <pc:docMk/>
            <pc:sldMk cId="3648747636" sldId="2147469794"/>
            <ac:spMk id="7" creationId="{2DC6318B-ECD5-02CC-04BA-D1BAE4340BC6}"/>
          </ac:spMkLst>
        </pc:spChg>
        <pc:spChg chg="del">
          <ac:chgData name="Paul LEGEARD" userId="73b5704d-da1d-4b70-8e12-6d54d32b01a3" providerId="ADAL" clId="{34D27C30-2355-4BC1-A70E-6D76C2E2FCE9}" dt="2023-04-12T09:26:10.866" v="126" actId="478"/>
          <ac:spMkLst>
            <pc:docMk/>
            <pc:sldMk cId="3648747636" sldId="2147469794"/>
            <ac:spMk id="7" creationId="{DA1AD9D0-5909-417F-B4DB-54B90712406C}"/>
          </ac:spMkLst>
        </pc:spChg>
        <pc:spChg chg="add del mod">
          <ac:chgData name="Paul LEGEARD" userId="73b5704d-da1d-4b70-8e12-6d54d32b01a3" providerId="ADAL" clId="{34D27C30-2355-4BC1-A70E-6D76C2E2FCE9}" dt="2023-04-12T09:26:13.130" v="127" actId="478"/>
          <ac:spMkLst>
            <pc:docMk/>
            <pc:sldMk cId="3648747636" sldId="2147469794"/>
            <ac:spMk id="9" creationId="{71D28DA4-0A33-E5C2-EF88-AFE0D477DD9F}"/>
          </ac:spMkLst>
        </pc:spChg>
        <pc:spChg chg="add del mod">
          <ac:chgData name="Paul LEGEARD" userId="73b5704d-da1d-4b70-8e12-6d54d32b01a3" providerId="ADAL" clId="{34D27C30-2355-4BC1-A70E-6D76C2E2FCE9}" dt="2023-04-12T11:25:31.315" v="491" actId="478"/>
          <ac:spMkLst>
            <pc:docMk/>
            <pc:sldMk cId="3648747636" sldId="2147469794"/>
            <ac:spMk id="9" creationId="{A11ECCC9-9704-C409-7D7E-AD386CC46C0F}"/>
          </ac:spMkLst>
        </pc:spChg>
        <pc:spChg chg="add del mod">
          <ac:chgData name="Paul LEGEARD" userId="73b5704d-da1d-4b70-8e12-6d54d32b01a3" providerId="ADAL" clId="{34D27C30-2355-4BC1-A70E-6D76C2E2FCE9}" dt="2023-04-12T11:11:32.436" v="271" actId="478"/>
          <ac:spMkLst>
            <pc:docMk/>
            <pc:sldMk cId="3648747636" sldId="2147469794"/>
            <ac:spMk id="10" creationId="{68BD7159-AC1E-DB71-6D49-5F010E2D3076}"/>
          </ac:spMkLst>
        </pc:spChg>
        <pc:spChg chg="add del mod">
          <ac:chgData name="Paul LEGEARD" userId="73b5704d-da1d-4b70-8e12-6d54d32b01a3" providerId="ADAL" clId="{34D27C30-2355-4BC1-A70E-6D76C2E2FCE9}" dt="2023-04-12T11:23:08.559" v="324" actId="478"/>
          <ac:spMkLst>
            <pc:docMk/>
            <pc:sldMk cId="3648747636" sldId="2147469794"/>
            <ac:spMk id="13" creationId="{480D1D55-5032-D2C3-C65B-6472F0DE293C}"/>
          </ac:spMkLst>
        </pc:spChg>
        <pc:spChg chg="add del mod">
          <ac:chgData name="Paul LEGEARD" userId="73b5704d-da1d-4b70-8e12-6d54d32b01a3" providerId="ADAL" clId="{34D27C30-2355-4BC1-A70E-6D76C2E2FCE9}" dt="2023-04-12T11:22:39.884" v="320" actId="478"/>
          <ac:spMkLst>
            <pc:docMk/>
            <pc:sldMk cId="3648747636" sldId="2147469794"/>
            <ac:spMk id="14" creationId="{9BA82D3F-8913-494F-14CF-5BE04ABFA3EC}"/>
          </ac:spMkLst>
        </pc:spChg>
        <pc:spChg chg="add del mod">
          <ac:chgData name="Paul LEGEARD" userId="73b5704d-da1d-4b70-8e12-6d54d32b01a3" providerId="ADAL" clId="{34D27C30-2355-4BC1-A70E-6D76C2E2FCE9}" dt="2023-04-12T11:25:51.171" v="499" actId="478"/>
          <ac:spMkLst>
            <pc:docMk/>
            <pc:sldMk cId="3648747636" sldId="2147469794"/>
            <ac:spMk id="15" creationId="{002ED04D-0C0D-80F9-7A25-E65518AEBBA7}"/>
          </ac:spMkLst>
        </pc:spChg>
        <pc:spChg chg="add del mod">
          <ac:chgData name="Paul LEGEARD" userId="73b5704d-da1d-4b70-8e12-6d54d32b01a3" providerId="ADAL" clId="{34D27C30-2355-4BC1-A70E-6D76C2E2FCE9}" dt="2023-04-12T11:28:27.021" v="659" actId="478"/>
          <ac:spMkLst>
            <pc:docMk/>
            <pc:sldMk cId="3648747636" sldId="2147469794"/>
            <ac:spMk id="16" creationId="{2AEA1937-0468-4E80-7DD3-DE66E68A606E}"/>
          </ac:spMkLst>
        </pc:spChg>
        <pc:spChg chg="add mod">
          <ac:chgData name="Paul LEGEARD" userId="73b5704d-da1d-4b70-8e12-6d54d32b01a3" providerId="ADAL" clId="{34D27C30-2355-4BC1-A70E-6D76C2E2FCE9}" dt="2023-04-12T11:28:22.068" v="655" actId="1076"/>
          <ac:spMkLst>
            <pc:docMk/>
            <pc:sldMk cId="3648747636" sldId="2147469794"/>
            <ac:spMk id="17" creationId="{813F333F-BB36-886D-0017-80A1BA89C807}"/>
          </ac:spMkLst>
        </pc:spChg>
        <pc:spChg chg="add mod ord">
          <ac:chgData name="Paul LEGEARD" userId="73b5704d-da1d-4b70-8e12-6d54d32b01a3" providerId="ADAL" clId="{34D27C30-2355-4BC1-A70E-6D76C2E2FCE9}" dt="2023-04-12T11:27:42.578" v="598" actId="166"/>
          <ac:spMkLst>
            <pc:docMk/>
            <pc:sldMk cId="3648747636" sldId="2147469794"/>
            <ac:spMk id="19" creationId="{39A2BCB4-0CC2-A46C-3619-4F4F933EA3A3}"/>
          </ac:spMkLst>
        </pc:spChg>
        <pc:spChg chg="add del mod">
          <ac:chgData name="Paul LEGEARD" userId="73b5704d-da1d-4b70-8e12-6d54d32b01a3" providerId="ADAL" clId="{34D27C30-2355-4BC1-A70E-6D76C2E2FCE9}" dt="2023-04-12T11:27:05.751" v="587" actId="478"/>
          <ac:spMkLst>
            <pc:docMk/>
            <pc:sldMk cId="3648747636" sldId="2147469794"/>
            <ac:spMk id="20" creationId="{3E3D60FE-4045-C816-ECA7-9D4BB83B172C}"/>
          </ac:spMkLst>
        </pc:spChg>
        <pc:spChg chg="add del mod">
          <ac:chgData name="Paul LEGEARD" userId="73b5704d-da1d-4b70-8e12-6d54d32b01a3" providerId="ADAL" clId="{34D27C30-2355-4BC1-A70E-6D76C2E2FCE9}" dt="2023-04-12T11:28:23.156" v="656" actId="478"/>
          <ac:spMkLst>
            <pc:docMk/>
            <pc:sldMk cId="3648747636" sldId="2147469794"/>
            <ac:spMk id="21" creationId="{9B4DB436-665E-7C85-9222-624AD7AF1D0F}"/>
          </ac:spMkLst>
        </pc:spChg>
        <pc:spChg chg="add mod">
          <ac:chgData name="Paul LEGEARD" userId="73b5704d-da1d-4b70-8e12-6d54d32b01a3" providerId="ADAL" clId="{34D27C30-2355-4BC1-A70E-6D76C2E2FCE9}" dt="2023-04-12T11:22:36.707" v="319" actId="1076"/>
          <ac:spMkLst>
            <pc:docMk/>
            <pc:sldMk cId="3648747636" sldId="2147469794"/>
            <ac:spMk id="22" creationId="{47C475A5-710A-FDBA-369A-6AC8B9941F71}"/>
          </ac:spMkLst>
        </pc:spChg>
        <pc:spChg chg="add mod">
          <ac:chgData name="Paul LEGEARD" userId="73b5704d-da1d-4b70-8e12-6d54d32b01a3" providerId="ADAL" clId="{34D27C30-2355-4BC1-A70E-6D76C2E2FCE9}" dt="2023-04-12T11:23:29.635" v="341" actId="1076"/>
          <ac:spMkLst>
            <pc:docMk/>
            <pc:sldMk cId="3648747636" sldId="2147469794"/>
            <ac:spMk id="25" creationId="{0BA4A829-7A48-2E54-1F8A-DE46A12634A3}"/>
          </ac:spMkLst>
        </pc:spChg>
        <pc:spChg chg="add mod">
          <ac:chgData name="Paul LEGEARD" userId="73b5704d-da1d-4b70-8e12-6d54d32b01a3" providerId="ADAL" clId="{34D27C30-2355-4BC1-A70E-6D76C2E2FCE9}" dt="2023-04-12T11:29:07.568" v="749" actId="1036"/>
          <ac:spMkLst>
            <pc:docMk/>
            <pc:sldMk cId="3648747636" sldId="2147469794"/>
            <ac:spMk id="26" creationId="{47528C7D-1BD8-1D0B-290B-65F9975458AD}"/>
          </ac:spMkLst>
        </pc:spChg>
        <pc:spChg chg="add del mod">
          <ac:chgData name="Paul LEGEARD" userId="73b5704d-da1d-4b70-8e12-6d54d32b01a3" providerId="ADAL" clId="{34D27C30-2355-4BC1-A70E-6D76C2E2FCE9}" dt="2023-04-12T11:23:54.226" v="414" actId="478"/>
          <ac:spMkLst>
            <pc:docMk/>
            <pc:sldMk cId="3648747636" sldId="2147469794"/>
            <ac:spMk id="28" creationId="{CF7EE8C0-1428-A43F-7B02-1CD7C9CB89F5}"/>
          </ac:spMkLst>
        </pc:spChg>
        <pc:spChg chg="add del mod">
          <ac:chgData name="Paul LEGEARD" userId="73b5704d-da1d-4b70-8e12-6d54d32b01a3" providerId="ADAL" clId="{34D27C30-2355-4BC1-A70E-6D76C2E2FCE9}" dt="2023-04-12T11:23:54.226" v="414" actId="478"/>
          <ac:spMkLst>
            <pc:docMk/>
            <pc:sldMk cId="3648747636" sldId="2147469794"/>
            <ac:spMk id="29" creationId="{201751DA-57E9-A32E-47DC-525929E21811}"/>
          </ac:spMkLst>
        </pc:spChg>
        <pc:spChg chg="add mod">
          <ac:chgData name="Paul LEGEARD" userId="73b5704d-da1d-4b70-8e12-6d54d32b01a3" providerId="ADAL" clId="{34D27C30-2355-4BC1-A70E-6D76C2E2FCE9}" dt="2023-04-12T11:29:07.568" v="749" actId="1036"/>
          <ac:spMkLst>
            <pc:docMk/>
            <pc:sldMk cId="3648747636" sldId="2147469794"/>
            <ac:spMk id="36" creationId="{2CCD79DA-D087-7117-092A-1ED114774991}"/>
          </ac:spMkLst>
        </pc:spChg>
        <pc:spChg chg="add mod">
          <ac:chgData name="Paul LEGEARD" userId="73b5704d-da1d-4b70-8e12-6d54d32b01a3" providerId="ADAL" clId="{34D27C30-2355-4BC1-A70E-6D76C2E2FCE9}" dt="2023-04-12T11:29:45.897" v="757" actId="554"/>
          <ac:spMkLst>
            <pc:docMk/>
            <pc:sldMk cId="3648747636" sldId="2147469794"/>
            <ac:spMk id="39" creationId="{9C8854D1-8A9D-9005-ADE1-4FE7A49F3132}"/>
          </ac:spMkLst>
        </pc:spChg>
        <pc:spChg chg="add mod">
          <ac:chgData name="Paul LEGEARD" userId="73b5704d-da1d-4b70-8e12-6d54d32b01a3" providerId="ADAL" clId="{34D27C30-2355-4BC1-A70E-6D76C2E2FCE9}" dt="2023-04-12T11:29:07.568" v="749" actId="1036"/>
          <ac:spMkLst>
            <pc:docMk/>
            <pc:sldMk cId="3648747636" sldId="2147469794"/>
            <ac:spMk id="40" creationId="{E018C162-DCF1-A8D5-5622-8375B05D7B6E}"/>
          </ac:spMkLst>
        </pc:spChg>
        <pc:spChg chg="add mod">
          <ac:chgData name="Paul LEGEARD" userId="73b5704d-da1d-4b70-8e12-6d54d32b01a3" providerId="ADAL" clId="{34D27C30-2355-4BC1-A70E-6D76C2E2FCE9}" dt="2023-04-12T11:28:32.399" v="661" actId="1076"/>
          <ac:spMkLst>
            <pc:docMk/>
            <pc:sldMk cId="3648747636" sldId="2147469794"/>
            <ac:spMk id="43" creationId="{E236D620-3491-897A-01D4-AE29622018FC}"/>
          </ac:spMkLst>
        </pc:spChg>
        <pc:spChg chg="add mod">
          <ac:chgData name="Paul LEGEARD" userId="73b5704d-da1d-4b70-8e12-6d54d32b01a3" providerId="ADAL" clId="{34D27C30-2355-4BC1-A70E-6D76C2E2FCE9}" dt="2023-04-12T11:29:45.897" v="757" actId="554"/>
          <ac:spMkLst>
            <pc:docMk/>
            <pc:sldMk cId="3648747636" sldId="2147469794"/>
            <ac:spMk id="44" creationId="{7DC99D69-5170-D330-6E5E-6D2792787C35}"/>
          </ac:spMkLst>
        </pc:spChg>
        <pc:spChg chg="add mod">
          <ac:chgData name="Paul LEGEARD" userId="73b5704d-da1d-4b70-8e12-6d54d32b01a3" providerId="ADAL" clId="{34D27C30-2355-4BC1-A70E-6D76C2E2FCE9}" dt="2023-04-12T11:29:07.568" v="749" actId="1036"/>
          <ac:spMkLst>
            <pc:docMk/>
            <pc:sldMk cId="3648747636" sldId="2147469794"/>
            <ac:spMk id="45" creationId="{A1FED9C3-C256-B7A6-4FB7-6F727676AEC1}"/>
          </ac:spMkLst>
        </pc:spChg>
        <pc:spChg chg="add mod">
          <ac:chgData name="Paul LEGEARD" userId="73b5704d-da1d-4b70-8e12-6d54d32b01a3" providerId="ADAL" clId="{34D27C30-2355-4BC1-A70E-6D76C2E2FCE9}" dt="2023-04-12T11:29:45.897" v="757" actId="554"/>
          <ac:spMkLst>
            <pc:docMk/>
            <pc:sldMk cId="3648747636" sldId="2147469794"/>
            <ac:spMk id="46" creationId="{DAEAF24F-0861-79C6-8511-05BFB63124D9}"/>
          </ac:spMkLst>
        </pc:spChg>
        <pc:spChg chg="add mod">
          <ac:chgData name="Paul LEGEARD" userId="73b5704d-da1d-4b70-8e12-6d54d32b01a3" providerId="ADAL" clId="{34D27C30-2355-4BC1-A70E-6D76C2E2FCE9}" dt="2023-04-12T11:30:05.376" v="811" actId="20577"/>
          <ac:spMkLst>
            <pc:docMk/>
            <pc:sldMk cId="3648747636" sldId="2147469794"/>
            <ac:spMk id="47" creationId="{43938DDB-7FA7-A527-CFDB-620CD7FABAEB}"/>
          </ac:spMkLst>
        </pc:spChg>
        <pc:picChg chg="add mod ord">
          <ac:chgData name="Paul LEGEARD" userId="73b5704d-da1d-4b70-8e12-6d54d32b01a3" providerId="ADAL" clId="{34D27C30-2355-4BC1-A70E-6D76C2E2FCE9}" dt="2023-04-12T11:27:42.578" v="598" actId="166"/>
          <ac:picMkLst>
            <pc:docMk/>
            <pc:sldMk cId="3648747636" sldId="2147469794"/>
            <ac:picMk id="24" creationId="{6D551F6A-DDEB-AD8B-07EC-28358D62A54C}"/>
          </ac:picMkLst>
        </pc:picChg>
        <pc:picChg chg="add del mod">
          <ac:chgData name="Paul LEGEARD" userId="73b5704d-da1d-4b70-8e12-6d54d32b01a3" providerId="ADAL" clId="{34D27C30-2355-4BC1-A70E-6D76C2E2FCE9}" dt="2023-04-12T11:23:54.226" v="414" actId="478"/>
          <ac:picMkLst>
            <pc:docMk/>
            <pc:sldMk cId="3648747636" sldId="2147469794"/>
            <ac:picMk id="27" creationId="{C72A9CA0-2110-04DC-F72D-E40CFC117A8B}"/>
          </ac:picMkLst>
        </pc:picChg>
        <pc:picChg chg="add mod">
          <ac:chgData name="Paul LEGEARD" userId="73b5704d-da1d-4b70-8e12-6d54d32b01a3" providerId="ADAL" clId="{34D27C30-2355-4BC1-A70E-6D76C2E2FCE9}" dt="2023-04-12T11:29:21.195" v="754" actId="1076"/>
          <ac:picMkLst>
            <pc:docMk/>
            <pc:sldMk cId="3648747636" sldId="2147469794"/>
            <ac:picMk id="38" creationId="{83C722D3-DE5D-1345-9435-E2AE811CF099}"/>
          </ac:picMkLst>
        </pc:picChg>
        <pc:cxnChg chg="add mod">
          <ac:chgData name="Paul LEGEARD" userId="73b5704d-da1d-4b70-8e12-6d54d32b01a3" providerId="ADAL" clId="{34D27C30-2355-4BC1-A70E-6D76C2E2FCE9}" dt="2023-04-12T11:23:39.489" v="393" actId="1035"/>
          <ac:cxnSpMkLst>
            <pc:docMk/>
            <pc:sldMk cId="3648747636" sldId="2147469794"/>
            <ac:cxnSpMk id="2" creationId="{14765310-8D7B-00FF-E6FA-22E661861B87}"/>
          </ac:cxnSpMkLst>
        </pc:cxnChg>
        <pc:cxnChg chg="add del mod">
          <ac:chgData name="Paul LEGEARD" userId="73b5704d-da1d-4b70-8e12-6d54d32b01a3" providerId="ADAL" clId="{34D27C30-2355-4BC1-A70E-6D76C2E2FCE9}" dt="2023-04-12T11:26:01.769" v="503" actId="478"/>
          <ac:cxnSpMkLst>
            <pc:docMk/>
            <pc:sldMk cId="3648747636" sldId="2147469794"/>
            <ac:cxnSpMk id="11" creationId="{4CD8F182-8AB8-ACC5-9618-E6AD412FA53C}"/>
          </ac:cxnSpMkLst>
        </pc:cxnChg>
        <pc:cxnChg chg="add del mod">
          <ac:chgData name="Paul LEGEARD" userId="73b5704d-da1d-4b70-8e12-6d54d32b01a3" providerId="ADAL" clId="{34D27C30-2355-4BC1-A70E-6D76C2E2FCE9}" dt="2023-04-12T11:28:27.021" v="659" actId="478"/>
          <ac:cxnSpMkLst>
            <pc:docMk/>
            <pc:sldMk cId="3648747636" sldId="2147469794"/>
            <ac:cxnSpMk id="12" creationId="{CE28A1F9-1E6F-AEAE-D457-12AAD111607E}"/>
          </ac:cxnSpMkLst>
        </pc:cxnChg>
        <pc:cxnChg chg="add del mod">
          <ac:chgData name="Paul LEGEARD" userId="73b5704d-da1d-4b70-8e12-6d54d32b01a3" providerId="ADAL" clId="{34D27C30-2355-4BC1-A70E-6D76C2E2FCE9}" dt="2023-04-12T11:27:07.136" v="588" actId="478"/>
          <ac:cxnSpMkLst>
            <pc:docMk/>
            <pc:sldMk cId="3648747636" sldId="2147469794"/>
            <ac:cxnSpMk id="18" creationId="{1A43FC1F-20FF-A6F2-C217-49EF6755D394}"/>
          </ac:cxnSpMkLst>
        </pc:cxnChg>
        <pc:cxnChg chg="add del">
          <ac:chgData name="Paul LEGEARD" userId="73b5704d-da1d-4b70-8e12-6d54d32b01a3" providerId="ADAL" clId="{34D27C30-2355-4BC1-A70E-6D76C2E2FCE9}" dt="2023-04-12T11:24:23.355" v="421" actId="478"/>
          <ac:cxnSpMkLst>
            <pc:docMk/>
            <pc:sldMk cId="3648747636" sldId="2147469794"/>
            <ac:cxnSpMk id="31" creationId="{7783CA06-B4EB-A24B-ECB3-950532B1AADB}"/>
          </ac:cxnSpMkLst>
        </pc:cxnChg>
        <pc:cxnChg chg="add mod ord">
          <ac:chgData name="Paul LEGEARD" userId="73b5704d-da1d-4b70-8e12-6d54d32b01a3" providerId="ADAL" clId="{34D27C30-2355-4BC1-A70E-6D76C2E2FCE9}" dt="2023-04-12T11:27:31.126" v="595" actId="166"/>
          <ac:cxnSpMkLst>
            <pc:docMk/>
            <pc:sldMk cId="3648747636" sldId="2147469794"/>
            <ac:cxnSpMk id="32" creationId="{E2036FF3-4F86-5495-A37A-799B6E070C3D}"/>
          </ac:cxnSpMkLst>
        </pc:cxnChg>
        <pc:cxnChg chg="add mod">
          <ac:chgData name="Paul LEGEARD" userId="73b5704d-da1d-4b70-8e12-6d54d32b01a3" providerId="ADAL" clId="{34D27C30-2355-4BC1-A70E-6D76C2E2FCE9}" dt="2023-04-12T11:27:51.465" v="600" actId="14100"/>
          <ac:cxnSpMkLst>
            <pc:docMk/>
            <pc:sldMk cId="3648747636" sldId="2147469794"/>
            <ac:cxnSpMk id="41" creationId="{B69364FF-74BF-81F8-8CC9-BF00A61C260D}"/>
          </ac:cxnSpMkLst>
        </pc:cxnChg>
      </pc:sldChg>
      <pc:sldChg chg="addSp delSp modSp add mod ord">
        <pc:chgData name="Paul LEGEARD" userId="73b5704d-da1d-4b70-8e12-6d54d32b01a3" providerId="ADAL" clId="{34D27C30-2355-4BC1-A70E-6D76C2E2FCE9}" dt="2023-04-12T11:56:09.843" v="2855" actId="20577"/>
        <pc:sldMkLst>
          <pc:docMk/>
          <pc:sldMk cId="1455387451" sldId="2147469795"/>
        </pc:sldMkLst>
        <pc:spChg chg="add del mod">
          <ac:chgData name="Paul LEGEARD" userId="73b5704d-da1d-4b70-8e12-6d54d32b01a3" providerId="ADAL" clId="{34D27C30-2355-4BC1-A70E-6D76C2E2FCE9}" dt="2023-04-12T11:46:48.696" v="1863" actId="478"/>
          <ac:spMkLst>
            <pc:docMk/>
            <pc:sldMk cId="1455387451" sldId="2147469795"/>
            <ac:spMk id="2" creationId="{6A8E5BFB-6128-E4A7-53D6-4B2FD4FA5E96}"/>
          </ac:spMkLst>
        </pc:spChg>
        <pc:spChg chg="add del mod">
          <ac:chgData name="Paul LEGEARD" userId="73b5704d-da1d-4b70-8e12-6d54d32b01a3" providerId="ADAL" clId="{34D27C30-2355-4BC1-A70E-6D76C2E2FCE9}" dt="2023-04-12T11:46:48.696" v="1863" actId="478"/>
          <ac:spMkLst>
            <pc:docMk/>
            <pc:sldMk cId="1455387451" sldId="2147469795"/>
            <ac:spMk id="3" creationId="{7CC37AA7-186D-9D4F-FE86-FAEC38EA13BC}"/>
          </ac:spMkLst>
        </pc:spChg>
        <pc:spChg chg="mod">
          <ac:chgData name="Paul LEGEARD" userId="73b5704d-da1d-4b70-8e12-6d54d32b01a3" providerId="ADAL" clId="{34D27C30-2355-4BC1-A70E-6D76C2E2FCE9}" dt="2023-04-12T09:26:38.329" v="218" actId="20577"/>
          <ac:spMkLst>
            <pc:docMk/>
            <pc:sldMk cId="1455387451" sldId="2147469795"/>
            <ac:spMk id="4" creationId="{52AFB3F8-88A7-4D69-8A52-45D00774625C}"/>
          </ac:spMkLst>
        </pc:spChg>
        <pc:spChg chg="add del mod">
          <ac:chgData name="Paul LEGEARD" userId="73b5704d-da1d-4b70-8e12-6d54d32b01a3" providerId="ADAL" clId="{34D27C30-2355-4BC1-A70E-6D76C2E2FCE9}" dt="2023-04-12T11:46:44.670" v="1859" actId="478"/>
          <ac:spMkLst>
            <pc:docMk/>
            <pc:sldMk cId="1455387451" sldId="2147469795"/>
            <ac:spMk id="5" creationId="{709474EC-A5D3-2F6A-6BC5-1D35538F2844}"/>
          </ac:spMkLst>
        </pc:spChg>
        <pc:spChg chg="add del mod">
          <ac:chgData name="Paul LEGEARD" userId="73b5704d-da1d-4b70-8e12-6d54d32b01a3" providerId="ADAL" clId="{34D27C30-2355-4BC1-A70E-6D76C2E2FCE9}" dt="2023-04-12T11:46:46.131" v="1861" actId="478"/>
          <ac:spMkLst>
            <pc:docMk/>
            <pc:sldMk cId="1455387451" sldId="2147469795"/>
            <ac:spMk id="6" creationId="{18E2A762-D33B-E487-782B-D03EAD6CA256}"/>
          </ac:spMkLst>
        </pc:spChg>
        <pc:spChg chg="mod">
          <ac:chgData name="Paul LEGEARD" userId="73b5704d-da1d-4b70-8e12-6d54d32b01a3" providerId="ADAL" clId="{34D27C30-2355-4BC1-A70E-6D76C2E2FCE9}" dt="2023-04-12T09:27:39.468" v="221"/>
          <ac:spMkLst>
            <pc:docMk/>
            <pc:sldMk cId="1455387451" sldId="2147469795"/>
            <ac:spMk id="9" creationId="{8AB7B8EF-3FCC-6A8A-9133-D1CC362A5CCC}"/>
          </ac:spMkLst>
        </pc:spChg>
        <pc:spChg chg="add del ord">
          <ac:chgData name="Paul LEGEARD" userId="73b5704d-da1d-4b70-8e12-6d54d32b01a3" providerId="ADAL" clId="{34D27C30-2355-4BC1-A70E-6D76C2E2FCE9}" dt="2023-04-12T11:48:25.060" v="1943" actId="478"/>
          <ac:spMkLst>
            <pc:docMk/>
            <pc:sldMk cId="1455387451" sldId="2147469795"/>
            <ac:spMk id="10" creationId="{68BD7159-AC1E-DB71-6D49-5F010E2D3076}"/>
          </ac:spMkLst>
        </pc:spChg>
        <pc:spChg chg="mod">
          <ac:chgData name="Paul LEGEARD" userId="73b5704d-da1d-4b70-8e12-6d54d32b01a3" providerId="ADAL" clId="{34D27C30-2355-4BC1-A70E-6D76C2E2FCE9}" dt="2023-04-12T09:27:39.468" v="221"/>
          <ac:spMkLst>
            <pc:docMk/>
            <pc:sldMk cId="1455387451" sldId="2147469795"/>
            <ac:spMk id="11" creationId="{B74CCA0B-DA0D-FD84-A9E6-A52C77E7345C}"/>
          </ac:spMkLst>
        </pc:spChg>
        <pc:spChg chg="mod">
          <ac:chgData name="Paul LEGEARD" userId="73b5704d-da1d-4b70-8e12-6d54d32b01a3" providerId="ADAL" clId="{34D27C30-2355-4BC1-A70E-6D76C2E2FCE9}" dt="2023-04-12T09:27:39.468" v="221"/>
          <ac:spMkLst>
            <pc:docMk/>
            <pc:sldMk cId="1455387451" sldId="2147469795"/>
            <ac:spMk id="13" creationId="{39618692-5AC5-647F-A4E6-03F9B7387142}"/>
          </ac:spMkLst>
        </pc:spChg>
        <pc:spChg chg="mod">
          <ac:chgData name="Paul LEGEARD" userId="73b5704d-da1d-4b70-8e12-6d54d32b01a3" providerId="ADAL" clId="{34D27C30-2355-4BC1-A70E-6D76C2E2FCE9}" dt="2023-04-12T09:27:39.468" v="221"/>
          <ac:spMkLst>
            <pc:docMk/>
            <pc:sldMk cId="1455387451" sldId="2147469795"/>
            <ac:spMk id="14" creationId="{73D71E99-C219-FB71-785D-2DC00F63F247}"/>
          </ac:spMkLst>
        </pc:spChg>
        <pc:spChg chg="mod">
          <ac:chgData name="Paul LEGEARD" userId="73b5704d-da1d-4b70-8e12-6d54d32b01a3" providerId="ADAL" clId="{34D27C30-2355-4BC1-A70E-6D76C2E2FCE9}" dt="2023-04-12T09:27:39.468" v="221"/>
          <ac:spMkLst>
            <pc:docMk/>
            <pc:sldMk cId="1455387451" sldId="2147469795"/>
            <ac:spMk id="16" creationId="{E69D5DC9-83C0-0964-4A5C-D10A88F6E934}"/>
          </ac:spMkLst>
        </pc:spChg>
        <pc:spChg chg="mod">
          <ac:chgData name="Paul LEGEARD" userId="73b5704d-da1d-4b70-8e12-6d54d32b01a3" providerId="ADAL" clId="{34D27C30-2355-4BC1-A70E-6D76C2E2FCE9}" dt="2023-04-12T09:27:39.468" v="221"/>
          <ac:spMkLst>
            <pc:docMk/>
            <pc:sldMk cId="1455387451" sldId="2147469795"/>
            <ac:spMk id="17" creationId="{F7BBFCDA-CF55-B8E1-931A-584A8EC66106}"/>
          </ac:spMkLst>
        </pc:spChg>
        <pc:spChg chg="mod">
          <ac:chgData name="Paul LEGEARD" userId="73b5704d-da1d-4b70-8e12-6d54d32b01a3" providerId="ADAL" clId="{34D27C30-2355-4BC1-A70E-6D76C2E2FCE9}" dt="2023-04-12T09:27:39.468" v="221"/>
          <ac:spMkLst>
            <pc:docMk/>
            <pc:sldMk cId="1455387451" sldId="2147469795"/>
            <ac:spMk id="19" creationId="{0D8D383E-1EEC-5CD5-5BD1-3046195CDC2B}"/>
          </ac:spMkLst>
        </pc:spChg>
        <pc:spChg chg="mod">
          <ac:chgData name="Paul LEGEARD" userId="73b5704d-da1d-4b70-8e12-6d54d32b01a3" providerId="ADAL" clId="{34D27C30-2355-4BC1-A70E-6D76C2E2FCE9}" dt="2023-04-12T09:27:39.468" v="221"/>
          <ac:spMkLst>
            <pc:docMk/>
            <pc:sldMk cId="1455387451" sldId="2147469795"/>
            <ac:spMk id="20" creationId="{243C262F-7B99-1845-8CC5-F1D07573BF01}"/>
          </ac:spMkLst>
        </pc:spChg>
        <pc:spChg chg="add del mod">
          <ac:chgData name="Paul LEGEARD" userId="73b5704d-da1d-4b70-8e12-6d54d32b01a3" providerId="ADAL" clId="{34D27C30-2355-4BC1-A70E-6D76C2E2FCE9}" dt="2023-04-12T11:46:47.767" v="1862" actId="478"/>
          <ac:spMkLst>
            <pc:docMk/>
            <pc:sldMk cId="1455387451" sldId="2147469795"/>
            <ac:spMk id="21" creationId="{1A9A8D57-B547-8800-F980-272EDCDCC170}"/>
          </ac:spMkLst>
        </pc:spChg>
        <pc:spChg chg="add del mod">
          <ac:chgData name="Paul LEGEARD" userId="73b5704d-da1d-4b70-8e12-6d54d32b01a3" providerId="ADAL" clId="{34D27C30-2355-4BC1-A70E-6D76C2E2FCE9}" dt="2023-04-12T11:46:47.767" v="1862" actId="478"/>
          <ac:spMkLst>
            <pc:docMk/>
            <pc:sldMk cId="1455387451" sldId="2147469795"/>
            <ac:spMk id="22" creationId="{62AE6E31-FDD3-28BB-4CBA-31558BD0E9CD}"/>
          </ac:spMkLst>
        </pc:spChg>
        <pc:spChg chg="add mod">
          <ac:chgData name="Paul LEGEARD" userId="73b5704d-da1d-4b70-8e12-6d54d32b01a3" providerId="ADAL" clId="{34D27C30-2355-4BC1-A70E-6D76C2E2FCE9}" dt="2023-04-12T11:55:22.868" v="2688" actId="1036"/>
          <ac:spMkLst>
            <pc:docMk/>
            <pc:sldMk cId="1455387451" sldId="2147469795"/>
            <ac:spMk id="24" creationId="{104766CE-8564-AB23-A71D-3512E44D153C}"/>
          </ac:spMkLst>
        </pc:spChg>
        <pc:spChg chg="add mod">
          <ac:chgData name="Paul LEGEARD" userId="73b5704d-da1d-4b70-8e12-6d54d32b01a3" providerId="ADAL" clId="{34D27C30-2355-4BC1-A70E-6D76C2E2FCE9}" dt="2023-04-12T11:55:25.210" v="2695" actId="1035"/>
          <ac:spMkLst>
            <pc:docMk/>
            <pc:sldMk cId="1455387451" sldId="2147469795"/>
            <ac:spMk id="27" creationId="{62596FC1-38E9-FD2A-1F05-5152DACA0596}"/>
          </ac:spMkLst>
        </pc:spChg>
        <pc:spChg chg="add mod">
          <ac:chgData name="Paul LEGEARD" userId="73b5704d-da1d-4b70-8e12-6d54d32b01a3" providerId="ADAL" clId="{34D27C30-2355-4BC1-A70E-6D76C2E2FCE9}" dt="2023-04-12T11:55:27.332" v="2704" actId="1035"/>
          <ac:spMkLst>
            <pc:docMk/>
            <pc:sldMk cId="1455387451" sldId="2147469795"/>
            <ac:spMk id="28" creationId="{3564DDAE-524A-9B24-8C69-CEDBBADEC992}"/>
          </ac:spMkLst>
        </pc:spChg>
        <pc:spChg chg="add del mod">
          <ac:chgData name="Paul LEGEARD" userId="73b5704d-da1d-4b70-8e12-6d54d32b01a3" providerId="ADAL" clId="{34D27C30-2355-4BC1-A70E-6D76C2E2FCE9}" dt="2023-04-12T11:48:40.839" v="1946"/>
          <ac:spMkLst>
            <pc:docMk/>
            <pc:sldMk cId="1455387451" sldId="2147469795"/>
            <ac:spMk id="30" creationId="{722BCAEC-C7C1-988B-1179-89FA3431B6E3}"/>
          </ac:spMkLst>
        </pc:spChg>
        <pc:spChg chg="add del mod">
          <ac:chgData name="Paul LEGEARD" userId="73b5704d-da1d-4b70-8e12-6d54d32b01a3" providerId="ADAL" clId="{34D27C30-2355-4BC1-A70E-6D76C2E2FCE9}" dt="2023-04-12T11:50:15.067" v="2065" actId="478"/>
          <ac:spMkLst>
            <pc:docMk/>
            <pc:sldMk cId="1455387451" sldId="2147469795"/>
            <ac:spMk id="32" creationId="{AE66EF11-0D17-0F7D-CC46-1AC4D65C3EFA}"/>
          </ac:spMkLst>
        </pc:spChg>
        <pc:spChg chg="add mod ord">
          <ac:chgData name="Paul LEGEARD" userId="73b5704d-da1d-4b70-8e12-6d54d32b01a3" providerId="ADAL" clId="{34D27C30-2355-4BC1-A70E-6D76C2E2FCE9}" dt="2023-04-12T11:55:22.868" v="2688" actId="1036"/>
          <ac:spMkLst>
            <pc:docMk/>
            <pc:sldMk cId="1455387451" sldId="2147469795"/>
            <ac:spMk id="33" creationId="{BF631D63-FBA2-E46E-4C39-B8FE10B1722F}"/>
          </ac:spMkLst>
        </pc:spChg>
        <pc:spChg chg="add mod">
          <ac:chgData name="Paul LEGEARD" userId="73b5704d-da1d-4b70-8e12-6d54d32b01a3" providerId="ADAL" clId="{34D27C30-2355-4BC1-A70E-6D76C2E2FCE9}" dt="2023-04-12T11:55:22.868" v="2688" actId="1036"/>
          <ac:spMkLst>
            <pc:docMk/>
            <pc:sldMk cId="1455387451" sldId="2147469795"/>
            <ac:spMk id="35" creationId="{317602EF-08DC-C174-8381-659355B7D6B2}"/>
          </ac:spMkLst>
        </pc:spChg>
        <pc:spChg chg="add mod">
          <ac:chgData name="Paul LEGEARD" userId="73b5704d-da1d-4b70-8e12-6d54d32b01a3" providerId="ADAL" clId="{34D27C30-2355-4BC1-A70E-6D76C2E2FCE9}" dt="2023-04-12T11:55:22.868" v="2688" actId="1036"/>
          <ac:spMkLst>
            <pc:docMk/>
            <pc:sldMk cId="1455387451" sldId="2147469795"/>
            <ac:spMk id="36" creationId="{D02804ED-2496-E853-7BD5-B1598554743A}"/>
          </ac:spMkLst>
        </pc:spChg>
        <pc:spChg chg="add mod">
          <ac:chgData name="Paul LEGEARD" userId="73b5704d-da1d-4b70-8e12-6d54d32b01a3" providerId="ADAL" clId="{34D27C30-2355-4BC1-A70E-6D76C2E2FCE9}" dt="2023-04-12T11:55:22.868" v="2688" actId="1036"/>
          <ac:spMkLst>
            <pc:docMk/>
            <pc:sldMk cId="1455387451" sldId="2147469795"/>
            <ac:spMk id="37" creationId="{B53B65B2-BEF4-C544-E726-05F5C7616B9C}"/>
          </ac:spMkLst>
        </pc:spChg>
        <pc:spChg chg="add mod ord">
          <ac:chgData name="Paul LEGEARD" userId="73b5704d-da1d-4b70-8e12-6d54d32b01a3" providerId="ADAL" clId="{34D27C30-2355-4BC1-A70E-6D76C2E2FCE9}" dt="2023-04-12T11:55:25.210" v="2695" actId="1035"/>
          <ac:spMkLst>
            <pc:docMk/>
            <pc:sldMk cId="1455387451" sldId="2147469795"/>
            <ac:spMk id="38" creationId="{99598D42-09E3-80D4-C469-3931248EE3C7}"/>
          </ac:spMkLst>
        </pc:spChg>
        <pc:spChg chg="add mod ord">
          <ac:chgData name="Paul LEGEARD" userId="73b5704d-da1d-4b70-8e12-6d54d32b01a3" providerId="ADAL" clId="{34D27C30-2355-4BC1-A70E-6D76C2E2FCE9}" dt="2023-04-12T11:55:27.332" v="2704" actId="1035"/>
          <ac:spMkLst>
            <pc:docMk/>
            <pc:sldMk cId="1455387451" sldId="2147469795"/>
            <ac:spMk id="39" creationId="{5BDF7F06-1D4F-C6B9-8B61-5271CC8A5F89}"/>
          </ac:spMkLst>
        </pc:spChg>
        <pc:spChg chg="add mod">
          <ac:chgData name="Paul LEGEARD" userId="73b5704d-da1d-4b70-8e12-6d54d32b01a3" providerId="ADAL" clId="{34D27C30-2355-4BC1-A70E-6D76C2E2FCE9}" dt="2023-04-12T11:55:25.210" v="2695" actId="1035"/>
          <ac:spMkLst>
            <pc:docMk/>
            <pc:sldMk cId="1455387451" sldId="2147469795"/>
            <ac:spMk id="41" creationId="{2881DFDE-ECC9-3134-CCED-7FA202479A36}"/>
          </ac:spMkLst>
        </pc:spChg>
        <pc:spChg chg="add mod">
          <ac:chgData name="Paul LEGEARD" userId="73b5704d-da1d-4b70-8e12-6d54d32b01a3" providerId="ADAL" clId="{34D27C30-2355-4BC1-A70E-6D76C2E2FCE9}" dt="2023-04-12T11:55:25.210" v="2695" actId="1035"/>
          <ac:spMkLst>
            <pc:docMk/>
            <pc:sldMk cId="1455387451" sldId="2147469795"/>
            <ac:spMk id="42" creationId="{0CE9C0C3-FD9F-DDCA-5034-C8153964494F}"/>
          </ac:spMkLst>
        </pc:spChg>
        <pc:spChg chg="add mod">
          <ac:chgData name="Paul LEGEARD" userId="73b5704d-da1d-4b70-8e12-6d54d32b01a3" providerId="ADAL" clId="{34D27C30-2355-4BC1-A70E-6D76C2E2FCE9}" dt="2023-04-12T11:55:25.210" v="2695" actId="1035"/>
          <ac:spMkLst>
            <pc:docMk/>
            <pc:sldMk cId="1455387451" sldId="2147469795"/>
            <ac:spMk id="43" creationId="{DDD893ED-928C-CC38-129A-2EC926A40A1E}"/>
          </ac:spMkLst>
        </pc:spChg>
        <pc:spChg chg="add mod">
          <ac:chgData name="Paul LEGEARD" userId="73b5704d-da1d-4b70-8e12-6d54d32b01a3" providerId="ADAL" clId="{34D27C30-2355-4BC1-A70E-6D76C2E2FCE9}" dt="2023-04-12T11:55:41.446" v="2759" actId="20577"/>
          <ac:spMkLst>
            <pc:docMk/>
            <pc:sldMk cId="1455387451" sldId="2147469795"/>
            <ac:spMk id="44" creationId="{563DE719-F821-ECBF-4FA4-DC2DF85F8E66}"/>
          </ac:spMkLst>
        </pc:spChg>
        <pc:spChg chg="add mod">
          <ac:chgData name="Paul LEGEARD" userId="73b5704d-da1d-4b70-8e12-6d54d32b01a3" providerId="ADAL" clId="{34D27C30-2355-4BC1-A70E-6D76C2E2FCE9}" dt="2023-04-12T11:55:58.139" v="2793" actId="20577"/>
          <ac:spMkLst>
            <pc:docMk/>
            <pc:sldMk cId="1455387451" sldId="2147469795"/>
            <ac:spMk id="45" creationId="{90BF3B90-47C1-2734-9FEC-289C54BC31C0}"/>
          </ac:spMkLst>
        </pc:spChg>
        <pc:spChg chg="add mod">
          <ac:chgData name="Paul LEGEARD" userId="73b5704d-da1d-4b70-8e12-6d54d32b01a3" providerId="ADAL" clId="{34D27C30-2355-4BC1-A70E-6D76C2E2FCE9}" dt="2023-04-12T11:56:09.843" v="2855" actId="20577"/>
          <ac:spMkLst>
            <pc:docMk/>
            <pc:sldMk cId="1455387451" sldId="2147469795"/>
            <ac:spMk id="46" creationId="{86CE1210-0232-5824-17F7-A1FB775BC3B0}"/>
          </ac:spMkLst>
        </pc:spChg>
        <pc:grpChg chg="add del mod">
          <ac:chgData name="Paul LEGEARD" userId="73b5704d-da1d-4b70-8e12-6d54d32b01a3" providerId="ADAL" clId="{34D27C30-2355-4BC1-A70E-6D76C2E2FCE9}" dt="2023-04-12T11:46:42.611" v="1858" actId="478"/>
          <ac:grpSpMkLst>
            <pc:docMk/>
            <pc:sldMk cId="1455387451" sldId="2147469795"/>
            <ac:grpSpMk id="7" creationId="{5E394AE7-42F2-8538-59AE-83C3641F4290}"/>
          </ac:grpSpMkLst>
        </pc:grpChg>
        <pc:grpChg chg="add del mod">
          <ac:chgData name="Paul LEGEARD" userId="73b5704d-da1d-4b70-8e12-6d54d32b01a3" providerId="ADAL" clId="{34D27C30-2355-4BC1-A70E-6D76C2E2FCE9}" dt="2023-04-12T11:46:48.696" v="1863" actId="478"/>
          <ac:grpSpMkLst>
            <pc:docMk/>
            <pc:sldMk cId="1455387451" sldId="2147469795"/>
            <ac:grpSpMk id="12" creationId="{CEFF9466-25E4-A207-EA58-110E6AC6ABA1}"/>
          </ac:grpSpMkLst>
        </pc:grpChg>
        <pc:grpChg chg="add del mod">
          <ac:chgData name="Paul LEGEARD" userId="73b5704d-da1d-4b70-8e12-6d54d32b01a3" providerId="ADAL" clId="{34D27C30-2355-4BC1-A70E-6D76C2E2FCE9}" dt="2023-04-12T11:46:45.724" v="1860" actId="478"/>
          <ac:grpSpMkLst>
            <pc:docMk/>
            <pc:sldMk cId="1455387451" sldId="2147469795"/>
            <ac:grpSpMk id="15" creationId="{6F61A146-5176-413C-05E1-C528332D2E0E}"/>
          </ac:grpSpMkLst>
        </pc:grpChg>
        <pc:grpChg chg="add del mod">
          <ac:chgData name="Paul LEGEARD" userId="73b5704d-da1d-4b70-8e12-6d54d32b01a3" providerId="ADAL" clId="{34D27C30-2355-4BC1-A70E-6D76C2E2FCE9}" dt="2023-04-12T11:46:48.696" v="1863" actId="478"/>
          <ac:grpSpMkLst>
            <pc:docMk/>
            <pc:sldMk cId="1455387451" sldId="2147469795"/>
            <ac:grpSpMk id="18" creationId="{246532A4-B088-9F50-8933-7809A98EE14D}"/>
          </ac:grpSpMkLst>
        </pc:grpChg>
        <pc:graphicFrameChg chg="add del mod">
          <ac:chgData name="Paul LEGEARD" userId="73b5704d-da1d-4b70-8e12-6d54d32b01a3" providerId="ADAL" clId="{34D27C30-2355-4BC1-A70E-6D76C2E2FCE9}" dt="2023-04-12T11:52:43.272" v="2314" actId="478"/>
          <ac:graphicFrameMkLst>
            <pc:docMk/>
            <pc:sldMk cId="1455387451" sldId="2147469795"/>
            <ac:graphicFrameMk id="34" creationId="{9DE7B5BF-56D5-C5B0-E60F-CA0651C5E5B6}"/>
          </ac:graphicFrameMkLst>
        </pc:graphicFrameChg>
        <pc:picChg chg="add mod">
          <ac:chgData name="Paul LEGEARD" userId="73b5704d-da1d-4b70-8e12-6d54d32b01a3" providerId="ADAL" clId="{34D27C30-2355-4BC1-A70E-6D76C2E2FCE9}" dt="2023-04-12T11:53:51.757" v="2419" actId="1037"/>
          <ac:picMkLst>
            <pc:docMk/>
            <pc:sldMk cId="1455387451" sldId="2147469795"/>
            <ac:picMk id="23" creationId="{3F05C21B-CE72-6BFF-6CAE-5079112655EE}"/>
          </ac:picMkLst>
        </pc:picChg>
        <pc:cxnChg chg="add mod ord">
          <ac:chgData name="Paul LEGEARD" userId="73b5704d-da1d-4b70-8e12-6d54d32b01a3" providerId="ADAL" clId="{34D27C30-2355-4BC1-A70E-6D76C2E2FCE9}" dt="2023-04-12T11:53:55.011" v="2420" actId="14100"/>
          <ac:cxnSpMkLst>
            <pc:docMk/>
            <pc:sldMk cId="1455387451" sldId="2147469795"/>
            <ac:cxnSpMk id="26" creationId="{A4A7138B-2967-4520-AED4-D41FFED44547}"/>
          </ac:cxnSpMkLst>
        </pc:cxnChg>
      </pc:sldChg>
      <pc:sldChg chg="addSp delSp modSp add del mod">
        <pc:chgData name="Paul LEGEARD" userId="73b5704d-da1d-4b70-8e12-6d54d32b01a3" providerId="ADAL" clId="{34D27C30-2355-4BC1-A70E-6D76C2E2FCE9}" dt="2023-04-12T11:56:11.892" v="2856" actId="47"/>
        <pc:sldMkLst>
          <pc:docMk/>
          <pc:sldMk cId="1963460893" sldId="2147469796"/>
        </pc:sldMkLst>
        <pc:picChg chg="add del mod">
          <ac:chgData name="Paul LEGEARD" userId="73b5704d-da1d-4b70-8e12-6d54d32b01a3" providerId="ADAL" clId="{34D27C30-2355-4BC1-A70E-6D76C2E2FCE9}" dt="2023-04-12T11:46:39.917" v="1857" actId="21"/>
          <ac:picMkLst>
            <pc:docMk/>
            <pc:sldMk cId="1963460893" sldId="2147469796"/>
            <ac:picMk id="4" creationId="{0976A161-8D28-B10C-3F05-419115805BE5}"/>
          </ac:picMkLst>
        </pc:picChg>
      </pc:sldChg>
      <pc:sldChg chg="add del">
        <pc:chgData name="Paul LEGEARD" userId="73b5704d-da1d-4b70-8e12-6d54d32b01a3" providerId="ADAL" clId="{34D27C30-2355-4BC1-A70E-6D76C2E2FCE9}" dt="2023-04-12T11:43:27.589" v="1748" actId="2696"/>
        <pc:sldMkLst>
          <pc:docMk/>
          <pc:sldMk cId="3353199055" sldId="2147469796"/>
        </pc:sldMkLst>
      </pc:sldChg>
      <pc:sldChg chg="add del">
        <pc:chgData name="Paul LEGEARD" userId="73b5704d-da1d-4b70-8e12-6d54d32b01a3" providerId="ADAL" clId="{34D27C30-2355-4BC1-A70E-6D76C2E2FCE9}" dt="2023-04-12T11:56:12.660" v="2857" actId="47"/>
        <pc:sldMkLst>
          <pc:docMk/>
          <pc:sldMk cId="2358224696" sldId="2147469797"/>
        </pc:sldMkLst>
      </pc:sldChg>
      <pc:sldChg chg="addSp delSp modSp add del mod">
        <pc:chgData name="Paul LEGEARD" userId="73b5704d-da1d-4b70-8e12-6d54d32b01a3" providerId="ADAL" clId="{34D27C30-2355-4BC1-A70E-6D76C2E2FCE9}" dt="2023-04-12T11:43:27.589" v="1748" actId="2696"/>
        <pc:sldMkLst>
          <pc:docMk/>
          <pc:sldMk cId="3677037752" sldId="2147469797"/>
        </pc:sldMkLst>
        <pc:spChg chg="add">
          <ac:chgData name="Paul LEGEARD" userId="73b5704d-da1d-4b70-8e12-6d54d32b01a3" providerId="ADAL" clId="{34D27C30-2355-4BC1-A70E-6D76C2E2FCE9}" dt="2023-04-12T09:28:38.516" v="257" actId="22"/>
          <ac:spMkLst>
            <pc:docMk/>
            <pc:sldMk cId="3677037752" sldId="2147469797"/>
            <ac:spMk id="4" creationId="{63B210C1-6910-EE45-3C1D-B39963EF96BE}"/>
          </ac:spMkLst>
        </pc:spChg>
        <pc:spChg chg="mod">
          <ac:chgData name="Paul LEGEARD" userId="73b5704d-da1d-4b70-8e12-6d54d32b01a3" providerId="ADAL" clId="{34D27C30-2355-4BC1-A70E-6D76C2E2FCE9}" dt="2023-04-12T09:28:13.505" v="255" actId="20577"/>
          <ac:spMkLst>
            <pc:docMk/>
            <pc:sldMk cId="3677037752" sldId="2147469797"/>
            <ac:spMk id="79" creationId="{9007893F-DE3F-4277-8B72-135CF4773651}"/>
          </ac:spMkLst>
        </pc:spChg>
        <pc:graphicFrameChg chg="del">
          <ac:chgData name="Paul LEGEARD" userId="73b5704d-da1d-4b70-8e12-6d54d32b01a3" providerId="ADAL" clId="{34D27C30-2355-4BC1-A70E-6D76C2E2FCE9}" dt="2023-04-12T09:28:20.476" v="256" actId="478"/>
          <ac:graphicFrameMkLst>
            <pc:docMk/>
            <pc:sldMk cId="3677037752" sldId="2147469797"/>
            <ac:graphicFrameMk id="2" creationId="{F3EEC510-38E4-AAFE-9BDB-C05A5A68BCF2}"/>
          </ac:graphicFrameMkLst>
        </pc:graphicFrameChg>
      </pc:sldChg>
      <pc:sldChg chg="addSp delSp modSp add mod ord">
        <pc:chgData name="Paul LEGEARD" userId="73b5704d-da1d-4b70-8e12-6d54d32b01a3" providerId="ADAL" clId="{34D27C30-2355-4BC1-A70E-6D76C2E2FCE9}" dt="2023-04-12T11:42:42.167" v="1676"/>
        <pc:sldMkLst>
          <pc:docMk/>
          <pc:sldMk cId="1798829319" sldId="2147469798"/>
        </pc:sldMkLst>
        <pc:spChg chg="add del mod">
          <ac:chgData name="Paul LEGEARD" userId="73b5704d-da1d-4b70-8e12-6d54d32b01a3" providerId="ADAL" clId="{34D27C30-2355-4BC1-A70E-6D76C2E2FCE9}" dt="2023-04-12T11:32:10.358" v="854" actId="478"/>
          <ac:spMkLst>
            <pc:docMk/>
            <pc:sldMk cId="1798829319" sldId="2147469798"/>
            <ac:spMk id="3" creationId="{5FE97569-4BD5-626B-1FF4-FD2500A60213}"/>
          </ac:spMkLst>
        </pc:spChg>
        <pc:spChg chg="mod">
          <ac:chgData name="Paul LEGEARD" userId="73b5704d-da1d-4b70-8e12-6d54d32b01a3" providerId="ADAL" clId="{34D27C30-2355-4BC1-A70E-6D76C2E2FCE9}" dt="2023-04-12T11:36:25.951" v="1528" actId="20577"/>
          <ac:spMkLst>
            <pc:docMk/>
            <pc:sldMk cId="1798829319" sldId="2147469798"/>
            <ac:spMk id="4" creationId="{52AFB3F8-88A7-4D69-8A52-45D00774625C}"/>
          </ac:spMkLst>
        </pc:spChg>
        <pc:spChg chg="add mod">
          <ac:chgData name="Paul LEGEARD" userId="73b5704d-da1d-4b70-8e12-6d54d32b01a3" providerId="ADAL" clId="{34D27C30-2355-4BC1-A70E-6D76C2E2FCE9}" dt="2023-04-12T11:36:22.645" v="1512" actId="14100"/>
          <ac:spMkLst>
            <pc:docMk/>
            <pc:sldMk cId="1798829319" sldId="2147469798"/>
            <ac:spMk id="5" creationId="{51D5C176-5B8E-B356-57E8-997A014A691B}"/>
          </ac:spMkLst>
        </pc:spChg>
        <pc:spChg chg="del">
          <ac:chgData name="Paul LEGEARD" userId="73b5704d-da1d-4b70-8e12-6d54d32b01a3" providerId="ADAL" clId="{34D27C30-2355-4BC1-A70E-6D76C2E2FCE9}" dt="2023-04-12T11:30:21.105" v="824" actId="478"/>
          <ac:spMkLst>
            <pc:docMk/>
            <pc:sldMk cId="1798829319" sldId="2147469798"/>
            <ac:spMk id="6" creationId="{85218550-C2C3-3ABA-C265-3AEB8EA15533}"/>
          </ac:spMkLst>
        </pc:spChg>
        <pc:spChg chg="del">
          <ac:chgData name="Paul LEGEARD" userId="73b5704d-da1d-4b70-8e12-6d54d32b01a3" providerId="ADAL" clId="{34D27C30-2355-4BC1-A70E-6D76C2E2FCE9}" dt="2023-04-12T11:30:21.105" v="824" actId="478"/>
          <ac:spMkLst>
            <pc:docMk/>
            <pc:sldMk cId="1798829319" sldId="2147469798"/>
            <ac:spMk id="17" creationId="{813F333F-BB36-886D-0017-80A1BA89C807}"/>
          </ac:spMkLst>
        </pc:spChg>
        <pc:spChg chg="del">
          <ac:chgData name="Paul LEGEARD" userId="73b5704d-da1d-4b70-8e12-6d54d32b01a3" providerId="ADAL" clId="{34D27C30-2355-4BC1-A70E-6D76C2E2FCE9}" dt="2023-04-12T11:30:21.105" v="824" actId="478"/>
          <ac:spMkLst>
            <pc:docMk/>
            <pc:sldMk cId="1798829319" sldId="2147469798"/>
            <ac:spMk id="19" creationId="{39A2BCB4-0CC2-A46C-3619-4F4F933EA3A3}"/>
          </ac:spMkLst>
        </pc:spChg>
        <pc:spChg chg="del">
          <ac:chgData name="Paul LEGEARD" userId="73b5704d-da1d-4b70-8e12-6d54d32b01a3" providerId="ADAL" clId="{34D27C30-2355-4BC1-A70E-6D76C2E2FCE9}" dt="2023-04-12T11:32:12.585" v="856" actId="478"/>
          <ac:spMkLst>
            <pc:docMk/>
            <pc:sldMk cId="1798829319" sldId="2147469798"/>
            <ac:spMk id="22" creationId="{47C475A5-710A-FDBA-369A-6AC8B9941F71}"/>
          </ac:spMkLst>
        </pc:spChg>
        <pc:spChg chg="del">
          <ac:chgData name="Paul LEGEARD" userId="73b5704d-da1d-4b70-8e12-6d54d32b01a3" providerId="ADAL" clId="{34D27C30-2355-4BC1-A70E-6D76C2E2FCE9}" dt="2023-04-12T11:30:21.105" v="824" actId="478"/>
          <ac:spMkLst>
            <pc:docMk/>
            <pc:sldMk cId="1798829319" sldId="2147469798"/>
            <ac:spMk id="25" creationId="{0BA4A829-7A48-2E54-1F8A-DE46A12634A3}"/>
          </ac:spMkLst>
        </pc:spChg>
        <pc:spChg chg="del">
          <ac:chgData name="Paul LEGEARD" userId="73b5704d-da1d-4b70-8e12-6d54d32b01a3" providerId="ADAL" clId="{34D27C30-2355-4BC1-A70E-6D76C2E2FCE9}" dt="2023-04-12T11:30:21.105" v="824" actId="478"/>
          <ac:spMkLst>
            <pc:docMk/>
            <pc:sldMk cId="1798829319" sldId="2147469798"/>
            <ac:spMk id="26" creationId="{47528C7D-1BD8-1D0B-290B-65F9975458AD}"/>
          </ac:spMkLst>
        </pc:spChg>
        <pc:spChg chg="del">
          <ac:chgData name="Paul LEGEARD" userId="73b5704d-da1d-4b70-8e12-6d54d32b01a3" providerId="ADAL" clId="{34D27C30-2355-4BC1-A70E-6D76C2E2FCE9}" dt="2023-04-12T11:30:21.105" v="824" actId="478"/>
          <ac:spMkLst>
            <pc:docMk/>
            <pc:sldMk cId="1798829319" sldId="2147469798"/>
            <ac:spMk id="36" creationId="{2CCD79DA-D087-7117-092A-1ED114774991}"/>
          </ac:spMkLst>
        </pc:spChg>
        <pc:spChg chg="del">
          <ac:chgData name="Paul LEGEARD" userId="73b5704d-da1d-4b70-8e12-6d54d32b01a3" providerId="ADAL" clId="{34D27C30-2355-4BC1-A70E-6D76C2E2FCE9}" dt="2023-04-12T11:30:21.105" v="824" actId="478"/>
          <ac:spMkLst>
            <pc:docMk/>
            <pc:sldMk cId="1798829319" sldId="2147469798"/>
            <ac:spMk id="39" creationId="{9C8854D1-8A9D-9005-ADE1-4FE7A49F3132}"/>
          </ac:spMkLst>
        </pc:spChg>
        <pc:spChg chg="del">
          <ac:chgData name="Paul LEGEARD" userId="73b5704d-da1d-4b70-8e12-6d54d32b01a3" providerId="ADAL" clId="{34D27C30-2355-4BC1-A70E-6D76C2E2FCE9}" dt="2023-04-12T11:30:21.105" v="824" actId="478"/>
          <ac:spMkLst>
            <pc:docMk/>
            <pc:sldMk cId="1798829319" sldId="2147469798"/>
            <ac:spMk id="40" creationId="{E018C162-DCF1-A8D5-5622-8375B05D7B6E}"/>
          </ac:spMkLst>
        </pc:spChg>
        <pc:spChg chg="del">
          <ac:chgData name="Paul LEGEARD" userId="73b5704d-da1d-4b70-8e12-6d54d32b01a3" providerId="ADAL" clId="{34D27C30-2355-4BC1-A70E-6D76C2E2FCE9}" dt="2023-04-12T11:30:21.105" v="824" actId="478"/>
          <ac:spMkLst>
            <pc:docMk/>
            <pc:sldMk cId="1798829319" sldId="2147469798"/>
            <ac:spMk id="43" creationId="{E236D620-3491-897A-01D4-AE29622018FC}"/>
          </ac:spMkLst>
        </pc:spChg>
        <pc:spChg chg="del">
          <ac:chgData name="Paul LEGEARD" userId="73b5704d-da1d-4b70-8e12-6d54d32b01a3" providerId="ADAL" clId="{34D27C30-2355-4BC1-A70E-6D76C2E2FCE9}" dt="2023-04-12T11:30:21.105" v="824" actId="478"/>
          <ac:spMkLst>
            <pc:docMk/>
            <pc:sldMk cId="1798829319" sldId="2147469798"/>
            <ac:spMk id="44" creationId="{7DC99D69-5170-D330-6E5E-6D2792787C35}"/>
          </ac:spMkLst>
        </pc:spChg>
        <pc:spChg chg="del">
          <ac:chgData name="Paul LEGEARD" userId="73b5704d-da1d-4b70-8e12-6d54d32b01a3" providerId="ADAL" clId="{34D27C30-2355-4BC1-A70E-6D76C2E2FCE9}" dt="2023-04-12T11:30:21.105" v="824" actId="478"/>
          <ac:spMkLst>
            <pc:docMk/>
            <pc:sldMk cId="1798829319" sldId="2147469798"/>
            <ac:spMk id="45" creationId="{A1FED9C3-C256-B7A6-4FB7-6F727676AEC1}"/>
          </ac:spMkLst>
        </pc:spChg>
        <pc:spChg chg="del">
          <ac:chgData name="Paul LEGEARD" userId="73b5704d-da1d-4b70-8e12-6d54d32b01a3" providerId="ADAL" clId="{34D27C30-2355-4BC1-A70E-6D76C2E2FCE9}" dt="2023-04-12T11:30:21.105" v="824" actId="478"/>
          <ac:spMkLst>
            <pc:docMk/>
            <pc:sldMk cId="1798829319" sldId="2147469798"/>
            <ac:spMk id="46" creationId="{DAEAF24F-0861-79C6-8511-05BFB63124D9}"/>
          </ac:spMkLst>
        </pc:spChg>
        <pc:spChg chg="del">
          <ac:chgData name="Paul LEGEARD" userId="73b5704d-da1d-4b70-8e12-6d54d32b01a3" providerId="ADAL" clId="{34D27C30-2355-4BC1-A70E-6D76C2E2FCE9}" dt="2023-04-12T11:30:21.105" v="824" actId="478"/>
          <ac:spMkLst>
            <pc:docMk/>
            <pc:sldMk cId="1798829319" sldId="2147469798"/>
            <ac:spMk id="47" creationId="{43938DDB-7FA7-A527-CFDB-620CD7FABAEB}"/>
          </ac:spMkLst>
        </pc:spChg>
        <pc:picChg chg="del">
          <ac:chgData name="Paul LEGEARD" userId="73b5704d-da1d-4b70-8e12-6d54d32b01a3" providerId="ADAL" clId="{34D27C30-2355-4BC1-A70E-6D76C2E2FCE9}" dt="2023-04-12T11:30:21.105" v="824" actId="478"/>
          <ac:picMkLst>
            <pc:docMk/>
            <pc:sldMk cId="1798829319" sldId="2147469798"/>
            <ac:picMk id="24" creationId="{6D551F6A-DDEB-AD8B-07EC-28358D62A54C}"/>
          </ac:picMkLst>
        </pc:picChg>
        <pc:picChg chg="del">
          <ac:chgData name="Paul LEGEARD" userId="73b5704d-da1d-4b70-8e12-6d54d32b01a3" providerId="ADAL" clId="{34D27C30-2355-4BC1-A70E-6D76C2E2FCE9}" dt="2023-04-12T11:30:21.105" v="824" actId="478"/>
          <ac:picMkLst>
            <pc:docMk/>
            <pc:sldMk cId="1798829319" sldId="2147469798"/>
            <ac:picMk id="38" creationId="{83C722D3-DE5D-1345-9435-E2AE811CF099}"/>
          </ac:picMkLst>
        </pc:picChg>
        <pc:cxnChg chg="del">
          <ac:chgData name="Paul LEGEARD" userId="73b5704d-da1d-4b70-8e12-6d54d32b01a3" providerId="ADAL" clId="{34D27C30-2355-4BC1-A70E-6D76C2E2FCE9}" dt="2023-04-12T11:30:21.105" v="824" actId="478"/>
          <ac:cxnSpMkLst>
            <pc:docMk/>
            <pc:sldMk cId="1798829319" sldId="2147469798"/>
            <ac:cxnSpMk id="2" creationId="{14765310-8D7B-00FF-E6FA-22E661861B87}"/>
          </ac:cxnSpMkLst>
        </pc:cxnChg>
        <pc:cxnChg chg="del">
          <ac:chgData name="Paul LEGEARD" userId="73b5704d-da1d-4b70-8e12-6d54d32b01a3" providerId="ADAL" clId="{34D27C30-2355-4BC1-A70E-6D76C2E2FCE9}" dt="2023-04-12T11:30:21.105" v="824" actId="478"/>
          <ac:cxnSpMkLst>
            <pc:docMk/>
            <pc:sldMk cId="1798829319" sldId="2147469798"/>
            <ac:cxnSpMk id="32" creationId="{E2036FF3-4F86-5495-A37A-799B6E070C3D}"/>
          </ac:cxnSpMkLst>
        </pc:cxnChg>
        <pc:cxnChg chg="del">
          <ac:chgData name="Paul LEGEARD" userId="73b5704d-da1d-4b70-8e12-6d54d32b01a3" providerId="ADAL" clId="{34D27C30-2355-4BC1-A70E-6D76C2E2FCE9}" dt="2023-04-12T11:30:21.105" v="824" actId="478"/>
          <ac:cxnSpMkLst>
            <pc:docMk/>
            <pc:sldMk cId="1798829319" sldId="2147469798"/>
            <ac:cxnSpMk id="41" creationId="{B69364FF-74BF-81F8-8CC9-BF00A61C260D}"/>
          </ac:cxnSpMkLst>
        </pc:cxnChg>
      </pc:sldChg>
      <pc:sldChg chg="modSp add mod">
        <pc:chgData name="Paul LEGEARD" userId="73b5704d-da1d-4b70-8e12-6d54d32b01a3" providerId="ADAL" clId="{34D27C30-2355-4BC1-A70E-6D76C2E2FCE9}" dt="2023-04-12T11:43:20.948" v="1746" actId="20577"/>
        <pc:sldMkLst>
          <pc:docMk/>
          <pc:sldMk cId="1883560432" sldId="2147469799"/>
        </pc:sldMkLst>
        <pc:spChg chg="mod">
          <ac:chgData name="Paul LEGEARD" userId="73b5704d-da1d-4b70-8e12-6d54d32b01a3" providerId="ADAL" clId="{34D27C30-2355-4BC1-A70E-6D76C2E2FCE9}" dt="2023-04-12T11:43:20.948" v="1746" actId="20577"/>
          <ac:spMkLst>
            <pc:docMk/>
            <pc:sldMk cId="1883560432" sldId="2147469799"/>
            <ac:spMk id="2" creationId="{81BA7D8F-F811-489A-AC70-FD79EE27800F}"/>
          </ac:spMkLst>
        </pc:spChg>
      </pc:sldChg>
      <pc:sldChg chg="addSp delSp modSp add mod">
        <pc:chgData name="Paul LEGEARD" userId="73b5704d-da1d-4b70-8e12-6d54d32b01a3" providerId="ADAL" clId="{34D27C30-2355-4BC1-A70E-6D76C2E2FCE9}" dt="2023-04-12T11:45:22.181" v="1829" actId="207"/>
        <pc:sldMkLst>
          <pc:docMk/>
          <pc:sldMk cId="2779891021" sldId="2147469800"/>
        </pc:sldMkLst>
        <pc:spChg chg="del">
          <ac:chgData name="Paul LEGEARD" userId="73b5704d-da1d-4b70-8e12-6d54d32b01a3" providerId="ADAL" clId="{34D27C30-2355-4BC1-A70E-6D76C2E2FCE9}" dt="2023-04-12T11:44:00.759" v="1751" actId="478"/>
          <ac:spMkLst>
            <pc:docMk/>
            <pc:sldMk cId="2779891021" sldId="2147469800"/>
            <ac:spMk id="4" creationId="{F440E334-72F2-7C79-BB5F-1B705EAA3333}"/>
          </ac:spMkLst>
        </pc:spChg>
        <pc:spChg chg="del">
          <ac:chgData name="Paul LEGEARD" userId="73b5704d-da1d-4b70-8e12-6d54d32b01a3" providerId="ADAL" clId="{34D27C30-2355-4BC1-A70E-6D76C2E2FCE9}" dt="2023-04-12T11:44:00.759" v="1751" actId="478"/>
          <ac:spMkLst>
            <pc:docMk/>
            <pc:sldMk cId="2779891021" sldId="2147469800"/>
            <ac:spMk id="5" creationId="{2360AAEC-4CAC-6DF1-6210-5D9F214C835D}"/>
          </ac:spMkLst>
        </pc:spChg>
        <pc:spChg chg="add del mod">
          <ac:chgData name="Paul LEGEARD" userId="73b5704d-da1d-4b70-8e12-6d54d32b01a3" providerId="ADAL" clId="{34D27C30-2355-4BC1-A70E-6D76C2E2FCE9}" dt="2023-04-12T11:44:02.553" v="1752" actId="478"/>
          <ac:spMkLst>
            <pc:docMk/>
            <pc:sldMk cId="2779891021" sldId="2147469800"/>
            <ac:spMk id="7" creationId="{DF8186E7-0994-C110-42A0-8FF4F135B28A}"/>
          </ac:spMkLst>
        </pc:spChg>
        <pc:spChg chg="del">
          <ac:chgData name="Paul LEGEARD" userId="73b5704d-da1d-4b70-8e12-6d54d32b01a3" providerId="ADAL" clId="{34D27C30-2355-4BC1-A70E-6D76C2E2FCE9}" dt="2023-04-12T11:44:00.759" v="1751" actId="478"/>
          <ac:spMkLst>
            <pc:docMk/>
            <pc:sldMk cId="2779891021" sldId="2147469800"/>
            <ac:spMk id="9" creationId="{BB997EE3-F5FF-B177-EFA1-405467ED8F13}"/>
          </ac:spMkLst>
        </pc:spChg>
        <pc:spChg chg="del">
          <ac:chgData name="Paul LEGEARD" userId="73b5704d-da1d-4b70-8e12-6d54d32b01a3" providerId="ADAL" clId="{34D27C30-2355-4BC1-A70E-6D76C2E2FCE9}" dt="2023-04-12T11:44:00.759" v="1751" actId="478"/>
          <ac:spMkLst>
            <pc:docMk/>
            <pc:sldMk cId="2779891021" sldId="2147469800"/>
            <ac:spMk id="10" creationId="{4E74B778-093B-DB0A-1C28-D5B503641FB1}"/>
          </ac:spMkLst>
        </pc:spChg>
        <pc:spChg chg="add mod">
          <ac:chgData name="Paul LEGEARD" userId="73b5704d-da1d-4b70-8e12-6d54d32b01a3" providerId="ADAL" clId="{34D27C30-2355-4BC1-A70E-6D76C2E2FCE9}" dt="2023-04-12T11:45:22.181" v="1829" actId="207"/>
          <ac:spMkLst>
            <pc:docMk/>
            <pc:sldMk cId="2779891021" sldId="2147469800"/>
            <ac:spMk id="11" creationId="{C83A34B9-079B-B5A4-4DF3-2FC922C06EF3}"/>
          </ac:spMkLst>
        </pc:spChg>
        <pc:spChg chg="del">
          <ac:chgData name="Paul LEGEARD" userId="73b5704d-da1d-4b70-8e12-6d54d32b01a3" providerId="ADAL" clId="{34D27C30-2355-4BC1-A70E-6D76C2E2FCE9}" dt="2023-04-12T11:44:00.759" v="1751" actId="478"/>
          <ac:spMkLst>
            <pc:docMk/>
            <pc:sldMk cId="2779891021" sldId="2147469800"/>
            <ac:spMk id="13" creationId="{14E933B6-DD6F-2675-42B5-9248684F864C}"/>
          </ac:spMkLst>
        </pc:spChg>
        <pc:spChg chg="del">
          <ac:chgData name="Paul LEGEARD" userId="73b5704d-da1d-4b70-8e12-6d54d32b01a3" providerId="ADAL" clId="{34D27C30-2355-4BC1-A70E-6D76C2E2FCE9}" dt="2023-04-12T11:44:00.759" v="1751" actId="478"/>
          <ac:spMkLst>
            <pc:docMk/>
            <pc:sldMk cId="2779891021" sldId="2147469800"/>
            <ac:spMk id="15" creationId="{DD8C3729-560E-3A4B-63A6-479666F1D74F}"/>
          </ac:spMkLst>
        </pc:spChg>
        <pc:spChg chg="del">
          <ac:chgData name="Paul LEGEARD" userId="73b5704d-da1d-4b70-8e12-6d54d32b01a3" providerId="ADAL" clId="{34D27C30-2355-4BC1-A70E-6D76C2E2FCE9}" dt="2023-04-12T11:44:00.759" v="1751" actId="478"/>
          <ac:spMkLst>
            <pc:docMk/>
            <pc:sldMk cId="2779891021" sldId="2147469800"/>
            <ac:spMk id="20" creationId="{DD937DF7-9687-6E10-EBBC-905F418EA2ED}"/>
          </ac:spMkLst>
        </pc:spChg>
        <pc:spChg chg="del">
          <ac:chgData name="Paul LEGEARD" userId="73b5704d-da1d-4b70-8e12-6d54d32b01a3" providerId="ADAL" clId="{34D27C30-2355-4BC1-A70E-6D76C2E2FCE9}" dt="2023-04-12T11:44:00.759" v="1751" actId="478"/>
          <ac:spMkLst>
            <pc:docMk/>
            <pc:sldMk cId="2779891021" sldId="2147469800"/>
            <ac:spMk id="22" creationId="{7A197921-3C1E-E155-6DD7-3F5E99ED3E17}"/>
          </ac:spMkLst>
        </pc:spChg>
        <pc:spChg chg="del">
          <ac:chgData name="Paul LEGEARD" userId="73b5704d-da1d-4b70-8e12-6d54d32b01a3" providerId="ADAL" clId="{34D27C30-2355-4BC1-A70E-6D76C2E2FCE9}" dt="2023-04-12T11:44:00.759" v="1751" actId="478"/>
          <ac:spMkLst>
            <pc:docMk/>
            <pc:sldMk cId="2779891021" sldId="2147469800"/>
            <ac:spMk id="23" creationId="{810B9ECC-CAFB-9599-0761-8969457FB1BC}"/>
          </ac:spMkLst>
        </pc:spChg>
        <pc:spChg chg="del">
          <ac:chgData name="Paul LEGEARD" userId="73b5704d-da1d-4b70-8e12-6d54d32b01a3" providerId="ADAL" clId="{34D27C30-2355-4BC1-A70E-6D76C2E2FCE9}" dt="2023-04-12T11:44:00.759" v="1751" actId="478"/>
          <ac:spMkLst>
            <pc:docMk/>
            <pc:sldMk cId="2779891021" sldId="2147469800"/>
            <ac:spMk id="24" creationId="{1EDB947B-8462-D24E-8EDE-79A901EF5CBD}"/>
          </ac:spMkLst>
        </pc:spChg>
        <pc:spChg chg="del">
          <ac:chgData name="Paul LEGEARD" userId="73b5704d-da1d-4b70-8e12-6d54d32b01a3" providerId="ADAL" clId="{34D27C30-2355-4BC1-A70E-6D76C2E2FCE9}" dt="2023-04-12T11:44:00.759" v="1751" actId="478"/>
          <ac:spMkLst>
            <pc:docMk/>
            <pc:sldMk cId="2779891021" sldId="2147469800"/>
            <ac:spMk id="25" creationId="{8AAB3FBD-B03B-F05B-F74F-77AF4052AFA1}"/>
          </ac:spMkLst>
        </pc:spChg>
        <pc:spChg chg="del">
          <ac:chgData name="Paul LEGEARD" userId="73b5704d-da1d-4b70-8e12-6d54d32b01a3" providerId="ADAL" clId="{34D27C30-2355-4BC1-A70E-6D76C2E2FCE9}" dt="2023-04-12T11:44:00.759" v="1751" actId="478"/>
          <ac:spMkLst>
            <pc:docMk/>
            <pc:sldMk cId="2779891021" sldId="2147469800"/>
            <ac:spMk id="27" creationId="{CC66BA12-0877-526A-20BE-A4EC24BBE7C7}"/>
          </ac:spMkLst>
        </pc:spChg>
        <pc:spChg chg="del">
          <ac:chgData name="Paul LEGEARD" userId="73b5704d-da1d-4b70-8e12-6d54d32b01a3" providerId="ADAL" clId="{34D27C30-2355-4BC1-A70E-6D76C2E2FCE9}" dt="2023-04-12T11:44:00.759" v="1751" actId="478"/>
          <ac:spMkLst>
            <pc:docMk/>
            <pc:sldMk cId="2779891021" sldId="2147469800"/>
            <ac:spMk id="28" creationId="{A3DDF4F6-F41F-7459-9726-B603748CAACB}"/>
          </ac:spMkLst>
        </pc:spChg>
        <pc:spChg chg="del">
          <ac:chgData name="Paul LEGEARD" userId="73b5704d-da1d-4b70-8e12-6d54d32b01a3" providerId="ADAL" clId="{34D27C30-2355-4BC1-A70E-6D76C2E2FCE9}" dt="2023-04-12T11:44:00.759" v="1751" actId="478"/>
          <ac:spMkLst>
            <pc:docMk/>
            <pc:sldMk cId="2779891021" sldId="2147469800"/>
            <ac:spMk id="61" creationId="{A57701A6-4FB7-1FAA-DF9D-60AA433FD62A}"/>
          </ac:spMkLst>
        </pc:spChg>
        <pc:spChg chg="del">
          <ac:chgData name="Paul LEGEARD" userId="73b5704d-da1d-4b70-8e12-6d54d32b01a3" providerId="ADAL" clId="{34D27C30-2355-4BC1-A70E-6D76C2E2FCE9}" dt="2023-04-12T11:44:00.759" v="1751" actId="478"/>
          <ac:spMkLst>
            <pc:docMk/>
            <pc:sldMk cId="2779891021" sldId="2147469800"/>
            <ac:spMk id="65" creationId="{0CD773FC-DB89-C3B5-A279-051A155F455A}"/>
          </ac:spMkLst>
        </pc:spChg>
        <pc:spChg chg="del">
          <ac:chgData name="Paul LEGEARD" userId="73b5704d-da1d-4b70-8e12-6d54d32b01a3" providerId="ADAL" clId="{34D27C30-2355-4BC1-A70E-6D76C2E2FCE9}" dt="2023-04-12T11:44:00.759" v="1751" actId="478"/>
          <ac:spMkLst>
            <pc:docMk/>
            <pc:sldMk cId="2779891021" sldId="2147469800"/>
            <ac:spMk id="79" creationId="{9007893F-DE3F-4277-8B72-135CF4773651}"/>
          </ac:spMkLst>
        </pc:spChg>
        <pc:picChg chg="del">
          <ac:chgData name="Paul LEGEARD" userId="73b5704d-da1d-4b70-8e12-6d54d32b01a3" providerId="ADAL" clId="{34D27C30-2355-4BC1-A70E-6D76C2E2FCE9}" dt="2023-04-12T11:44:00.759" v="1751" actId="478"/>
          <ac:picMkLst>
            <pc:docMk/>
            <pc:sldMk cId="2779891021" sldId="2147469800"/>
            <ac:picMk id="2" creationId="{38FB5AF3-81E2-17A7-EC2D-80BF0A7EC34C}"/>
          </ac:picMkLst>
        </pc:picChg>
        <pc:picChg chg="del">
          <ac:chgData name="Paul LEGEARD" userId="73b5704d-da1d-4b70-8e12-6d54d32b01a3" providerId="ADAL" clId="{34D27C30-2355-4BC1-A70E-6D76C2E2FCE9}" dt="2023-04-12T11:44:00.759" v="1751" actId="478"/>
          <ac:picMkLst>
            <pc:docMk/>
            <pc:sldMk cId="2779891021" sldId="2147469800"/>
            <ac:picMk id="3" creationId="{C2086E58-E5E5-609F-0DAB-DC5B44540E45}"/>
          </ac:picMkLst>
        </pc:picChg>
        <pc:picChg chg="add mod">
          <ac:chgData name="Paul LEGEARD" userId="73b5704d-da1d-4b70-8e12-6d54d32b01a3" providerId="ADAL" clId="{34D27C30-2355-4BC1-A70E-6D76C2E2FCE9}" dt="2023-04-12T11:44:25.494" v="1758"/>
          <ac:picMkLst>
            <pc:docMk/>
            <pc:sldMk cId="2779891021" sldId="2147469800"/>
            <ac:picMk id="8" creationId="{FDF77078-5645-17C0-6864-9AFF5496A381}"/>
          </ac:picMkLst>
        </pc:picChg>
        <pc:picChg chg="del">
          <ac:chgData name="Paul LEGEARD" userId="73b5704d-da1d-4b70-8e12-6d54d32b01a3" providerId="ADAL" clId="{34D27C30-2355-4BC1-A70E-6D76C2E2FCE9}" dt="2023-04-12T11:44:00.759" v="1751" actId="478"/>
          <ac:picMkLst>
            <pc:docMk/>
            <pc:sldMk cId="2779891021" sldId="2147469800"/>
            <ac:picMk id="14" creationId="{54E74F72-35DB-6484-A15B-0BACF3898A10}"/>
          </ac:picMkLst>
        </pc:picChg>
        <pc:picChg chg="del">
          <ac:chgData name="Paul LEGEARD" userId="73b5704d-da1d-4b70-8e12-6d54d32b01a3" providerId="ADAL" clId="{34D27C30-2355-4BC1-A70E-6D76C2E2FCE9}" dt="2023-04-12T11:44:00.759" v="1751" actId="478"/>
          <ac:picMkLst>
            <pc:docMk/>
            <pc:sldMk cId="2779891021" sldId="2147469800"/>
            <ac:picMk id="16" creationId="{7EEC1ACD-5A73-FA4A-A243-02F24B9BF258}"/>
          </ac:picMkLst>
        </pc:picChg>
        <pc:picChg chg="del">
          <ac:chgData name="Paul LEGEARD" userId="73b5704d-da1d-4b70-8e12-6d54d32b01a3" providerId="ADAL" clId="{34D27C30-2355-4BC1-A70E-6D76C2E2FCE9}" dt="2023-04-12T11:44:00.759" v="1751" actId="478"/>
          <ac:picMkLst>
            <pc:docMk/>
            <pc:sldMk cId="2779891021" sldId="2147469800"/>
            <ac:picMk id="17" creationId="{FDB4FD84-28F4-9771-9969-069DB9581DFC}"/>
          </ac:picMkLst>
        </pc:picChg>
        <pc:picChg chg="del">
          <ac:chgData name="Paul LEGEARD" userId="73b5704d-da1d-4b70-8e12-6d54d32b01a3" providerId="ADAL" clId="{34D27C30-2355-4BC1-A70E-6D76C2E2FCE9}" dt="2023-04-12T11:44:00.759" v="1751" actId="478"/>
          <ac:picMkLst>
            <pc:docMk/>
            <pc:sldMk cId="2779891021" sldId="2147469800"/>
            <ac:picMk id="18" creationId="{07D19EE7-A092-F25A-DA9B-A0200AFA7982}"/>
          </ac:picMkLst>
        </pc:picChg>
        <pc:picChg chg="del">
          <ac:chgData name="Paul LEGEARD" userId="73b5704d-da1d-4b70-8e12-6d54d32b01a3" providerId="ADAL" clId="{34D27C30-2355-4BC1-A70E-6D76C2E2FCE9}" dt="2023-04-12T11:44:00.759" v="1751" actId="478"/>
          <ac:picMkLst>
            <pc:docMk/>
            <pc:sldMk cId="2779891021" sldId="2147469800"/>
            <ac:picMk id="19" creationId="{55802FB7-EB13-831E-65F4-8D511139B233}"/>
          </ac:picMkLst>
        </pc:picChg>
        <pc:picChg chg="del">
          <ac:chgData name="Paul LEGEARD" userId="73b5704d-da1d-4b70-8e12-6d54d32b01a3" providerId="ADAL" clId="{34D27C30-2355-4BC1-A70E-6D76C2E2FCE9}" dt="2023-04-12T11:44:00.759" v="1751" actId="478"/>
          <ac:picMkLst>
            <pc:docMk/>
            <pc:sldMk cId="2779891021" sldId="2147469800"/>
            <ac:picMk id="1026" creationId="{8CE31846-3D79-56C4-1A39-5B6B74D85EAB}"/>
          </ac:picMkLst>
        </pc:picChg>
        <pc:cxnChg chg="del mod">
          <ac:chgData name="Paul LEGEARD" userId="73b5704d-da1d-4b70-8e12-6d54d32b01a3" providerId="ADAL" clId="{34D27C30-2355-4BC1-A70E-6D76C2E2FCE9}" dt="2023-04-12T11:44:00.759" v="1751" actId="478"/>
          <ac:cxnSpMkLst>
            <pc:docMk/>
            <pc:sldMk cId="2779891021" sldId="2147469800"/>
            <ac:cxnSpMk id="70" creationId="{91AB48DD-8558-CC63-EA68-5B0237B71A9C}"/>
          </ac:cxnSpMkLst>
        </pc:cxnChg>
        <pc:cxnChg chg="del">
          <ac:chgData name="Paul LEGEARD" userId="73b5704d-da1d-4b70-8e12-6d54d32b01a3" providerId="ADAL" clId="{34D27C30-2355-4BC1-A70E-6D76C2E2FCE9}" dt="2023-04-12T11:44:00.759" v="1751" actId="478"/>
          <ac:cxnSpMkLst>
            <pc:docMk/>
            <pc:sldMk cId="2779891021" sldId="2147469800"/>
            <ac:cxnSpMk id="73" creationId="{AB9ADE3B-2B4C-CA60-DFA1-8B3400E63D02}"/>
          </ac:cxnSpMkLst>
        </pc:cxnChg>
      </pc:sldChg>
      <pc:sldChg chg="modSp add mod">
        <pc:chgData name="Paul LEGEARD" userId="73b5704d-da1d-4b70-8e12-6d54d32b01a3" providerId="ADAL" clId="{34D27C30-2355-4BC1-A70E-6D76C2E2FCE9}" dt="2023-04-12T11:45:58.842" v="1855" actId="403"/>
        <pc:sldMkLst>
          <pc:docMk/>
          <pc:sldMk cId="720060185" sldId="2147469801"/>
        </pc:sldMkLst>
        <pc:spChg chg="mod">
          <ac:chgData name="Paul LEGEARD" userId="73b5704d-da1d-4b70-8e12-6d54d32b01a3" providerId="ADAL" clId="{34D27C30-2355-4BC1-A70E-6D76C2E2FCE9}" dt="2023-04-12T11:45:58.842" v="1855" actId="403"/>
          <ac:spMkLst>
            <pc:docMk/>
            <pc:sldMk cId="720060185" sldId="2147469801"/>
            <ac:spMk id="2" creationId="{04931898-4FCF-4FC7-8D12-5F8D42E6E5C7}"/>
          </ac:spMkLst>
        </pc:spChg>
      </pc:sldChg>
      <pc:sldChg chg="addSp modSp add modNotes">
        <pc:chgData name="Paul LEGEARD" userId="73b5704d-da1d-4b70-8e12-6d54d32b01a3" providerId="ADAL" clId="{34D27C30-2355-4BC1-A70E-6D76C2E2FCE9}" dt="2023-04-12T12:01:53.579" v="2911"/>
        <pc:sldMkLst>
          <pc:docMk/>
          <pc:sldMk cId="0" sldId="2147469802"/>
        </pc:sldMkLst>
        <pc:spChg chg="add mod">
          <ac:chgData name="Paul LEGEARD" userId="73b5704d-da1d-4b70-8e12-6d54d32b01a3" providerId="ADAL" clId="{34D27C30-2355-4BC1-A70E-6D76C2E2FCE9}" dt="2023-04-12T12:01:53.579" v="2911"/>
          <ac:spMkLst>
            <pc:docMk/>
            <pc:sldMk cId="0" sldId="2147469802"/>
            <ac:spMk id="2" creationId="{9F84EE54-5A5A-90A8-A463-121B604EE331}"/>
          </ac:spMkLst>
        </pc:spChg>
      </pc:sldChg>
      <pc:sldMasterChg chg="modSldLayout">
        <pc:chgData name="Paul LEGEARD" userId="73b5704d-da1d-4b70-8e12-6d54d32b01a3" providerId="ADAL" clId="{34D27C30-2355-4BC1-A70E-6D76C2E2FCE9}" dt="2023-04-12T11:58:17.741" v="2864" actId="478"/>
        <pc:sldMasterMkLst>
          <pc:docMk/>
          <pc:sldMasterMk cId="3605024799" sldId="2147484446"/>
        </pc:sldMasterMkLst>
        <pc:sldLayoutChg chg="delSp mod">
          <pc:chgData name="Paul LEGEARD" userId="73b5704d-da1d-4b70-8e12-6d54d32b01a3" providerId="ADAL" clId="{34D27C30-2355-4BC1-A70E-6D76C2E2FCE9}" dt="2023-04-12T11:57:50.343" v="2860" actId="478"/>
          <pc:sldLayoutMkLst>
            <pc:docMk/>
            <pc:sldMasterMk cId="3605024799" sldId="2147484446"/>
            <pc:sldLayoutMk cId="3501091727" sldId="2147484581"/>
          </pc:sldLayoutMkLst>
          <pc:grpChg chg="del">
            <ac:chgData name="Paul LEGEARD" userId="73b5704d-da1d-4b70-8e12-6d54d32b01a3" providerId="ADAL" clId="{34D27C30-2355-4BC1-A70E-6D76C2E2FCE9}" dt="2023-04-12T11:57:50.343" v="2860" actId="478"/>
            <ac:grpSpMkLst>
              <pc:docMk/>
              <pc:sldMasterMk cId="3605024799" sldId="2147484446"/>
              <pc:sldLayoutMk cId="3501091727" sldId="2147484581"/>
              <ac:grpSpMk id="110" creationId="{00000000-0000-0000-0000-000000000000}"/>
            </ac:grpSpMkLst>
          </pc:grpChg>
          <pc:picChg chg="del">
            <ac:chgData name="Paul LEGEARD" userId="73b5704d-da1d-4b70-8e12-6d54d32b01a3" providerId="ADAL" clId="{34D27C30-2355-4BC1-A70E-6D76C2E2FCE9}" dt="2023-04-12T11:57:48.791" v="2859" actId="478"/>
            <ac:picMkLst>
              <pc:docMk/>
              <pc:sldMasterMk cId="3605024799" sldId="2147484446"/>
              <pc:sldLayoutMk cId="3501091727" sldId="2147484581"/>
              <ac:picMk id="108" creationId="{00000000-0000-0000-0000-000000000000}"/>
            </ac:picMkLst>
          </pc:picChg>
        </pc:sldLayoutChg>
        <pc:sldLayoutChg chg="delSp mod">
          <pc:chgData name="Paul LEGEARD" userId="73b5704d-da1d-4b70-8e12-6d54d32b01a3" providerId="ADAL" clId="{34D27C30-2355-4BC1-A70E-6D76C2E2FCE9}" dt="2023-04-12T11:58:17.741" v="2864" actId="478"/>
          <pc:sldLayoutMkLst>
            <pc:docMk/>
            <pc:sldMasterMk cId="3605024799" sldId="2147484446"/>
            <pc:sldLayoutMk cId="675897901" sldId="2147484582"/>
          </pc:sldLayoutMkLst>
          <pc:picChg chg="del">
            <ac:chgData name="Paul LEGEARD" userId="73b5704d-da1d-4b70-8e12-6d54d32b01a3" providerId="ADAL" clId="{34D27C30-2355-4BC1-A70E-6D76C2E2FCE9}" dt="2023-04-12T11:58:17.741" v="2864" actId="478"/>
            <ac:picMkLst>
              <pc:docMk/>
              <pc:sldMasterMk cId="3605024799" sldId="2147484446"/>
              <pc:sldLayoutMk cId="675897901" sldId="2147484582"/>
              <ac:picMk id="587" creationId="{00000000-0000-0000-0000-000000000000}"/>
            </ac:picMkLst>
          </pc:picChg>
        </pc:sldLayoutChg>
      </pc:sldMasterChg>
      <pc:sldMasterChg chg="delSldLayout">
        <pc:chgData name="Paul LEGEARD" userId="73b5704d-da1d-4b70-8e12-6d54d32b01a3" providerId="ADAL" clId="{34D27C30-2355-4BC1-A70E-6D76C2E2FCE9}" dt="2023-04-12T09:28:47.187" v="269" actId="47"/>
        <pc:sldMasterMkLst>
          <pc:docMk/>
          <pc:sldMasterMk cId="399878868" sldId="2147484450"/>
        </pc:sldMasterMkLst>
        <pc:sldLayoutChg chg="del">
          <pc:chgData name="Paul LEGEARD" userId="73b5704d-da1d-4b70-8e12-6d54d32b01a3" providerId="ADAL" clId="{34D27C30-2355-4BC1-A70E-6D76C2E2FCE9}" dt="2023-04-12T09:28:47.187" v="269" actId="47"/>
          <pc:sldLayoutMkLst>
            <pc:docMk/>
            <pc:sldMasterMk cId="399878868" sldId="2147484450"/>
            <pc:sldLayoutMk cId="3052268481" sldId="2147484553"/>
          </pc:sldLayoutMkLst>
        </pc:sldLayoutChg>
      </pc:sldMasterChg>
      <pc:sldMasterChg chg="del delSldLayout">
        <pc:chgData name="Paul LEGEARD" userId="73b5704d-da1d-4b70-8e12-6d54d32b01a3" providerId="ADAL" clId="{34D27C30-2355-4BC1-A70E-6D76C2E2FCE9}" dt="2023-04-12T11:59:25.235" v="2869" actId="47"/>
        <pc:sldMasterMkLst>
          <pc:docMk/>
          <pc:sldMasterMk cId="2254202605" sldId="2147484584"/>
        </pc:sldMasterMkLst>
        <pc:sldLayoutChg chg="del">
          <pc:chgData name="Paul LEGEARD" userId="73b5704d-da1d-4b70-8e12-6d54d32b01a3" providerId="ADAL" clId="{34D27C30-2355-4BC1-A70E-6D76C2E2FCE9}" dt="2023-04-12T11:59:25.235" v="2869" actId="47"/>
          <pc:sldLayoutMkLst>
            <pc:docMk/>
            <pc:sldMasterMk cId="2254202605" sldId="2147484584"/>
            <pc:sldLayoutMk cId="964043361" sldId="2147484585"/>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345458769" sldId="2147484586"/>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56081801" sldId="2147484587"/>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848922289" sldId="2147484588"/>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045989835" sldId="2147484589"/>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50569029" sldId="2147484590"/>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641496148" sldId="2147484591"/>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159749904" sldId="2147484592"/>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161913905" sldId="2147484593"/>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505941850" sldId="2147484594"/>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582567286" sldId="2147484595"/>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133386235" sldId="2147484596"/>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36366325" sldId="2147484597"/>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15511722" sldId="2147484598"/>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170024206" sldId="2147484599"/>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015903947" sldId="2147484600"/>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793315605" sldId="2147484601"/>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67544211" sldId="2147484602"/>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794863451" sldId="2147484603"/>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522044223" sldId="2147484604"/>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008923823" sldId="2147484605"/>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421692497" sldId="2147484606"/>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962608139" sldId="2147484607"/>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604274425" sldId="2147484608"/>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195856264" sldId="2147484609"/>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252803588" sldId="2147484610"/>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702243598" sldId="2147484611"/>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145322665" sldId="2147484612"/>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178816810" sldId="2147484613"/>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692367757" sldId="2147484614"/>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079792886" sldId="2147484615"/>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068591919" sldId="2147484616"/>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331932560" sldId="2147484617"/>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270785666" sldId="2147484618"/>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254848684" sldId="2147484619"/>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489242757" sldId="2147484620"/>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195784937" sldId="2147484621"/>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260169046" sldId="2147484622"/>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239798686" sldId="2147484623"/>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1621683704" sldId="2147484624"/>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707313855" sldId="2147484625"/>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2583096098" sldId="2147484626"/>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498063066" sldId="2147484627"/>
          </pc:sldLayoutMkLst>
        </pc:sldLayoutChg>
        <pc:sldLayoutChg chg="del">
          <pc:chgData name="Paul LEGEARD" userId="73b5704d-da1d-4b70-8e12-6d54d32b01a3" providerId="ADAL" clId="{34D27C30-2355-4BC1-A70E-6D76C2E2FCE9}" dt="2023-04-12T11:59:25.235" v="2869" actId="47"/>
          <pc:sldLayoutMkLst>
            <pc:docMk/>
            <pc:sldMasterMk cId="2254202605" sldId="2147484584"/>
            <pc:sldLayoutMk cId="3477048687" sldId="2147484628"/>
          </pc:sldLayoutMkLst>
        </pc:sldLayoutChg>
      </pc:sldMasterChg>
    </pc:docChg>
  </pc:docChgLst>
  <pc:docChgLst>
    <pc:chgData name="Paul LEGEARD" userId="73b5704d-da1d-4b70-8e12-6d54d32b01a3" providerId="ADAL" clId="{89EAE6C5-58C8-4C36-80B7-C8203E5FAD4B}"/>
    <pc:docChg chg="undo custSel addSld delSld modSld">
      <pc:chgData name="Paul LEGEARD" userId="73b5704d-da1d-4b70-8e12-6d54d32b01a3" providerId="ADAL" clId="{89EAE6C5-58C8-4C36-80B7-C8203E5FAD4B}" dt="2023-04-04T13:09:30.462" v="942" actId="47"/>
      <pc:docMkLst>
        <pc:docMk/>
      </pc:docMkLst>
      <pc:sldChg chg="modSp mod">
        <pc:chgData name="Paul LEGEARD" userId="73b5704d-da1d-4b70-8e12-6d54d32b01a3" providerId="ADAL" clId="{89EAE6C5-58C8-4C36-80B7-C8203E5FAD4B}" dt="2023-04-04T13:09:09.149" v="939" actId="20577"/>
        <pc:sldMkLst>
          <pc:docMk/>
          <pc:sldMk cId="561478069" sldId="2147374871"/>
        </pc:sldMkLst>
        <pc:graphicFrameChg chg="modGraphic">
          <ac:chgData name="Paul LEGEARD" userId="73b5704d-da1d-4b70-8e12-6d54d32b01a3" providerId="ADAL" clId="{89EAE6C5-58C8-4C36-80B7-C8203E5FAD4B}" dt="2023-04-04T13:09:09.149" v="939" actId="20577"/>
          <ac:graphicFrameMkLst>
            <pc:docMk/>
            <pc:sldMk cId="561478069" sldId="2147374871"/>
            <ac:graphicFrameMk id="3" creationId="{C4CE32E3-6EEA-D6EA-4C98-76D6E419AA03}"/>
          </ac:graphicFrameMkLst>
        </pc:graphicFrameChg>
      </pc:sldChg>
      <pc:sldChg chg="addSp delSp modSp mod">
        <pc:chgData name="Paul LEGEARD" userId="73b5704d-da1d-4b70-8e12-6d54d32b01a3" providerId="ADAL" clId="{89EAE6C5-58C8-4C36-80B7-C8203E5FAD4B}" dt="2023-04-04T12:47:57.368" v="215" actId="478"/>
        <pc:sldMkLst>
          <pc:docMk/>
          <pc:sldMk cId="4182100474" sldId="2147374873"/>
        </pc:sldMkLst>
        <pc:spChg chg="add del mod">
          <ac:chgData name="Paul LEGEARD" userId="73b5704d-da1d-4b70-8e12-6d54d32b01a3" providerId="ADAL" clId="{89EAE6C5-58C8-4C36-80B7-C8203E5FAD4B}" dt="2023-04-04T12:47:57.368" v="215" actId="478"/>
          <ac:spMkLst>
            <pc:docMk/>
            <pc:sldMk cId="4182100474" sldId="2147374873"/>
            <ac:spMk id="2" creationId="{AF170C01-EB0B-CACD-8BD5-9C13DA950AE5}"/>
          </ac:spMkLst>
        </pc:spChg>
      </pc:sldChg>
      <pc:sldChg chg="del">
        <pc:chgData name="Paul LEGEARD" userId="73b5704d-da1d-4b70-8e12-6d54d32b01a3" providerId="ADAL" clId="{89EAE6C5-58C8-4C36-80B7-C8203E5FAD4B}" dt="2023-04-04T13:09:29.367" v="940" actId="47"/>
        <pc:sldMkLst>
          <pc:docMk/>
          <pc:sldMk cId="4061637623" sldId="2147374882"/>
        </pc:sldMkLst>
      </pc:sldChg>
      <pc:sldChg chg="del">
        <pc:chgData name="Paul LEGEARD" userId="73b5704d-da1d-4b70-8e12-6d54d32b01a3" providerId="ADAL" clId="{89EAE6C5-58C8-4C36-80B7-C8203E5FAD4B}" dt="2023-04-04T13:09:29.852" v="941" actId="47"/>
        <pc:sldMkLst>
          <pc:docMk/>
          <pc:sldMk cId="4183145649" sldId="2147469783"/>
        </pc:sldMkLst>
      </pc:sldChg>
      <pc:sldChg chg="del">
        <pc:chgData name="Paul LEGEARD" userId="73b5704d-da1d-4b70-8e12-6d54d32b01a3" providerId="ADAL" clId="{89EAE6C5-58C8-4C36-80B7-C8203E5FAD4B}" dt="2023-04-04T13:09:30.462" v="942" actId="47"/>
        <pc:sldMkLst>
          <pc:docMk/>
          <pc:sldMk cId="296493774" sldId="2147469789"/>
        </pc:sldMkLst>
      </pc:sldChg>
      <pc:sldChg chg="addSp delSp modSp add mod">
        <pc:chgData name="Paul LEGEARD" userId="73b5704d-da1d-4b70-8e12-6d54d32b01a3" providerId="ADAL" clId="{89EAE6C5-58C8-4C36-80B7-C8203E5FAD4B}" dt="2023-04-04T13:02:27.654" v="937" actId="403"/>
        <pc:sldMkLst>
          <pc:docMk/>
          <pc:sldMk cId="3707775027" sldId="2147469793"/>
        </pc:sldMkLst>
        <pc:spChg chg="del">
          <ac:chgData name="Paul LEGEARD" userId="73b5704d-da1d-4b70-8e12-6d54d32b01a3" providerId="ADAL" clId="{89EAE6C5-58C8-4C36-80B7-C8203E5FAD4B}" dt="2023-04-04T12:48:53.126" v="255" actId="478"/>
          <ac:spMkLst>
            <pc:docMk/>
            <pc:sldMk cId="3707775027" sldId="2147469793"/>
            <ac:spMk id="4" creationId="{DA11E88A-A976-43EC-8199-F589DE82F2D7}"/>
          </ac:spMkLst>
        </pc:spChg>
        <pc:spChg chg="mod">
          <ac:chgData name="Paul LEGEARD" userId="73b5704d-da1d-4b70-8e12-6d54d32b01a3" providerId="ADAL" clId="{89EAE6C5-58C8-4C36-80B7-C8203E5FAD4B}" dt="2023-04-04T12:49:02.684" v="258" actId="14100"/>
          <ac:spMkLst>
            <pc:docMk/>
            <pc:sldMk cId="3707775027" sldId="2147469793"/>
            <ac:spMk id="5" creationId="{62EC2C63-67F0-42BF-BBD4-DB9781BF0F7F}"/>
          </ac:spMkLst>
        </pc:spChg>
        <pc:spChg chg="add del mod">
          <ac:chgData name="Paul LEGEARD" userId="73b5704d-da1d-4b70-8e12-6d54d32b01a3" providerId="ADAL" clId="{89EAE6C5-58C8-4C36-80B7-C8203E5FAD4B}" dt="2023-04-04T12:48:55.087" v="256" actId="478"/>
          <ac:spMkLst>
            <pc:docMk/>
            <pc:sldMk cId="3707775027" sldId="2147469793"/>
            <ac:spMk id="8" creationId="{60FA4967-83DC-DA8F-9131-62053EF0A790}"/>
          </ac:spMkLst>
        </pc:spChg>
        <pc:graphicFrameChg chg="add mod modGraphic">
          <ac:chgData name="Paul LEGEARD" userId="73b5704d-da1d-4b70-8e12-6d54d32b01a3" providerId="ADAL" clId="{89EAE6C5-58C8-4C36-80B7-C8203E5FAD4B}" dt="2023-04-04T13:02:27.654" v="937" actId="403"/>
          <ac:graphicFrameMkLst>
            <pc:docMk/>
            <pc:sldMk cId="3707775027" sldId="2147469793"/>
            <ac:graphicFrameMk id="6" creationId="{CF331956-12C3-0CBC-6A52-6B50DB49F1B2}"/>
          </ac:graphicFrameMkLst>
        </pc:graphicFrameChg>
      </pc:sldChg>
      <pc:sldChg chg="add del">
        <pc:chgData name="Paul LEGEARD" userId="73b5704d-da1d-4b70-8e12-6d54d32b01a3" providerId="ADAL" clId="{89EAE6C5-58C8-4C36-80B7-C8203E5FAD4B}" dt="2023-04-04T12:48:23.364" v="217"/>
        <pc:sldMkLst>
          <pc:docMk/>
          <pc:sldMk cId="3950142245" sldId="2147469793"/>
        </pc:sldMkLst>
      </pc:sldChg>
    </pc:docChg>
  </pc:docChgLst>
  <pc:docChgLst>
    <pc:chgData name="Paul LEGEARD" userId="73b5704d-da1d-4b70-8e12-6d54d32b01a3" providerId="ADAL" clId="{F979C8B0-72E3-4D3D-95A6-DC7ECDDD3ECC}"/>
    <pc:docChg chg="undo redo custSel addSld delSld modSld sldOrd">
      <pc:chgData name="Paul LEGEARD" userId="73b5704d-da1d-4b70-8e12-6d54d32b01a3" providerId="ADAL" clId="{F979C8B0-72E3-4D3D-95A6-DC7ECDDD3ECC}" dt="2023-10-13T12:01:55.702" v="7967" actId="14100"/>
      <pc:docMkLst>
        <pc:docMk/>
      </pc:docMkLst>
      <pc:sldChg chg="modSp mod">
        <pc:chgData name="Paul LEGEARD" userId="73b5704d-da1d-4b70-8e12-6d54d32b01a3" providerId="ADAL" clId="{F979C8B0-72E3-4D3D-95A6-DC7ECDDD3ECC}" dt="2023-09-28T12:06:30.403" v="6369" actId="20577"/>
        <pc:sldMkLst>
          <pc:docMk/>
          <pc:sldMk cId="1065887249" sldId="256"/>
        </pc:sldMkLst>
        <pc:spChg chg="mod">
          <ac:chgData name="Paul LEGEARD" userId="73b5704d-da1d-4b70-8e12-6d54d32b01a3" providerId="ADAL" clId="{F979C8B0-72E3-4D3D-95A6-DC7ECDDD3ECC}" dt="2023-09-28T12:06:30.403" v="6369" actId="20577"/>
          <ac:spMkLst>
            <pc:docMk/>
            <pc:sldMk cId="1065887249" sldId="256"/>
            <ac:spMk id="3" creationId="{9E91F614-89FB-4354-B5E3-ECD766CDC165}"/>
          </ac:spMkLst>
        </pc:spChg>
        <pc:spChg chg="mod">
          <ac:chgData name="Paul LEGEARD" userId="73b5704d-da1d-4b70-8e12-6d54d32b01a3" providerId="ADAL" clId="{F979C8B0-72E3-4D3D-95A6-DC7ECDDD3ECC}" dt="2023-09-25T08:37:24.238" v="2505" actId="20577"/>
          <ac:spMkLst>
            <pc:docMk/>
            <pc:sldMk cId="1065887249" sldId="256"/>
            <ac:spMk id="7" creationId="{BF1A3B6F-14E8-4284-B1D9-EED8011BDF16}"/>
          </ac:spMkLst>
        </pc:spChg>
      </pc:sldChg>
      <pc:sldChg chg="add del">
        <pc:chgData name="Paul LEGEARD" userId="73b5704d-da1d-4b70-8e12-6d54d32b01a3" providerId="ADAL" clId="{F979C8B0-72E3-4D3D-95A6-DC7ECDDD3ECC}" dt="2023-09-20T13:55:20.213" v="1630"/>
        <pc:sldMkLst>
          <pc:docMk/>
          <pc:sldMk cId="2262956167" sldId="2147469844"/>
        </pc:sldMkLst>
      </pc:sldChg>
      <pc:sldChg chg="add">
        <pc:chgData name="Paul LEGEARD" userId="73b5704d-da1d-4b70-8e12-6d54d32b01a3" providerId="ADAL" clId="{F979C8B0-72E3-4D3D-95A6-DC7ECDDD3ECC}" dt="2023-09-20T14:02:12.956" v="2253"/>
        <pc:sldMkLst>
          <pc:docMk/>
          <pc:sldMk cId="2177110135" sldId="2147471267"/>
        </pc:sldMkLst>
      </pc:sldChg>
      <pc:sldChg chg="add">
        <pc:chgData name="Paul LEGEARD" userId="73b5704d-da1d-4b70-8e12-6d54d32b01a3" providerId="ADAL" clId="{F979C8B0-72E3-4D3D-95A6-DC7ECDDD3ECC}" dt="2023-09-20T14:11:44.212" v="2504"/>
        <pc:sldMkLst>
          <pc:docMk/>
          <pc:sldMk cId="3813276438" sldId="2147471286"/>
        </pc:sldMkLst>
      </pc:sldChg>
      <pc:sldChg chg="addSp modSp mod modNotesTx">
        <pc:chgData name="Paul LEGEARD" userId="73b5704d-da1d-4b70-8e12-6d54d32b01a3" providerId="ADAL" clId="{F979C8B0-72E3-4D3D-95A6-DC7ECDDD3ECC}" dt="2023-09-20T13:53:54.932" v="1570" actId="207"/>
        <pc:sldMkLst>
          <pc:docMk/>
          <pc:sldMk cId="676178199" sldId="2147471308"/>
        </pc:sldMkLst>
        <pc:spChg chg="add mod">
          <ac:chgData name="Paul LEGEARD" userId="73b5704d-da1d-4b70-8e12-6d54d32b01a3" providerId="ADAL" clId="{F979C8B0-72E3-4D3D-95A6-DC7ECDDD3ECC}" dt="2023-09-20T13:53:54.932" v="1570" actId="207"/>
          <ac:spMkLst>
            <pc:docMk/>
            <pc:sldMk cId="676178199" sldId="2147471308"/>
            <ac:spMk id="4" creationId="{4AE1A105-2898-BA5A-3B25-87E86FB37126}"/>
          </ac:spMkLst>
        </pc:spChg>
        <pc:picChg chg="add mod">
          <ac:chgData name="Paul LEGEARD" userId="73b5704d-da1d-4b70-8e12-6d54d32b01a3" providerId="ADAL" clId="{F979C8B0-72E3-4D3D-95A6-DC7ECDDD3ECC}" dt="2023-09-20T13:53:34.758" v="1569" actId="1076"/>
          <ac:picMkLst>
            <pc:docMk/>
            <pc:sldMk cId="676178199" sldId="2147471308"/>
            <ac:picMk id="5" creationId="{685B0B03-5794-2B51-8A20-874FA134BDD4}"/>
          </ac:picMkLst>
        </pc:picChg>
      </pc:sldChg>
      <pc:sldChg chg="del">
        <pc:chgData name="Paul LEGEARD" userId="73b5704d-da1d-4b70-8e12-6d54d32b01a3" providerId="ADAL" clId="{F979C8B0-72E3-4D3D-95A6-DC7ECDDD3ECC}" dt="2023-09-25T10:22:18.177" v="4107" actId="47"/>
        <pc:sldMkLst>
          <pc:docMk/>
          <pc:sldMk cId="1914982492" sldId="2147471310"/>
        </pc:sldMkLst>
      </pc:sldChg>
      <pc:sldChg chg="del">
        <pc:chgData name="Paul LEGEARD" userId="73b5704d-da1d-4b70-8e12-6d54d32b01a3" providerId="ADAL" clId="{F979C8B0-72E3-4D3D-95A6-DC7ECDDD3ECC}" dt="2023-09-25T10:22:20.255" v="4109" actId="47"/>
        <pc:sldMkLst>
          <pc:docMk/>
          <pc:sldMk cId="2927294659" sldId="2147471311"/>
        </pc:sldMkLst>
      </pc:sldChg>
      <pc:sldChg chg="del">
        <pc:chgData name="Paul LEGEARD" userId="73b5704d-da1d-4b70-8e12-6d54d32b01a3" providerId="ADAL" clId="{F979C8B0-72E3-4D3D-95A6-DC7ECDDD3ECC}" dt="2023-09-25T10:22:19.153" v="4108" actId="47"/>
        <pc:sldMkLst>
          <pc:docMk/>
          <pc:sldMk cId="2001826884" sldId="2147471312"/>
        </pc:sldMkLst>
      </pc:sldChg>
      <pc:sldChg chg="del">
        <pc:chgData name="Paul LEGEARD" userId="73b5704d-da1d-4b70-8e12-6d54d32b01a3" providerId="ADAL" clId="{F979C8B0-72E3-4D3D-95A6-DC7ECDDD3ECC}" dt="2023-09-25T10:22:22.034" v="4110" actId="47"/>
        <pc:sldMkLst>
          <pc:docMk/>
          <pc:sldMk cId="294859765" sldId="2147471313"/>
        </pc:sldMkLst>
      </pc:sldChg>
      <pc:sldChg chg="addSp delSp modSp del">
        <pc:chgData name="Paul LEGEARD" userId="73b5704d-da1d-4b70-8e12-6d54d32b01a3" providerId="ADAL" clId="{F979C8B0-72E3-4D3D-95A6-DC7ECDDD3ECC}" dt="2023-09-29T11:42:56.165" v="7956" actId="47"/>
        <pc:sldMkLst>
          <pc:docMk/>
          <pc:sldMk cId="2186310076" sldId="2147471314"/>
        </pc:sldMkLst>
        <pc:spChg chg="add del mod">
          <ac:chgData name="Paul LEGEARD" userId="73b5704d-da1d-4b70-8e12-6d54d32b01a3" providerId="ADAL" clId="{F979C8B0-72E3-4D3D-95A6-DC7ECDDD3ECC}" dt="2023-09-26T12:51:09.042" v="5954"/>
          <ac:spMkLst>
            <pc:docMk/>
            <pc:sldMk cId="2186310076" sldId="2147471314"/>
            <ac:spMk id="3" creationId="{1152804B-9A12-5924-7694-1E101EEBA948}"/>
          </ac:spMkLst>
        </pc:spChg>
        <pc:cxnChg chg="add del mod">
          <ac:chgData name="Paul LEGEARD" userId="73b5704d-da1d-4b70-8e12-6d54d32b01a3" providerId="ADAL" clId="{F979C8B0-72E3-4D3D-95A6-DC7ECDDD3ECC}" dt="2023-09-26T12:51:09.042" v="5954"/>
          <ac:cxnSpMkLst>
            <pc:docMk/>
            <pc:sldMk cId="2186310076" sldId="2147471314"/>
            <ac:cxnSpMk id="4" creationId="{A4818E4A-95D7-C114-8E07-C0F904E766DE}"/>
          </ac:cxnSpMkLst>
        </pc:cxnChg>
      </pc:sldChg>
      <pc:sldChg chg="addSp delSp modSp mod ord addCm delCm modNotesTx">
        <pc:chgData name="Paul LEGEARD" userId="73b5704d-da1d-4b70-8e12-6d54d32b01a3" providerId="ADAL" clId="{F979C8B0-72E3-4D3D-95A6-DC7ECDDD3ECC}" dt="2023-09-29T11:32:06.417" v="7240"/>
        <pc:sldMkLst>
          <pc:docMk/>
          <pc:sldMk cId="1420692517" sldId="2147471316"/>
        </pc:sldMkLst>
        <pc:spChg chg="add mod">
          <ac:chgData name="Paul LEGEARD" userId="73b5704d-da1d-4b70-8e12-6d54d32b01a3" providerId="ADAL" clId="{F979C8B0-72E3-4D3D-95A6-DC7ECDDD3ECC}" dt="2023-09-20T13:57:24.413" v="1775" actId="207"/>
          <ac:spMkLst>
            <pc:docMk/>
            <pc:sldMk cId="1420692517" sldId="2147471316"/>
            <ac:spMk id="3" creationId="{688FD934-970B-A69A-AEBF-F8A0B2ECF4C5}"/>
          </ac:spMkLst>
        </pc:spChg>
        <pc:spChg chg="mod">
          <ac:chgData name="Paul LEGEARD" userId="73b5704d-da1d-4b70-8e12-6d54d32b01a3" providerId="ADAL" clId="{F979C8B0-72E3-4D3D-95A6-DC7ECDDD3ECC}" dt="2023-09-25T08:50:00.170" v="2906" actId="1076"/>
          <ac:spMkLst>
            <pc:docMk/>
            <pc:sldMk cId="1420692517" sldId="2147471316"/>
            <ac:spMk id="5" creationId="{81AC9D26-7E3B-0FA5-C6CA-4BBF1968E37A}"/>
          </ac:spMkLst>
        </pc:spChg>
        <pc:spChg chg="mod">
          <ac:chgData name="Paul LEGEARD" userId="73b5704d-da1d-4b70-8e12-6d54d32b01a3" providerId="ADAL" clId="{F979C8B0-72E3-4D3D-95A6-DC7ECDDD3ECC}" dt="2023-09-25T08:49:14.794" v="2891" actId="313"/>
          <ac:spMkLst>
            <pc:docMk/>
            <pc:sldMk cId="1420692517" sldId="2147471316"/>
            <ac:spMk id="7" creationId="{A300BE7B-B721-1C06-05A5-6304E336EA99}"/>
          </ac:spMkLst>
        </pc:spChg>
        <pc:spChg chg="mod">
          <ac:chgData name="Paul LEGEARD" userId="73b5704d-da1d-4b70-8e12-6d54d32b01a3" providerId="ADAL" clId="{F979C8B0-72E3-4D3D-95A6-DC7ECDDD3ECC}" dt="2023-09-20T13:59:06.390" v="2002" actId="20577"/>
          <ac:spMkLst>
            <pc:docMk/>
            <pc:sldMk cId="1420692517" sldId="2147471316"/>
            <ac:spMk id="14" creationId="{7A957847-4A36-2497-0C70-2532420EB71A}"/>
          </ac:spMkLst>
        </pc:spChg>
        <pc:spChg chg="mod">
          <ac:chgData name="Paul LEGEARD" userId="73b5704d-da1d-4b70-8e12-6d54d32b01a3" providerId="ADAL" clId="{F979C8B0-72E3-4D3D-95A6-DC7ECDDD3ECC}" dt="2023-09-20T13:59:37.009" v="2139" actId="313"/>
          <ac:spMkLst>
            <pc:docMk/>
            <pc:sldMk cId="1420692517" sldId="2147471316"/>
            <ac:spMk id="15" creationId="{BD001DDC-69C4-4C24-CF1B-8467C92078A7}"/>
          </ac:spMkLst>
        </pc:spChg>
        <pc:spChg chg="mod">
          <ac:chgData name="Paul LEGEARD" userId="73b5704d-da1d-4b70-8e12-6d54d32b01a3" providerId="ADAL" clId="{F979C8B0-72E3-4D3D-95A6-DC7ECDDD3ECC}" dt="2023-09-25T08:49:29.748" v="2893" actId="313"/>
          <ac:spMkLst>
            <pc:docMk/>
            <pc:sldMk cId="1420692517" sldId="2147471316"/>
            <ac:spMk id="16" creationId="{A195F156-A779-108C-5F80-99E82A6B3374}"/>
          </ac:spMkLst>
        </pc:spChg>
        <pc:spChg chg="del mod">
          <ac:chgData name="Paul LEGEARD" userId="73b5704d-da1d-4b70-8e12-6d54d32b01a3" providerId="ADAL" clId="{F979C8B0-72E3-4D3D-95A6-DC7ECDDD3ECC}" dt="2023-09-25T08:49:47.572" v="2896" actId="478"/>
          <ac:spMkLst>
            <pc:docMk/>
            <pc:sldMk cId="1420692517" sldId="2147471316"/>
            <ac:spMk id="26" creationId="{E19C7E1A-A494-6C11-83CF-6870E6EA1689}"/>
          </ac:spMkLst>
        </pc:spChg>
        <pc:spChg chg="mod">
          <ac:chgData name="Paul LEGEARD" userId="73b5704d-da1d-4b70-8e12-6d54d32b01a3" providerId="ADAL" clId="{F979C8B0-72E3-4D3D-95A6-DC7ECDDD3ECC}" dt="2023-09-20T13:57:38.666" v="1841" actId="14100"/>
          <ac:spMkLst>
            <pc:docMk/>
            <pc:sldMk cId="1420692517" sldId="2147471316"/>
            <ac:spMk id="79" creationId="{9007893F-DE3F-4277-8B72-135CF4773651}"/>
          </ac:spMkLst>
        </pc:spChg>
        <pc:picChg chg="add mod">
          <ac:chgData name="Paul LEGEARD" userId="73b5704d-da1d-4b70-8e12-6d54d32b01a3" providerId="ADAL" clId="{F979C8B0-72E3-4D3D-95A6-DC7ECDDD3ECC}" dt="2023-09-20T13:57:24.413" v="1775" actId="207"/>
          <ac:picMkLst>
            <pc:docMk/>
            <pc:sldMk cId="1420692517" sldId="2147471316"/>
            <ac:picMk id="4" creationId="{13685767-C722-889D-110A-C0D4B68EA810}"/>
          </ac:picMkLst>
        </pc:picChg>
        <pc:cxnChg chg="mod">
          <ac:chgData name="Paul LEGEARD" userId="73b5704d-da1d-4b70-8e12-6d54d32b01a3" providerId="ADAL" clId="{F979C8B0-72E3-4D3D-95A6-DC7ECDDD3ECC}" dt="2023-09-20T13:58:54.832" v="1937" actId="1076"/>
          <ac:cxnSpMkLst>
            <pc:docMk/>
            <pc:sldMk cId="1420692517" sldId="2147471316"/>
            <ac:cxnSpMk id="32" creationId="{11C64EC9-4804-2C9A-B301-D23CD1E118AA}"/>
          </ac:cxnSpMkLst>
        </pc:cxn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2:01.867" v="7239"/>
              <pc2:cmMkLst xmlns:pc2="http://schemas.microsoft.com/office/powerpoint/2019/9/main/command">
                <pc:docMk/>
                <pc:sldMk cId="1420692517" sldId="2147471316"/>
                <pc2:cmMk id="{BA94152C-926C-470D-8CA6-52BF672A0DDD}"/>
              </pc2:cmMkLst>
            </pc226:cmChg>
            <pc226:cmChg xmlns:pc226="http://schemas.microsoft.com/office/powerpoint/2022/06/main/command" chg="add del">
              <pc226:chgData name="Paul LEGEARD" userId="73b5704d-da1d-4b70-8e12-6d54d32b01a3" providerId="ADAL" clId="{F979C8B0-72E3-4D3D-95A6-DC7ECDDD3ECC}" dt="2023-09-29T11:32:06.417" v="7240"/>
              <pc2:cmMkLst xmlns:pc2="http://schemas.microsoft.com/office/powerpoint/2019/9/main/command">
                <pc:docMk/>
                <pc:sldMk cId="1420692517" sldId="2147471316"/>
                <pc2:cmMk id="{F84B655C-23B5-47ED-BFDC-EB5CBC59EE90}"/>
              </pc2:cmMkLst>
            </pc226:cmChg>
          </p:ext>
        </pc:extLst>
      </pc:sldChg>
      <pc:sldChg chg="del">
        <pc:chgData name="Paul LEGEARD" userId="73b5704d-da1d-4b70-8e12-6d54d32b01a3" providerId="ADAL" clId="{F979C8B0-72E3-4D3D-95A6-DC7ECDDD3ECC}" dt="2023-09-20T14:08:27.461" v="2503" actId="47"/>
        <pc:sldMkLst>
          <pc:docMk/>
          <pc:sldMk cId="4190501591" sldId="2147471317"/>
        </pc:sldMkLst>
      </pc:sldChg>
      <pc:sldChg chg="addSp delSp modSp mod">
        <pc:chgData name="Paul LEGEARD" userId="73b5704d-da1d-4b70-8e12-6d54d32b01a3" providerId="ADAL" clId="{F979C8B0-72E3-4D3D-95A6-DC7ECDDD3ECC}" dt="2023-09-20T13:42:28.975" v="1270" actId="12788"/>
        <pc:sldMkLst>
          <pc:docMk/>
          <pc:sldMk cId="2817600707" sldId="2147471321"/>
        </pc:sldMkLst>
        <pc:spChg chg="mod">
          <ac:chgData name="Paul LEGEARD" userId="73b5704d-da1d-4b70-8e12-6d54d32b01a3" providerId="ADAL" clId="{F979C8B0-72E3-4D3D-95A6-DC7ECDDD3ECC}" dt="2023-09-20T13:41:38.635" v="1264" actId="6549"/>
          <ac:spMkLst>
            <pc:docMk/>
            <pc:sldMk cId="2817600707" sldId="2147471321"/>
            <ac:spMk id="2" creationId="{86E96E2E-3416-B7AF-69BC-1F4BC5A5D72A}"/>
          </ac:spMkLst>
        </pc:spChg>
        <pc:spChg chg="mod">
          <ac:chgData name="Paul LEGEARD" userId="73b5704d-da1d-4b70-8e12-6d54d32b01a3" providerId="ADAL" clId="{F979C8B0-72E3-4D3D-95A6-DC7ECDDD3ECC}" dt="2023-09-20T13:41:16.737" v="1262" actId="1036"/>
          <ac:spMkLst>
            <pc:docMk/>
            <pc:sldMk cId="2817600707" sldId="2147471321"/>
            <ac:spMk id="3" creationId="{36CF9F0F-A16F-C2C4-7492-7DAF9D2024F5}"/>
          </ac:spMkLst>
        </pc:spChg>
        <pc:spChg chg="mod">
          <ac:chgData name="Paul LEGEARD" userId="73b5704d-da1d-4b70-8e12-6d54d32b01a3" providerId="ADAL" clId="{F979C8B0-72E3-4D3D-95A6-DC7ECDDD3ECC}" dt="2023-09-20T13:41:16.737" v="1262" actId="1036"/>
          <ac:spMkLst>
            <pc:docMk/>
            <pc:sldMk cId="2817600707" sldId="2147471321"/>
            <ac:spMk id="4" creationId="{47675477-69D1-972E-D931-380330647B43}"/>
          </ac:spMkLst>
        </pc:spChg>
        <pc:spChg chg="mod topLvl">
          <ac:chgData name="Paul LEGEARD" userId="73b5704d-da1d-4b70-8e12-6d54d32b01a3" providerId="ADAL" clId="{F979C8B0-72E3-4D3D-95A6-DC7ECDDD3ECC}" dt="2023-09-20T13:41:08.781" v="1232" actId="1035"/>
          <ac:spMkLst>
            <pc:docMk/>
            <pc:sldMk cId="2817600707" sldId="2147471321"/>
            <ac:spMk id="10" creationId="{AFE97F36-CFE1-79F3-FCEB-94AA885C963F}"/>
          </ac:spMkLst>
        </pc:spChg>
        <pc:spChg chg="mod topLvl">
          <ac:chgData name="Paul LEGEARD" userId="73b5704d-da1d-4b70-8e12-6d54d32b01a3" providerId="ADAL" clId="{F979C8B0-72E3-4D3D-95A6-DC7ECDDD3ECC}" dt="2023-09-20T13:41:08.781" v="1232" actId="1035"/>
          <ac:spMkLst>
            <pc:docMk/>
            <pc:sldMk cId="2817600707" sldId="2147471321"/>
            <ac:spMk id="12" creationId="{987CD1B8-AE7C-4397-A7C0-698E35A54E22}"/>
          </ac:spMkLst>
        </pc:spChg>
        <pc:spChg chg="del mod">
          <ac:chgData name="Paul LEGEARD" userId="73b5704d-da1d-4b70-8e12-6d54d32b01a3" providerId="ADAL" clId="{F979C8B0-72E3-4D3D-95A6-DC7ECDDD3ECC}" dt="2023-09-20T13:13:55.010" v="107" actId="478"/>
          <ac:spMkLst>
            <pc:docMk/>
            <pc:sldMk cId="2817600707" sldId="2147471321"/>
            <ac:spMk id="13" creationId="{AE448A4C-B7D9-650E-F3D8-FB649B7A53BC}"/>
          </ac:spMkLst>
        </pc:spChg>
        <pc:spChg chg="mod topLvl">
          <ac:chgData name="Paul LEGEARD" userId="73b5704d-da1d-4b70-8e12-6d54d32b01a3" providerId="ADAL" clId="{F979C8B0-72E3-4D3D-95A6-DC7ECDDD3ECC}" dt="2023-09-20T13:41:08.781" v="1232" actId="1035"/>
          <ac:spMkLst>
            <pc:docMk/>
            <pc:sldMk cId="2817600707" sldId="2147471321"/>
            <ac:spMk id="15" creationId="{71C05F3A-4102-5BA4-8015-F7F7A50ADAEF}"/>
          </ac:spMkLst>
        </pc:spChg>
        <pc:spChg chg="mod topLvl">
          <ac:chgData name="Paul LEGEARD" userId="73b5704d-da1d-4b70-8e12-6d54d32b01a3" providerId="ADAL" clId="{F979C8B0-72E3-4D3D-95A6-DC7ECDDD3ECC}" dt="2023-09-20T13:41:08.781" v="1232" actId="1035"/>
          <ac:spMkLst>
            <pc:docMk/>
            <pc:sldMk cId="2817600707" sldId="2147471321"/>
            <ac:spMk id="16" creationId="{369630A6-E48C-39D6-FF7C-37A3CF3E9A1E}"/>
          </ac:spMkLst>
        </pc:spChg>
        <pc:spChg chg="del mod">
          <ac:chgData name="Paul LEGEARD" userId="73b5704d-da1d-4b70-8e12-6d54d32b01a3" providerId="ADAL" clId="{F979C8B0-72E3-4D3D-95A6-DC7ECDDD3ECC}" dt="2023-09-20T13:13:59.370" v="108" actId="478"/>
          <ac:spMkLst>
            <pc:docMk/>
            <pc:sldMk cId="2817600707" sldId="2147471321"/>
            <ac:spMk id="18" creationId="{5B8089D1-9852-8CFE-6760-9F26C0D1A148}"/>
          </ac:spMkLst>
        </pc:spChg>
        <pc:spChg chg="mod topLvl">
          <ac:chgData name="Paul LEGEARD" userId="73b5704d-da1d-4b70-8e12-6d54d32b01a3" providerId="ADAL" clId="{F979C8B0-72E3-4D3D-95A6-DC7ECDDD3ECC}" dt="2023-09-20T13:41:08.781" v="1232" actId="1035"/>
          <ac:spMkLst>
            <pc:docMk/>
            <pc:sldMk cId="2817600707" sldId="2147471321"/>
            <ac:spMk id="20" creationId="{C2C306DF-BF22-41F9-8D14-983D76EB8938}"/>
          </ac:spMkLst>
        </pc:spChg>
        <pc:spChg chg="mod topLvl">
          <ac:chgData name="Paul LEGEARD" userId="73b5704d-da1d-4b70-8e12-6d54d32b01a3" providerId="ADAL" clId="{F979C8B0-72E3-4D3D-95A6-DC7ECDDD3ECC}" dt="2023-09-20T13:41:08.781" v="1232" actId="1035"/>
          <ac:spMkLst>
            <pc:docMk/>
            <pc:sldMk cId="2817600707" sldId="2147471321"/>
            <ac:spMk id="21" creationId="{B85DEAB1-8A5A-4DD7-91BB-9179C40FD393}"/>
          </ac:spMkLst>
        </pc:spChg>
        <pc:spChg chg="del mod">
          <ac:chgData name="Paul LEGEARD" userId="73b5704d-da1d-4b70-8e12-6d54d32b01a3" providerId="ADAL" clId="{F979C8B0-72E3-4D3D-95A6-DC7ECDDD3ECC}" dt="2023-09-20T13:14:01.684" v="109" actId="478"/>
          <ac:spMkLst>
            <pc:docMk/>
            <pc:sldMk cId="2817600707" sldId="2147471321"/>
            <ac:spMk id="22" creationId="{F45BDF52-53AD-4D53-FC50-8005E28C8D95}"/>
          </ac:spMkLst>
        </pc:spChg>
        <pc:spChg chg="add del mod">
          <ac:chgData name="Paul LEGEARD" userId="73b5704d-da1d-4b70-8e12-6d54d32b01a3" providerId="ADAL" clId="{F979C8B0-72E3-4D3D-95A6-DC7ECDDD3ECC}" dt="2023-09-20T13:14:56.772" v="118" actId="478"/>
          <ac:spMkLst>
            <pc:docMk/>
            <pc:sldMk cId="2817600707" sldId="2147471321"/>
            <ac:spMk id="24" creationId="{69241F95-5443-F999-551E-BF579D795FCE}"/>
          </ac:spMkLst>
        </pc:spChg>
        <pc:spChg chg="add del mod">
          <ac:chgData name="Paul LEGEARD" userId="73b5704d-da1d-4b70-8e12-6d54d32b01a3" providerId="ADAL" clId="{F979C8B0-72E3-4D3D-95A6-DC7ECDDD3ECC}" dt="2023-09-20T13:15:04.802" v="121" actId="478"/>
          <ac:spMkLst>
            <pc:docMk/>
            <pc:sldMk cId="2817600707" sldId="2147471321"/>
            <ac:spMk id="25" creationId="{108898D5-6C33-3BDE-1FFE-146C398FF70B}"/>
          </ac:spMkLst>
        </pc:spChg>
        <pc:spChg chg="add del mod">
          <ac:chgData name="Paul LEGEARD" userId="73b5704d-da1d-4b70-8e12-6d54d32b01a3" providerId="ADAL" clId="{F979C8B0-72E3-4D3D-95A6-DC7ECDDD3ECC}" dt="2023-09-20T13:14:54.314" v="117" actId="478"/>
          <ac:spMkLst>
            <pc:docMk/>
            <pc:sldMk cId="2817600707" sldId="2147471321"/>
            <ac:spMk id="26" creationId="{511DA83A-6408-AD3A-8B3C-8902B81295CD}"/>
          </ac:spMkLst>
        </pc:spChg>
        <pc:spChg chg="add del mod">
          <ac:chgData name="Paul LEGEARD" userId="73b5704d-da1d-4b70-8e12-6d54d32b01a3" providerId="ADAL" clId="{F979C8B0-72E3-4D3D-95A6-DC7ECDDD3ECC}" dt="2023-09-20T13:15:04.802" v="121" actId="478"/>
          <ac:spMkLst>
            <pc:docMk/>
            <pc:sldMk cId="2817600707" sldId="2147471321"/>
            <ac:spMk id="27" creationId="{6C6BBF74-C775-C742-D93F-BC536ABE09FB}"/>
          </ac:spMkLst>
        </pc:spChg>
        <pc:spChg chg="add del mod">
          <ac:chgData name="Paul LEGEARD" userId="73b5704d-da1d-4b70-8e12-6d54d32b01a3" providerId="ADAL" clId="{F979C8B0-72E3-4D3D-95A6-DC7ECDDD3ECC}" dt="2023-09-20T13:14:52.057" v="116" actId="478"/>
          <ac:spMkLst>
            <pc:docMk/>
            <pc:sldMk cId="2817600707" sldId="2147471321"/>
            <ac:spMk id="28" creationId="{2F39DBEB-CBD2-67FD-FA3A-50F0263F5936}"/>
          </ac:spMkLst>
        </pc:spChg>
        <pc:spChg chg="add del mod">
          <ac:chgData name="Paul LEGEARD" userId="73b5704d-da1d-4b70-8e12-6d54d32b01a3" providerId="ADAL" clId="{F979C8B0-72E3-4D3D-95A6-DC7ECDDD3ECC}" dt="2023-09-20T13:15:04.802" v="121" actId="478"/>
          <ac:spMkLst>
            <pc:docMk/>
            <pc:sldMk cId="2817600707" sldId="2147471321"/>
            <ac:spMk id="52" creationId="{809F068C-388F-4DAE-8C3E-1590E86EFABF}"/>
          </ac:spMkLst>
        </pc:spChg>
        <pc:spChg chg="add del mod">
          <ac:chgData name="Paul LEGEARD" userId="73b5704d-da1d-4b70-8e12-6d54d32b01a3" providerId="ADAL" clId="{F979C8B0-72E3-4D3D-95A6-DC7ECDDD3ECC}" dt="2023-09-20T13:15:04.802" v="121" actId="478"/>
          <ac:spMkLst>
            <pc:docMk/>
            <pc:sldMk cId="2817600707" sldId="2147471321"/>
            <ac:spMk id="53" creationId="{D0339B90-3854-8E9C-26DA-7E2AE6CFFC5D}"/>
          </ac:spMkLst>
        </pc:spChg>
        <pc:spChg chg="add mod">
          <ac:chgData name="Paul LEGEARD" userId="73b5704d-da1d-4b70-8e12-6d54d32b01a3" providerId="ADAL" clId="{F979C8B0-72E3-4D3D-95A6-DC7ECDDD3ECC}" dt="2023-09-20T13:42:28.975" v="1270" actId="12788"/>
          <ac:spMkLst>
            <pc:docMk/>
            <pc:sldMk cId="2817600707" sldId="2147471321"/>
            <ac:spMk id="58" creationId="{FF8E6BD4-B28A-6AA9-7C92-647728F49CC1}"/>
          </ac:spMkLst>
        </pc:spChg>
        <pc:spChg chg="add mod ord">
          <ac:chgData name="Paul LEGEARD" userId="73b5704d-da1d-4b70-8e12-6d54d32b01a3" providerId="ADAL" clId="{F979C8B0-72E3-4D3D-95A6-DC7ECDDD3ECC}" dt="2023-09-20T13:41:24.176" v="1263" actId="14100"/>
          <ac:spMkLst>
            <pc:docMk/>
            <pc:sldMk cId="2817600707" sldId="2147471321"/>
            <ac:spMk id="59" creationId="{0B90382B-F3CC-05B2-9F03-A9CE0063EBA8}"/>
          </ac:spMkLst>
        </pc:spChg>
        <pc:grpChg chg="add del mod">
          <ac:chgData name="Paul LEGEARD" userId="73b5704d-da1d-4b70-8e12-6d54d32b01a3" providerId="ADAL" clId="{F979C8B0-72E3-4D3D-95A6-DC7ECDDD3ECC}" dt="2023-09-20T13:14:07.327" v="110" actId="165"/>
          <ac:grpSpMkLst>
            <pc:docMk/>
            <pc:sldMk cId="2817600707" sldId="2147471321"/>
            <ac:grpSpMk id="9" creationId="{B58DEE2F-8EA7-5A09-512E-461C7094EE95}"/>
          </ac:grpSpMkLst>
        </pc:grpChg>
        <pc:grpChg chg="add del mod">
          <ac:chgData name="Paul LEGEARD" userId="73b5704d-da1d-4b70-8e12-6d54d32b01a3" providerId="ADAL" clId="{F979C8B0-72E3-4D3D-95A6-DC7ECDDD3ECC}" dt="2023-09-20T13:14:07.327" v="110" actId="165"/>
          <ac:grpSpMkLst>
            <pc:docMk/>
            <pc:sldMk cId="2817600707" sldId="2147471321"/>
            <ac:grpSpMk id="14" creationId="{C1E00943-39B3-0428-045C-E451BD2915E1}"/>
          </ac:grpSpMkLst>
        </pc:grpChg>
        <pc:grpChg chg="add del mod">
          <ac:chgData name="Paul LEGEARD" userId="73b5704d-da1d-4b70-8e12-6d54d32b01a3" providerId="ADAL" clId="{F979C8B0-72E3-4D3D-95A6-DC7ECDDD3ECC}" dt="2023-09-20T13:14:07.327" v="110" actId="165"/>
          <ac:grpSpMkLst>
            <pc:docMk/>
            <pc:sldMk cId="2817600707" sldId="2147471321"/>
            <ac:grpSpMk id="19" creationId="{E0B500CB-9199-C7B4-4352-2D0FE0DA1A16}"/>
          </ac:grpSpMkLst>
        </pc:grpChg>
        <pc:graphicFrameChg chg="del mod">
          <ac:chgData name="Paul LEGEARD" userId="73b5704d-da1d-4b70-8e12-6d54d32b01a3" providerId="ADAL" clId="{F979C8B0-72E3-4D3D-95A6-DC7ECDDD3ECC}" dt="2023-09-20T13:41:01.786" v="1218" actId="478"/>
          <ac:graphicFrameMkLst>
            <pc:docMk/>
            <pc:sldMk cId="2817600707" sldId="2147471321"/>
            <ac:graphicFrameMk id="8" creationId="{01846BB2-EE5F-34B2-37D2-7BBDA78FC326}"/>
          </ac:graphicFrameMkLst>
        </pc:graphicFrameChg>
        <pc:graphicFrameChg chg="add mod modGraphic">
          <ac:chgData name="Paul LEGEARD" userId="73b5704d-da1d-4b70-8e12-6d54d32b01a3" providerId="ADAL" clId="{F979C8B0-72E3-4D3D-95A6-DC7ECDDD3ECC}" dt="2023-09-20T13:41:16.737" v="1262" actId="1036"/>
          <ac:graphicFrameMkLst>
            <pc:docMk/>
            <pc:sldMk cId="2817600707" sldId="2147471321"/>
            <ac:graphicFrameMk id="29" creationId="{87515F82-0F9C-E24A-8586-2FDA1507AB8C}"/>
          </ac:graphicFrameMkLst>
        </pc:graphicFrameChg>
        <pc:picChg chg="del mod">
          <ac:chgData name="Paul LEGEARD" userId="73b5704d-da1d-4b70-8e12-6d54d32b01a3" providerId="ADAL" clId="{F979C8B0-72E3-4D3D-95A6-DC7ECDDD3ECC}" dt="2023-09-20T13:15:04.802" v="121" actId="478"/>
          <ac:picMkLst>
            <pc:docMk/>
            <pc:sldMk cId="2817600707" sldId="2147471321"/>
            <ac:picMk id="5" creationId="{1B612999-B46F-91AF-BD27-11296D592D6B}"/>
          </ac:picMkLst>
        </pc:picChg>
        <pc:picChg chg="del mod">
          <ac:chgData name="Paul LEGEARD" userId="73b5704d-da1d-4b70-8e12-6d54d32b01a3" providerId="ADAL" clId="{F979C8B0-72E3-4D3D-95A6-DC7ECDDD3ECC}" dt="2023-09-20T13:15:06.903" v="122" actId="478"/>
          <ac:picMkLst>
            <pc:docMk/>
            <pc:sldMk cId="2817600707" sldId="2147471321"/>
            <ac:picMk id="6" creationId="{07483490-A2E5-3806-8464-2AF067CBD253}"/>
          </ac:picMkLst>
        </pc:picChg>
        <pc:picChg chg="del mod">
          <ac:chgData name="Paul LEGEARD" userId="73b5704d-da1d-4b70-8e12-6d54d32b01a3" providerId="ADAL" clId="{F979C8B0-72E3-4D3D-95A6-DC7ECDDD3ECC}" dt="2023-09-20T13:41:02.912" v="1219" actId="478"/>
          <ac:picMkLst>
            <pc:docMk/>
            <pc:sldMk cId="2817600707" sldId="2147471321"/>
            <ac:picMk id="7" creationId="{C620D9FE-924B-67D6-68CD-5DAFFA5F4A0A}"/>
          </ac:picMkLst>
        </pc:picChg>
        <pc:picChg chg="mod topLvl">
          <ac:chgData name="Paul LEGEARD" userId="73b5704d-da1d-4b70-8e12-6d54d32b01a3" providerId="ADAL" clId="{F979C8B0-72E3-4D3D-95A6-DC7ECDDD3ECC}" dt="2023-09-20T13:41:08.781" v="1232" actId="1035"/>
          <ac:picMkLst>
            <pc:docMk/>
            <pc:sldMk cId="2817600707" sldId="2147471321"/>
            <ac:picMk id="11" creationId="{CC9B8847-FCDE-B3B5-1158-BBA67391BCCA}"/>
          </ac:picMkLst>
        </pc:picChg>
        <pc:picChg chg="mod topLvl">
          <ac:chgData name="Paul LEGEARD" userId="73b5704d-da1d-4b70-8e12-6d54d32b01a3" providerId="ADAL" clId="{F979C8B0-72E3-4D3D-95A6-DC7ECDDD3ECC}" dt="2023-09-20T13:41:08.781" v="1232" actId="1035"/>
          <ac:picMkLst>
            <pc:docMk/>
            <pc:sldMk cId="2817600707" sldId="2147471321"/>
            <ac:picMk id="17" creationId="{E7D1AF8A-CBC2-DE86-F140-FB03B3E96D00}"/>
          </ac:picMkLst>
        </pc:picChg>
        <pc:picChg chg="mod topLvl">
          <ac:chgData name="Paul LEGEARD" userId="73b5704d-da1d-4b70-8e12-6d54d32b01a3" providerId="ADAL" clId="{F979C8B0-72E3-4D3D-95A6-DC7ECDDD3ECC}" dt="2023-09-20T13:41:08.781" v="1232" actId="1035"/>
          <ac:picMkLst>
            <pc:docMk/>
            <pc:sldMk cId="2817600707" sldId="2147471321"/>
            <ac:picMk id="23" creationId="{9D412B87-081E-C21F-45B2-62F3F8FBD21F}"/>
          </ac:picMkLst>
        </pc:picChg>
        <pc:picChg chg="add mod">
          <ac:chgData name="Paul LEGEARD" userId="73b5704d-da1d-4b70-8e12-6d54d32b01a3" providerId="ADAL" clId="{F979C8B0-72E3-4D3D-95A6-DC7ECDDD3ECC}" dt="2023-09-20T13:42:28.975" v="1270" actId="12788"/>
          <ac:picMkLst>
            <pc:docMk/>
            <pc:sldMk cId="2817600707" sldId="2147471321"/>
            <ac:picMk id="30" creationId="{9964A539-9F3E-16A3-55B6-77504327E518}"/>
          </ac:picMkLst>
        </pc:picChg>
        <pc:picChg chg="add del mod">
          <ac:chgData name="Paul LEGEARD" userId="73b5704d-da1d-4b70-8e12-6d54d32b01a3" providerId="ADAL" clId="{F979C8B0-72E3-4D3D-95A6-DC7ECDDD3ECC}" dt="2023-09-20T13:15:04.802" v="121" actId="478"/>
          <ac:picMkLst>
            <pc:docMk/>
            <pc:sldMk cId="2817600707" sldId="2147471321"/>
            <ac:picMk id="31" creationId="{86B45179-1A89-5130-D89F-1D00CCDA03EF}"/>
          </ac:picMkLst>
        </pc:picChg>
        <pc:picChg chg="add del mod">
          <ac:chgData name="Paul LEGEARD" userId="73b5704d-da1d-4b70-8e12-6d54d32b01a3" providerId="ADAL" clId="{F979C8B0-72E3-4D3D-95A6-DC7ECDDD3ECC}" dt="2023-09-20T13:15:04.802" v="121" actId="478"/>
          <ac:picMkLst>
            <pc:docMk/>
            <pc:sldMk cId="2817600707" sldId="2147471321"/>
            <ac:picMk id="32" creationId="{7CFA9046-923F-E42F-C5E5-2BF397D4ECAF}"/>
          </ac:picMkLst>
        </pc:picChg>
        <pc:picChg chg="add del mod">
          <ac:chgData name="Paul LEGEARD" userId="73b5704d-da1d-4b70-8e12-6d54d32b01a3" providerId="ADAL" clId="{F979C8B0-72E3-4D3D-95A6-DC7ECDDD3ECC}" dt="2023-09-20T13:15:04.802" v="121" actId="478"/>
          <ac:picMkLst>
            <pc:docMk/>
            <pc:sldMk cId="2817600707" sldId="2147471321"/>
            <ac:picMk id="33" creationId="{3F280223-65C0-7CFE-F463-F6AB419C96A2}"/>
          </ac:picMkLst>
        </pc:picChg>
        <pc:picChg chg="add del mod">
          <ac:chgData name="Paul LEGEARD" userId="73b5704d-da1d-4b70-8e12-6d54d32b01a3" providerId="ADAL" clId="{F979C8B0-72E3-4D3D-95A6-DC7ECDDD3ECC}" dt="2023-09-20T13:15:04.802" v="121" actId="478"/>
          <ac:picMkLst>
            <pc:docMk/>
            <pc:sldMk cId="2817600707" sldId="2147471321"/>
            <ac:picMk id="34" creationId="{FCE4E463-BCA0-51C9-1FFA-D0CC2BDCB197}"/>
          </ac:picMkLst>
        </pc:picChg>
        <pc:picChg chg="add del mod">
          <ac:chgData name="Paul LEGEARD" userId="73b5704d-da1d-4b70-8e12-6d54d32b01a3" providerId="ADAL" clId="{F979C8B0-72E3-4D3D-95A6-DC7ECDDD3ECC}" dt="2023-09-20T13:15:04.802" v="121" actId="478"/>
          <ac:picMkLst>
            <pc:docMk/>
            <pc:sldMk cId="2817600707" sldId="2147471321"/>
            <ac:picMk id="35" creationId="{E7E6FF8F-0BB1-0F2E-56CD-4E8D0C3CE983}"/>
          </ac:picMkLst>
        </pc:picChg>
        <pc:picChg chg="add del mod">
          <ac:chgData name="Paul LEGEARD" userId="73b5704d-da1d-4b70-8e12-6d54d32b01a3" providerId="ADAL" clId="{F979C8B0-72E3-4D3D-95A6-DC7ECDDD3ECC}" dt="2023-09-20T13:15:04.802" v="121" actId="478"/>
          <ac:picMkLst>
            <pc:docMk/>
            <pc:sldMk cId="2817600707" sldId="2147471321"/>
            <ac:picMk id="36" creationId="{93FB339F-3464-E773-E7C6-6BE17DF578F4}"/>
          </ac:picMkLst>
        </pc:picChg>
        <pc:picChg chg="add del mod">
          <ac:chgData name="Paul LEGEARD" userId="73b5704d-da1d-4b70-8e12-6d54d32b01a3" providerId="ADAL" clId="{F979C8B0-72E3-4D3D-95A6-DC7ECDDD3ECC}" dt="2023-09-20T13:15:04.802" v="121" actId="478"/>
          <ac:picMkLst>
            <pc:docMk/>
            <pc:sldMk cId="2817600707" sldId="2147471321"/>
            <ac:picMk id="37" creationId="{7F219DE4-9609-4372-1B37-905CBF3BECD3}"/>
          </ac:picMkLst>
        </pc:picChg>
        <pc:picChg chg="add del mod">
          <ac:chgData name="Paul LEGEARD" userId="73b5704d-da1d-4b70-8e12-6d54d32b01a3" providerId="ADAL" clId="{F979C8B0-72E3-4D3D-95A6-DC7ECDDD3ECC}" dt="2023-09-20T13:15:04.802" v="121" actId="478"/>
          <ac:picMkLst>
            <pc:docMk/>
            <pc:sldMk cId="2817600707" sldId="2147471321"/>
            <ac:picMk id="38" creationId="{B43CFA2E-9F92-26A5-A8D2-1285382F6DAB}"/>
          </ac:picMkLst>
        </pc:picChg>
        <pc:picChg chg="add del mod">
          <ac:chgData name="Paul LEGEARD" userId="73b5704d-da1d-4b70-8e12-6d54d32b01a3" providerId="ADAL" clId="{F979C8B0-72E3-4D3D-95A6-DC7ECDDD3ECC}" dt="2023-09-20T13:15:04.802" v="121" actId="478"/>
          <ac:picMkLst>
            <pc:docMk/>
            <pc:sldMk cId="2817600707" sldId="2147471321"/>
            <ac:picMk id="39" creationId="{7926B3C0-152E-EBAF-61A2-BF55930BE307}"/>
          </ac:picMkLst>
        </pc:picChg>
        <pc:picChg chg="add del mod">
          <ac:chgData name="Paul LEGEARD" userId="73b5704d-da1d-4b70-8e12-6d54d32b01a3" providerId="ADAL" clId="{F979C8B0-72E3-4D3D-95A6-DC7ECDDD3ECC}" dt="2023-09-20T13:15:04.802" v="121" actId="478"/>
          <ac:picMkLst>
            <pc:docMk/>
            <pc:sldMk cId="2817600707" sldId="2147471321"/>
            <ac:picMk id="40" creationId="{35732F4A-AC96-BA76-EC15-F43706822E21}"/>
          </ac:picMkLst>
        </pc:picChg>
        <pc:picChg chg="add del mod">
          <ac:chgData name="Paul LEGEARD" userId="73b5704d-da1d-4b70-8e12-6d54d32b01a3" providerId="ADAL" clId="{F979C8B0-72E3-4D3D-95A6-DC7ECDDD3ECC}" dt="2023-09-20T13:15:04.802" v="121" actId="478"/>
          <ac:picMkLst>
            <pc:docMk/>
            <pc:sldMk cId="2817600707" sldId="2147471321"/>
            <ac:picMk id="41" creationId="{61AAC67D-6160-4E01-FC64-5C5261B0089E}"/>
          </ac:picMkLst>
        </pc:picChg>
        <pc:picChg chg="add del mod">
          <ac:chgData name="Paul LEGEARD" userId="73b5704d-da1d-4b70-8e12-6d54d32b01a3" providerId="ADAL" clId="{F979C8B0-72E3-4D3D-95A6-DC7ECDDD3ECC}" dt="2023-09-20T13:15:04.802" v="121" actId="478"/>
          <ac:picMkLst>
            <pc:docMk/>
            <pc:sldMk cId="2817600707" sldId="2147471321"/>
            <ac:picMk id="42" creationId="{DE92A496-DE1B-63DE-7E07-4579F307CF07}"/>
          </ac:picMkLst>
        </pc:picChg>
        <pc:picChg chg="add del mod">
          <ac:chgData name="Paul LEGEARD" userId="73b5704d-da1d-4b70-8e12-6d54d32b01a3" providerId="ADAL" clId="{F979C8B0-72E3-4D3D-95A6-DC7ECDDD3ECC}" dt="2023-09-20T13:15:04.802" v="121" actId="478"/>
          <ac:picMkLst>
            <pc:docMk/>
            <pc:sldMk cId="2817600707" sldId="2147471321"/>
            <ac:picMk id="43" creationId="{22978A00-C364-196E-BCED-8B1FCACE2771}"/>
          </ac:picMkLst>
        </pc:picChg>
        <pc:picChg chg="add del mod">
          <ac:chgData name="Paul LEGEARD" userId="73b5704d-da1d-4b70-8e12-6d54d32b01a3" providerId="ADAL" clId="{F979C8B0-72E3-4D3D-95A6-DC7ECDDD3ECC}" dt="2023-09-20T13:15:04.802" v="121" actId="478"/>
          <ac:picMkLst>
            <pc:docMk/>
            <pc:sldMk cId="2817600707" sldId="2147471321"/>
            <ac:picMk id="44" creationId="{2597BE4A-208F-3662-97E7-1D12B8B415F7}"/>
          </ac:picMkLst>
        </pc:picChg>
        <pc:picChg chg="add del mod">
          <ac:chgData name="Paul LEGEARD" userId="73b5704d-da1d-4b70-8e12-6d54d32b01a3" providerId="ADAL" clId="{F979C8B0-72E3-4D3D-95A6-DC7ECDDD3ECC}" dt="2023-09-20T13:15:04.802" v="121" actId="478"/>
          <ac:picMkLst>
            <pc:docMk/>
            <pc:sldMk cId="2817600707" sldId="2147471321"/>
            <ac:picMk id="45" creationId="{0DE3609E-69E6-D4E4-85B0-9CC59B3FF62E}"/>
          </ac:picMkLst>
        </pc:picChg>
        <pc:picChg chg="add del mod">
          <ac:chgData name="Paul LEGEARD" userId="73b5704d-da1d-4b70-8e12-6d54d32b01a3" providerId="ADAL" clId="{F979C8B0-72E3-4D3D-95A6-DC7ECDDD3ECC}" dt="2023-09-20T13:15:04.802" v="121" actId="478"/>
          <ac:picMkLst>
            <pc:docMk/>
            <pc:sldMk cId="2817600707" sldId="2147471321"/>
            <ac:picMk id="46" creationId="{EA86CF90-EC21-63CB-8C78-D962297DF8EE}"/>
          </ac:picMkLst>
        </pc:picChg>
        <pc:picChg chg="add del mod">
          <ac:chgData name="Paul LEGEARD" userId="73b5704d-da1d-4b70-8e12-6d54d32b01a3" providerId="ADAL" clId="{F979C8B0-72E3-4D3D-95A6-DC7ECDDD3ECC}" dt="2023-09-20T13:15:04.802" v="121" actId="478"/>
          <ac:picMkLst>
            <pc:docMk/>
            <pc:sldMk cId="2817600707" sldId="2147471321"/>
            <ac:picMk id="47" creationId="{076B3C43-E079-D4D7-11E1-61B398486587}"/>
          </ac:picMkLst>
        </pc:picChg>
        <pc:picChg chg="add del mod">
          <ac:chgData name="Paul LEGEARD" userId="73b5704d-da1d-4b70-8e12-6d54d32b01a3" providerId="ADAL" clId="{F979C8B0-72E3-4D3D-95A6-DC7ECDDD3ECC}" dt="2023-09-20T13:15:04.802" v="121" actId="478"/>
          <ac:picMkLst>
            <pc:docMk/>
            <pc:sldMk cId="2817600707" sldId="2147471321"/>
            <ac:picMk id="48" creationId="{EA115C5A-10E3-9055-17CA-88791F5D183B}"/>
          </ac:picMkLst>
        </pc:picChg>
        <pc:picChg chg="add del mod">
          <ac:chgData name="Paul LEGEARD" userId="73b5704d-da1d-4b70-8e12-6d54d32b01a3" providerId="ADAL" clId="{F979C8B0-72E3-4D3D-95A6-DC7ECDDD3ECC}" dt="2023-09-20T13:15:04.802" v="121" actId="478"/>
          <ac:picMkLst>
            <pc:docMk/>
            <pc:sldMk cId="2817600707" sldId="2147471321"/>
            <ac:picMk id="49" creationId="{7CE953B2-1C98-237E-A97C-01E2324748D4}"/>
          </ac:picMkLst>
        </pc:picChg>
        <pc:picChg chg="add mod">
          <ac:chgData name="Paul LEGEARD" userId="73b5704d-da1d-4b70-8e12-6d54d32b01a3" providerId="ADAL" clId="{F979C8B0-72E3-4D3D-95A6-DC7ECDDD3ECC}" dt="2023-09-20T13:42:28.975" v="1270" actId="12788"/>
          <ac:picMkLst>
            <pc:docMk/>
            <pc:sldMk cId="2817600707" sldId="2147471321"/>
            <ac:picMk id="50" creationId="{0EBB07A8-425F-F795-26FE-C3EB1D6BCDF2}"/>
          </ac:picMkLst>
        </pc:picChg>
        <pc:picChg chg="add del mod">
          <ac:chgData name="Paul LEGEARD" userId="73b5704d-da1d-4b70-8e12-6d54d32b01a3" providerId="ADAL" clId="{F979C8B0-72E3-4D3D-95A6-DC7ECDDD3ECC}" dt="2023-09-20T13:15:04.802" v="121" actId="478"/>
          <ac:picMkLst>
            <pc:docMk/>
            <pc:sldMk cId="2817600707" sldId="2147471321"/>
            <ac:picMk id="51" creationId="{43F9333F-5B3C-E8B5-474F-C8364230B792}"/>
          </ac:picMkLst>
        </pc:picChg>
        <pc:picChg chg="add del mod">
          <ac:chgData name="Paul LEGEARD" userId="73b5704d-da1d-4b70-8e12-6d54d32b01a3" providerId="ADAL" clId="{F979C8B0-72E3-4D3D-95A6-DC7ECDDD3ECC}" dt="2023-09-20T13:19:03.073" v="422" actId="478"/>
          <ac:picMkLst>
            <pc:docMk/>
            <pc:sldMk cId="2817600707" sldId="2147471321"/>
            <ac:picMk id="54" creationId="{0AFB6D37-EB64-AC2F-E702-769008D8DD72}"/>
          </ac:picMkLst>
        </pc:picChg>
        <pc:picChg chg="add mod">
          <ac:chgData name="Paul LEGEARD" userId="73b5704d-da1d-4b70-8e12-6d54d32b01a3" providerId="ADAL" clId="{F979C8B0-72E3-4D3D-95A6-DC7ECDDD3ECC}" dt="2023-09-20T13:42:28.975" v="1270" actId="12788"/>
          <ac:picMkLst>
            <pc:docMk/>
            <pc:sldMk cId="2817600707" sldId="2147471321"/>
            <ac:picMk id="55" creationId="{74C88058-5B9D-DC45-0022-D229288C8A42}"/>
          </ac:picMkLst>
        </pc:picChg>
        <pc:picChg chg="add mod">
          <ac:chgData name="Paul LEGEARD" userId="73b5704d-da1d-4b70-8e12-6d54d32b01a3" providerId="ADAL" clId="{F979C8B0-72E3-4D3D-95A6-DC7ECDDD3ECC}" dt="2023-09-20T13:42:28.975" v="1270" actId="12788"/>
          <ac:picMkLst>
            <pc:docMk/>
            <pc:sldMk cId="2817600707" sldId="2147471321"/>
            <ac:picMk id="56" creationId="{CDCB224F-F5E2-8D14-A06F-118D9833C1B0}"/>
          </ac:picMkLst>
        </pc:picChg>
        <pc:picChg chg="add del mod">
          <ac:chgData name="Paul LEGEARD" userId="73b5704d-da1d-4b70-8e12-6d54d32b01a3" providerId="ADAL" clId="{F979C8B0-72E3-4D3D-95A6-DC7ECDDD3ECC}" dt="2023-09-20T13:20:10.299" v="432" actId="478"/>
          <ac:picMkLst>
            <pc:docMk/>
            <pc:sldMk cId="2817600707" sldId="2147471321"/>
            <ac:picMk id="57" creationId="{1B782305-6C09-37C9-4E3D-F10423F04B80}"/>
          </ac:picMkLst>
        </pc:picChg>
        <pc:picChg chg="add mod">
          <ac:chgData name="Paul LEGEARD" userId="73b5704d-da1d-4b70-8e12-6d54d32b01a3" providerId="ADAL" clId="{F979C8B0-72E3-4D3D-95A6-DC7ECDDD3ECC}" dt="2023-09-20T13:42:15.159" v="1269" actId="12789"/>
          <ac:picMkLst>
            <pc:docMk/>
            <pc:sldMk cId="2817600707" sldId="2147471321"/>
            <ac:picMk id="60" creationId="{47D44B8D-88FE-0479-E2C5-CB4A36FDAC01}"/>
          </ac:picMkLst>
        </pc:picChg>
        <pc:picChg chg="add mod">
          <ac:chgData name="Paul LEGEARD" userId="73b5704d-da1d-4b70-8e12-6d54d32b01a3" providerId="ADAL" clId="{F979C8B0-72E3-4D3D-95A6-DC7ECDDD3ECC}" dt="2023-09-20T13:41:16.737" v="1262" actId="1036"/>
          <ac:picMkLst>
            <pc:docMk/>
            <pc:sldMk cId="2817600707" sldId="2147471321"/>
            <ac:picMk id="61" creationId="{CE03EB91-8388-DD6C-64B7-1D3D98BD5C80}"/>
          </ac:picMkLst>
        </pc:picChg>
        <pc:picChg chg="add mod">
          <ac:chgData name="Paul LEGEARD" userId="73b5704d-da1d-4b70-8e12-6d54d32b01a3" providerId="ADAL" clId="{F979C8B0-72E3-4D3D-95A6-DC7ECDDD3ECC}" dt="2023-09-20T13:41:16.737" v="1262" actId="1036"/>
          <ac:picMkLst>
            <pc:docMk/>
            <pc:sldMk cId="2817600707" sldId="2147471321"/>
            <ac:picMk id="62" creationId="{FA731A18-7A20-C8D2-B01C-4B5D68C00C16}"/>
          </ac:picMkLst>
        </pc:picChg>
        <pc:picChg chg="add mod">
          <ac:chgData name="Paul LEGEARD" userId="73b5704d-da1d-4b70-8e12-6d54d32b01a3" providerId="ADAL" clId="{F979C8B0-72E3-4D3D-95A6-DC7ECDDD3ECC}" dt="2023-09-20T13:41:16.737" v="1262" actId="1036"/>
          <ac:picMkLst>
            <pc:docMk/>
            <pc:sldMk cId="2817600707" sldId="2147471321"/>
            <ac:picMk id="63" creationId="{4548F1E7-D054-DF73-F587-E637F89D986F}"/>
          </ac:picMkLst>
        </pc:picChg>
        <pc:picChg chg="add mod">
          <ac:chgData name="Paul LEGEARD" userId="73b5704d-da1d-4b70-8e12-6d54d32b01a3" providerId="ADAL" clId="{F979C8B0-72E3-4D3D-95A6-DC7ECDDD3ECC}" dt="2023-09-20T13:41:16.737" v="1262" actId="1036"/>
          <ac:picMkLst>
            <pc:docMk/>
            <pc:sldMk cId="2817600707" sldId="2147471321"/>
            <ac:picMk id="64" creationId="{03280558-5603-9B20-E5E5-9D89D174322C}"/>
          </ac:picMkLst>
        </pc:picChg>
        <pc:picChg chg="add mod">
          <ac:chgData name="Paul LEGEARD" userId="73b5704d-da1d-4b70-8e12-6d54d32b01a3" providerId="ADAL" clId="{F979C8B0-72E3-4D3D-95A6-DC7ECDDD3ECC}" dt="2023-09-20T13:41:16.737" v="1262" actId="1036"/>
          <ac:picMkLst>
            <pc:docMk/>
            <pc:sldMk cId="2817600707" sldId="2147471321"/>
            <ac:picMk id="65" creationId="{3FA85317-9FEE-C8F9-C3BA-C9B789594FE0}"/>
          </ac:picMkLst>
        </pc:picChg>
        <pc:picChg chg="add mod">
          <ac:chgData name="Paul LEGEARD" userId="73b5704d-da1d-4b70-8e12-6d54d32b01a3" providerId="ADAL" clId="{F979C8B0-72E3-4D3D-95A6-DC7ECDDD3ECC}" dt="2023-09-20T13:41:16.737" v="1262" actId="1036"/>
          <ac:picMkLst>
            <pc:docMk/>
            <pc:sldMk cId="2817600707" sldId="2147471321"/>
            <ac:picMk id="66" creationId="{1E12262C-D24E-8D0B-BCC6-5715EDCB992F}"/>
          </ac:picMkLst>
        </pc:picChg>
      </pc:sldChg>
      <pc:sldChg chg="addSp delSp modSp mod ord addCm delCm">
        <pc:chgData name="Paul LEGEARD" userId="73b5704d-da1d-4b70-8e12-6d54d32b01a3" providerId="ADAL" clId="{F979C8B0-72E3-4D3D-95A6-DC7ECDDD3ECC}" dt="2023-09-29T11:42:12.207" v="7953"/>
        <pc:sldMkLst>
          <pc:docMk/>
          <pc:sldMk cId="278627115" sldId="2147471323"/>
        </pc:sldMkLst>
        <pc:spChg chg="add del mod">
          <ac:chgData name="Paul LEGEARD" userId="73b5704d-da1d-4b70-8e12-6d54d32b01a3" providerId="ADAL" clId="{F979C8B0-72E3-4D3D-95A6-DC7ECDDD3ECC}" dt="2023-09-20T14:07:35.606" v="2500" actId="478"/>
          <ac:spMkLst>
            <pc:docMk/>
            <pc:sldMk cId="278627115" sldId="2147471323"/>
            <ac:spMk id="5" creationId="{63E1363D-B8C9-37EA-9464-FC697EAEAC96}"/>
          </ac:spMkLst>
        </pc:spChg>
        <pc:spChg chg="mod">
          <ac:chgData name="Paul LEGEARD" userId="73b5704d-da1d-4b70-8e12-6d54d32b01a3" providerId="ADAL" clId="{F979C8B0-72E3-4D3D-95A6-DC7ECDDD3ECC}" dt="2023-09-28T06:58:20.522" v="6353" actId="20578"/>
          <ac:spMkLst>
            <pc:docMk/>
            <pc:sldMk cId="278627115" sldId="2147471323"/>
            <ac:spMk id="9" creationId="{8B82EE82-1B00-94DA-942E-DD1FD4FEB7F5}"/>
          </ac:spMkLst>
        </pc:sp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42:06.990" v="7952"/>
              <pc2:cmMkLst xmlns:pc2="http://schemas.microsoft.com/office/powerpoint/2019/9/main/command">
                <pc:docMk/>
                <pc:sldMk cId="278627115" sldId="2147471323"/>
                <pc2:cmMk id="{4743EB01-E9CB-4D06-95A8-1C15074C7C3D}"/>
              </pc2:cmMkLst>
            </pc226:cmChg>
            <pc226:cmChg xmlns:pc226="http://schemas.microsoft.com/office/powerpoint/2022/06/main/command" chg="add del">
              <pc226:chgData name="Paul LEGEARD" userId="73b5704d-da1d-4b70-8e12-6d54d32b01a3" providerId="ADAL" clId="{F979C8B0-72E3-4D3D-95A6-DC7ECDDD3ECC}" dt="2023-09-29T11:42:12.207" v="7953"/>
              <pc2:cmMkLst xmlns:pc2="http://schemas.microsoft.com/office/powerpoint/2019/9/main/command">
                <pc:docMk/>
                <pc:sldMk cId="278627115" sldId="2147471323"/>
                <pc2:cmMk id="{A03D3E5A-4814-40D1-BA3E-981A4E2B47D8}"/>
              </pc2:cmMkLst>
            </pc226:cmChg>
          </p:ext>
        </pc:extLst>
      </pc:sldChg>
      <pc:sldChg chg="addSp modSp mod ord addCm delCm">
        <pc:chgData name="Paul LEGEARD" userId="73b5704d-da1d-4b70-8e12-6d54d32b01a3" providerId="ADAL" clId="{F979C8B0-72E3-4D3D-95A6-DC7ECDDD3ECC}" dt="2023-09-29T11:41:50.975" v="7951"/>
        <pc:sldMkLst>
          <pc:docMk/>
          <pc:sldMk cId="2984941390" sldId="2147471324"/>
        </pc:sldMkLst>
        <pc:spChg chg="mod">
          <ac:chgData name="Paul LEGEARD" userId="73b5704d-da1d-4b70-8e12-6d54d32b01a3" providerId="ADAL" clId="{F979C8B0-72E3-4D3D-95A6-DC7ECDDD3ECC}" dt="2023-09-25T10:09:51.201" v="3373" actId="20577"/>
          <ac:spMkLst>
            <pc:docMk/>
            <pc:sldMk cId="2984941390" sldId="2147471324"/>
            <ac:spMk id="2" creationId="{A3A5715A-F78A-BB39-E01A-766708689330}"/>
          </ac:spMkLst>
        </pc:spChg>
        <pc:spChg chg="mod">
          <ac:chgData name="Paul LEGEARD" userId="73b5704d-da1d-4b70-8e12-6d54d32b01a3" providerId="ADAL" clId="{F979C8B0-72E3-4D3D-95A6-DC7ECDDD3ECC}" dt="2023-09-25T10:13:44.012" v="3714" actId="14100"/>
          <ac:spMkLst>
            <pc:docMk/>
            <pc:sldMk cId="2984941390" sldId="2147471324"/>
            <ac:spMk id="6" creationId="{5739D314-2C51-9ECE-0D2E-97FBE85B96D9}"/>
          </ac:spMkLst>
        </pc:spChg>
        <pc:spChg chg="add mod">
          <ac:chgData name="Paul LEGEARD" userId="73b5704d-da1d-4b70-8e12-6d54d32b01a3" providerId="ADAL" clId="{F979C8B0-72E3-4D3D-95A6-DC7ECDDD3ECC}" dt="2023-09-25T10:14:04.929" v="3736" actId="14100"/>
          <ac:spMkLst>
            <pc:docMk/>
            <pc:sldMk cId="2984941390" sldId="2147471324"/>
            <ac:spMk id="7" creationId="{9611A116-30A4-7502-B959-F495BAEFA680}"/>
          </ac:spMkLst>
        </pc:spChg>
        <pc:spChg chg="add mod">
          <ac:chgData name="Paul LEGEARD" userId="73b5704d-da1d-4b70-8e12-6d54d32b01a3" providerId="ADAL" clId="{F979C8B0-72E3-4D3D-95A6-DC7ECDDD3ECC}" dt="2023-09-25T10:14:25.265" v="3784" actId="14100"/>
          <ac:spMkLst>
            <pc:docMk/>
            <pc:sldMk cId="2984941390" sldId="2147471324"/>
            <ac:spMk id="9" creationId="{D702AD00-7ED4-BE24-FDB6-B69712AB4A3E}"/>
          </ac:spMkLst>
        </pc:spChg>
        <pc:graphicFrameChg chg="add mod modGraphic">
          <ac:chgData name="Paul LEGEARD" userId="73b5704d-da1d-4b70-8e12-6d54d32b01a3" providerId="ADAL" clId="{F979C8B0-72E3-4D3D-95A6-DC7ECDDD3ECC}" dt="2023-09-25T10:13:50.398" v="3715" actId="1076"/>
          <ac:graphicFrameMkLst>
            <pc:docMk/>
            <pc:sldMk cId="2984941390" sldId="2147471324"/>
            <ac:graphicFrameMk id="5" creationId="{7DC9FA49-3765-D15E-F04D-CAEDC426A7D9}"/>
          </ac:graphicFrameMkLst>
        </pc:graphicFrameChg>
        <pc:graphicFrameChg chg="modGraphic">
          <ac:chgData name="Paul LEGEARD" userId="73b5704d-da1d-4b70-8e12-6d54d32b01a3" providerId="ADAL" clId="{F979C8B0-72E3-4D3D-95A6-DC7ECDDD3ECC}" dt="2023-09-28T06:57:36.812" v="6351" actId="20577"/>
          <ac:graphicFrameMkLst>
            <pc:docMk/>
            <pc:sldMk cId="2984941390" sldId="2147471324"/>
            <ac:graphicFrameMk id="15" creationId="{DEFAA5A9-1531-0EC9-6CC3-912D28B6D33D}"/>
          </ac:graphicFrameMkLst>
        </pc:graphicFrame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41:50.975" v="7951"/>
              <pc2:cmMkLst xmlns:pc2="http://schemas.microsoft.com/office/powerpoint/2019/9/main/command">
                <pc:docMk/>
                <pc:sldMk cId="2984941390" sldId="2147471324"/>
                <pc2:cmMk id="{1C30C189-2542-4E1A-920D-1B4D4ED447CC}"/>
              </pc2:cmMkLst>
            </pc226:cmChg>
          </p:ext>
        </pc:extLst>
      </pc:sldChg>
      <pc:sldChg chg="ord">
        <pc:chgData name="Paul LEGEARD" userId="73b5704d-da1d-4b70-8e12-6d54d32b01a3" providerId="ADAL" clId="{F979C8B0-72E3-4D3D-95A6-DC7ECDDD3ECC}" dt="2023-09-20T14:08:03.809" v="2502"/>
        <pc:sldMkLst>
          <pc:docMk/>
          <pc:sldMk cId="4137490407" sldId="2147471326"/>
        </pc:sldMkLst>
      </pc:sldChg>
      <pc:sldChg chg="delSp modSp add mod addCm delCm modCm modNotesTx">
        <pc:chgData name="Paul LEGEARD" userId="73b5704d-da1d-4b70-8e12-6d54d32b01a3" providerId="ADAL" clId="{F979C8B0-72E3-4D3D-95A6-DC7ECDDD3ECC}" dt="2023-09-29T11:33:04.668" v="7246"/>
        <pc:sldMkLst>
          <pc:docMk/>
          <pc:sldMk cId="1956007334" sldId="2147471327"/>
        </pc:sldMkLst>
        <pc:spChg chg="del">
          <ac:chgData name="Paul LEGEARD" userId="73b5704d-da1d-4b70-8e12-6d54d32b01a3" providerId="ADAL" clId="{F979C8B0-72E3-4D3D-95A6-DC7ECDDD3ECC}" dt="2023-09-20T13:12:49.273" v="75" actId="478"/>
          <ac:spMkLst>
            <pc:docMk/>
            <pc:sldMk cId="1956007334" sldId="2147471327"/>
            <ac:spMk id="10" creationId="{8358D74C-4804-E26A-A663-A72EC1B44D29}"/>
          </ac:spMkLst>
        </pc:spChg>
        <pc:spChg chg="mod">
          <ac:chgData name="Paul LEGEARD" userId="73b5704d-da1d-4b70-8e12-6d54d32b01a3" providerId="ADAL" clId="{F979C8B0-72E3-4D3D-95A6-DC7ECDDD3ECC}" dt="2023-09-20T13:13:01.742" v="101" actId="1076"/>
          <ac:spMkLst>
            <pc:docMk/>
            <pc:sldMk cId="1956007334" sldId="2147471327"/>
            <ac:spMk id="63" creationId="{6FCA3EC8-5A48-9DF2-10E4-975E9FD57E5F}"/>
          </ac:spMkLst>
        </pc:spChg>
        <pc:spChg chg="mod">
          <ac:chgData name="Paul LEGEARD" userId="73b5704d-da1d-4b70-8e12-6d54d32b01a3" providerId="ADAL" clId="{F979C8B0-72E3-4D3D-95A6-DC7ECDDD3ECC}" dt="2023-09-20T14:02:21.423" v="2281" actId="313"/>
          <ac:spMkLst>
            <pc:docMk/>
            <pc:sldMk cId="1956007334" sldId="2147471327"/>
            <ac:spMk id="79" creationId="{9007893F-DE3F-4277-8B72-135CF4773651}"/>
          </ac:spMkLst>
        </pc:spChg>
        <pc:spChg chg="del">
          <ac:chgData name="Paul LEGEARD" userId="73b5704d-da1d-4b70-8e12-6d54d32b01a3" providerId="ADAL" clId="{F979C8B0-72E3-4D3D-95A6-DC7ECDDD3ECC}" dt="2023-09-20T13:13:03.752" v="102" actId="478"/>
          <ac:spMkLst>
            <pc:docMk/>
            <pc:sldMk cId="1956007334" sldId="2147471327"/>
            <ac:spMk id="102" creationId="{F9ECFEF9-F62B-C83B-C789-658F75ECD0B4}"/>
          </ac:spMkLst>
        </pc:spChg>
        <pc:grpChg chg="del">
          <ac:chgData name="Paul LEGEARD" userId="73b5704d-da1d-4b70-8e12-6d54d32b01a3" providerId="ADAL" clId="{F979C8B0-72E3-4D3D-95A6-DC7ECDDD3ECC}" dt="2023-09-20T13:13:03.752" v="102" actId="478"/>
          <ac:grpSpMkLst>
            <pc:docMk/>
            <pc:sldMk cId="1956007334" sldId="2147471327"/>
            <ac:grpSpMk id="84" creationId="{37A3BA35-D65F-5153-4D5F-AF2A35A2D01E}"/>
          </ac:grpSpMkLst>
        </pc:grpChg>
        <pc:grpChg chg="del">
          <ac:chgData name="Paul LEGEARD" userId="73b5704d-da1d-4b70-8e12-6d54d32b01a3" providerId="ADAL" clId="{F979C8B0-72E3-4D3D-95A6-DC7ECDDD3ECC}" dt="2023-09-20T13:13:03.752" v="102" actId="478"/>
          <ac:grpSpMkLst>
            <pc:docMk/>
            <pc:sldMk cId="1956007334" sldId="2147471327"/>
            <ac:grpSpMk id="85" creationId="{4D4CC50A-4C82-CA11-3076-9EC7BB2E1F4B}"/>
          </ac:grpSpMkLst>
        </pc:grpChg>
        <pc:grpChg chg="del">
          <ac:chgData name="Paul LEGEARD" userId="73b5704d-da1d-4b70-8e12-6d54d32b01a3" providerId="ADAL" clId="{F979C8B0-72E3-4D3D-95A6-DC7ECDDD3ECC}" dt="2023-09-20T13:13:03.752" v="102" actId="478"/>
          <ac:grpSpMkLst>
            <pc:docMk/>
            <pc:sldMk cId="1956007334" sldId="2147471327"/>
            <ac:grpSpMk id="95" creationId="{B5358DD1-B4B4-195D-8095-FCADBE0D5FDF}"/>
          </ac:grpSpMkLst>
        </pc:grpChg>
        <pc:grpChg chg="del">
          <ac:chgData name="Paul LEGEARD" userId="73b5704d-da1d-4b70-8e12-6d54d32b01a3" providerId="ADAL" clId="{F979C8B0-72E3-4D3D-95A6-DC7ECDDD3ECC}" dt="2023-09-20T13:13:03.752" v="102" actId="478"/>
          <ac:grpSpMkLst>
            <pc:docMk/>
            <pc:sldMk cId="1956007334" sldId="2147471327"/>
            <ac:grpSpMk id="100" creationId="{377EC751-52A0-C9BA-7148-39A4C6425BAF}"/>
          </ac:grpSpMkLst>
        </pc:grpChg>
        <pc:grpChg chg="del">
          <ac:chgData name="Paul LEGEARD" userId="73b5704d-da1d-4b70-8e12-6d54d32b01a3" providerId="ADAL" clId="{F979C8B0-72E3-4D3D-95A6-DC7ECDDD3ECC}" dt="2023-09-20T13:13:03.752" v="102" actId="478"/>
          <ac:grpSpMkLst>
            <pc:docMk/>
            <pc:sldMk cId="1956007334" sldId="2147471327"/>
            <ac:grpSpMk id="101" creationId="{844BA70C-A6E6-E2FC-B599-8A69572A392B}"/>
          </ac:grpSpMkLst>
        </pc:grpChg>
        <pc:grpChg chg="del">
          <ac:chgData name="Paul LEGEARD" userId="73b5704d-da1d-4b70-8e12-6d54d32b01a3" providerId="ADAL" clId="{F979C8B0-72E3-4D3D-95A6-DC7ECDDD3ECC}" dt="2023-09-20T13:13:03.752" v="102" actId="478"/>
          <ac:grpSpMkLst>
            <pc:docMk/>
            <pc:sldMk cId="1956007334" sldId="2147471327"/>
            <ac:grpSpMk id="143" creationId="{0A008D09-D710-5BB5-6F94-800C9481FD54}"/>
          </ac:grpSpMkLst>
        </pc:grpChg>
        <pc:grpChg chg="del">
          <ac:chgData name="Paul LEGEARD" userId="73b5704d-da1d-4b70-8e12-6d54d32b01a3" providerId="ADAL" clId="{F979C8B0-72E3-4D3D-95A6-DC7ECDDD3ECC}" dt="2023-09-20T13:13:03.752" v="102" actId="478"/>
          <ac:grpSpMkLst>
            <pc:docMk/>
            <pc:sldMk cId="1956007334" sldId="2147471327"/>
            <ac:grpSpMk id="147" creationId="{FF3164B5-2D25-5455-2D7E-CE106761313B}"/>
          </ac:grpSpMkLst>
        </pc:grpChg>
        <pc:grpChg chg="del">
          <ac:chgData name="Paul LEGEARD" userId="73b5704d-da1d-4b70-8e12-6d54d32b01a3" providerId="ADAL" clId="{F979C8B0-72E3-4D3D-95A6-DC7ECDDD3ECC}" dt="2023-09-20T13:13:03.752" v="102" actId="478"/>
          <ac:grpSpMkLst>
            <pc:docMk/>
            <pc:sldMk cId="1956007334" sldId="2147471327"/>
            <ac:grpSpMk id="148" creationId="{18A95DEC-F387-0C3F-ABE3-F0E96AF15BB0}"/>
          </ac:grpSpMkLst>
        </pc:grpChg>
        <pc:grpChg chg="del">
          <ac:chgData name="Paul LEGEARD" userId="73b5704d-da1d-4b70-8e12-6d54d32b01a3" providerId="ADAL" clId="{F979C8B0-72E3-4D3D-95A6-DC7ECDDD3ECC}" dt="2023-09-20T13:13:03.752" v="102" actId="478"/>
          <ac:grpSpMkLst>
            <pc:docMk/>
            <pc:sldMk cId="1956007334" sldId="2147471327"/>
            <ac:grpSpMk id="149" creationId="{7F44572C-1DA9-23B1-B4D1-51F8611F2307}"/>
          </ac:grpSpMkLst>
        </pc:grpChg>
        <pc:grpChg chg="del">
          <ac:chgData name="Paul LEGEARD" userId="73b5704d-da1d-4b70-8e12-6d54d32b01a3" providerId="ADAL" clId="{F979C8B0-72E3-4D3D-95A6-DC7ECDDD3ECC}" dt="2023-09-20T13:13:03.752" v="102" actId="478"/>
          <ac:grpSpMkLst>
            <pc:docMk/>
            <pc:sldMk cId="1956007334" sldId="2147471327"/>
            <ac:grpSpMk id="150" creationId="{FC23FA13-596D-1FCA-F241-65F57C55207A}"/>
          </ac:grpSpMkLst>
        </pc:grpChg>
        <pc:grpChg chg="del">
          <ac:chgData name="Paul LEGEARD" userId="73b5704d-da1d-4b70-8e12-6d54d32b01a3" providerId="ADAL" clId="{F979C8B0-72E3-4D3D-95A6-DC7ECDDD3ECC}" dt="2023-09-20T13:13:03.752" v="102" actId="478"/>
          <ac:grpSpMkLst>
            <pc:docMk/>
            <pc:sldMk cId="1956007334" sldId="2147471327"/>
            <ac:grpSpMk id="151" creationId="{6B3DECA7-2CBD-D28B-2482-53603AAD1C13}"/>
          </ac:grpSpMkLst>
        </pc:grpChg>
        <pc:picChg chg="del">
          <ac:chgData name="Paul LEGEARD" userId="73b5704d-da1d-4b70-8e12-6d54d32b01a3" providerId="ADAL" clId="{F979C8B0-72E3-4D3D-95A6-DC7ECDDD3ECC}" dt="2023-09-20T13:13:03.752" v="102" actId="478"/>
          <ac:picMkLst>
            <pc:docMk/>
            <pc:sldMk cId="1956007334" sldId="2147471327"/>
            <ac:picMk id="152" creationId="{5E2772B7-3B6B-4F35-6728-F01AC38A6A20}"/>
          </ac:picMkLst>
        </pc:picChg>
        <pc:cxnChg chg="del">
          <ac:chgData name="Paul LEGEARD" userId="73b5704d-da1d-4b70-8e12-6d54d32b01a3" providerId="ADAL" clId="{F979C8B0-72E3-4D3D-95A6-DC7ECDDD3ECC}" dt="2023-09-20T13:13:03.752" v="102" actId="478"/>
          <ac:cxnSpMkLst>
            <pc:docMk/>
            <pc:sldMk cId="1956007334" sldId="2147471327"/>
            <ac:cxnSpMk id="3" creationId="{072DBC73-B049-0F94-EFBB-E950D221720E}"/>
          </ac:cxnSpMkLst>
        </pc:cxnChg>
        <pc:cxnChg chg="del">
          <ac:chgData name="Paul LEGEARD" userId="73b5704d-da1d-4b70-8e12-6d54d32b01a3" providerId="ADAL" clId="{F979C8B0-72E3-4D3D-95A6-DC7ECDDD3ECC}" dt="2023-09-20T13:13:03.752" v="102" actId="478"/>
          <ac:cxnSpMkLst>
            <pc:docMk/>
            <pc:sldMk cId="1956007334" sldId="2147471327"/>
            <ac:cxnSpMk id="60" creationId="{7BD1BF1F-230B-D82C-80A0-441278E22926}"/>
          </ac:cxnSpMkLst>
        </pc:cxn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3:04.668" v="7246"/>
              <pc2:cmMkLst xmlns:pc2="http://schemas.microsoft.com/office/powerpoint/2019/9/main/command">
                <pc:docMk/>
                <pc:sldMk cId="1956007334" sldId="2147471327"/>
                <pc2:cmMk id="{74F87059-48CF-4CFA-8EBE-A83342F01128}"/>
              </pc2:cmMkLst>
            </pc226:cmChg>
            <pc226:cmChg xmlns:pc226="http://schemas.microsoft.com/office/powerpoint/2022/06/main/command" chg="add del mod">
              <pc226:chgData name="Paul LEGEARD" userId="73b5704d-da1d-4b70-8e12-6d54d32b01a3" providerId="ADAL" clId="{F979C8B0-72E3-4D3D-95A6-DC7ECDDD3ECC}" dt="2023-09-29T11:33:02.588" v="7245"/>
              <pc2:cmMkLst xmlns:pc2="http://schemas.microsoft.com/office/powerpoint/2019/9/main/command">
                <pc:docMk/>
                <pc:sldMk cId="1956007334" sldId="2147471327"/>
                <pc2:cmMk id="{03053DE5-5759-4B3B-91F7-2CA22316361B}"/>
              </pc2:cmMkLst>
            </pc226:cmChg>
          </p:ext>
        </pc:extLst>
      </pc:sldChg>
      <pc:sldChg chg="addSp delSp modSp add del mod">
        <pc:chgData name="Paul LEGEARD" userId="73b5704d-da1d-4b70-8e12-6d54d32b01a3" providerId="ADAL" clId="{F979C8B0-72E3-4D3D-95A6-DC7ECDDD3ECC}" dt="2023-09-25T10:19:31.335" v="4049" actId="47"/>
        <pc:sldMkLst>
          <pc:docMk/>
          <pc:sldMk cId="710773365" sldId="2147471328"/>
        </pc:sldMkLst>
        <pc:spChg chg="mod">
          <ac:chgData name="Paul LEGEARD" userId="73b5704d-da1d-4b70-8e12-6d54d32b01a3" providerId="ADAL" clId="{F979C8B0-72E3-4D3D-95A6-DC7ECDDD3ECC}" dt="2023-09-20T13:31:46.454" v="870" actId="20577"/>
          <ac:spMkLst>
            <pc:docMk/>
            <pc:sldMk cId="710773365" sldId="2147471328"/>
            <ac:spMk id="2" creationId="{86E96E2E-3416-B7AF-69BC-1F4BC5A5D72A}"/>
          </ac:spMkLst>
        </pc:spChg>
        <pc:spChg chg="del">
          <ac:chgData name="Paul LEGEARD" userId="73b5704d-da1d-4b70-8e12-6d54d32b01a3" providerId="ADAL" clId="{F979C8B0-72E3-4D3D-95A6-DC7ECDDD3ECC}" dt="2023-09-20T13:31:49.795" v="871" actId="478"/>
          <ac:spMkLst>
            <pc:docMk/>
            <pc:sldMk cId="710773365" sldId="2147471328"/>
            <ac:spMk id="3" creationId="{36CF9F0F-A16F-C2C4-7492-7DAF9D2024F5}"/>
          </ac:spMkLst>
        </pc:spChg>
        <pc:spChg chg="del">
          <ac:chgData name="Paul LEGEARD" userId="73b5704d-da1d-4b70-8e12-6d54d32b01a3" providerId="ADAL" clId="{F979C8B0-72E3-4D3D-95A6-DC7ECDDD3ECC}" dt="2023-09-20T13:31:49.795" v="871" actId="478"/>
          <ac:spMkLst>
            <pc:docMk/>
            <pc:sldMk cId="710773365" sldId="2147471328"/>
            <ac:spMk id="4" creationId="{47675477-69D1-972E-D931-380330647B43}"/>
          </ac:spMkLst>
        </pc:spChg>
        <pc:spChg chg="add mod">
          <ac:chgData name="Paul LEGEARD" userId="73b5704d-da1d-4b70-8e12-6d54d32b01a3" providerId="ADAL" clId="{F979C8B0-72E3-4D3D-95A6-DC7ECDDD3ECC}" dt="2023-09-20T13:31:55.367" v="873" actId="20577"/>
          <ac:spMkLst>
            <pc:docMk/>
            <pc:sldMk cId="710773365" sldId="2147471328"/>
            <ac:spMk id="5" creationId="{D57163E0-D4D9-ABA9-2CB6-03C03BFEF5D9}"/>
          </ac:spMkLst>
        </pc:spChg>
        <pc:spChg chg="del">
          <ac:chgData name="Paul LEGEARD" userId="73b5704d-da1d-4b70-8e12-6d54d32b01a3" providerId="ADAL" clId="{F979C8B0-72E3-4D3D-95A6-DC7ECDDD3ECC}" dt="2023-09-20T13:31:49.795" v="871" actId="478"/>
          <ac:spMkLst>
            <pc:docMk/>
            <pc:sldMk cId="710773365" sldId="2147471328"/>
            <ac:spMk id="10" creationId="{AFE97F36-CFE1-79F3-FCEB-94AA885C963F}"/>
          </ac:spMkLst>
        </pc:spChg>
        <pc:spChg chg="del">
          <ac:chgData name="Paul LEGEARD" userId="73b5704d-da1d-4b70-8e12-6d54d32b01a3" providerId="ADAL" clId="{F979C8B0-72E3-4D3D-95A6-DC7ECDDD3ECC}" dt="2023-09-20T13:31:49.795" v="871" actId="478"/>
          <ac:spMkLst>
            <pc:docMk/>
            <pc:sldMk cId="710773365" sldId="2147471328"/>
            <ac:spMk id="12" creationId="{987CD1B8-AE7C-4397-A7C0-698E35A54E22}"/>
          </ac:spMkLst>
        </pc:spChg>
        <pc:spChg chg="del">
          <ac:chgData name="Paul LEGEARD" userId="73b5704d-da1d-4b70-8e12-6d54d32b01a3" providerId="ADAL" clId="{F979C8B0-72E3-4D3D-95A6-DC7ECDDD3ECC}" dt="2023-09-20T13:31:49.795" v="871" actId="478"/>
          <ac:spMkLst>
            <pc:docMk/>
            <pc:sldMk cId="710773365" sldId="2147471328"/>
            <ac:spMk id="15" creationId="{71C05F3A-4102-5BA4-8015-F7F7A50ADAEF}"/>
          </ac:spMkLst>
        </pc:spChg>
        <pc:spChg chg="del">
          <ac:chgData name="Paul LEGEARD" userId="73b5704d-da1d-4b70-8e12-6d54d32b01a3" providerId="ADAL" clId="{F979C8B0-72E3-4D3D-95A6-DC7ECDDD3ECC}" dt="2023-09-20T13:31:49.795" v="871" actId="478"/>
          <ac:spMkLst>
            <pc:docMk/>
            <pc:sldMk cId="710773365" sldId="2147471328"/>
            <ac:spMk id="16" creationId="{369630A6-E48C-39D6-FF7C-37A3CF3E9A1E}"/>
          </ac:spMkLst>
        </pc:spChg>
        <pc:spChg chg="del">
          <ac:chgData name="Paul LEGEARD" userId="73b5704d-da1d-4b70-8e12-6d54d32b01a3" providerId="ADAL" clId="{F979C8B0-72E3-4D3D-95A6-DC7ECDDD3ECC}" dt="2023-09-20T13:31:49.795" v="871" actId="478"/>
          <ac:spMkLst>
            <pc:docMk/>
            <pc:sldMk cId="710773365" sldId="2147471328"/>
            <ac:spMk id="20" creationId="{C2C306DF-BF22-41F9-8D14-983D76EB8938}"/>
          </ac:spMkLst>
        </pc:spChg>
        <pc:spChg chg="del">
          <ac:chgData name="Paul LEGEARD" userId="73b5704d-da1d-4b70-8e12-6d54d32b01a3" providerId="ADAL" clId="{F979C8B0-72E3-4D3D-95A6-DC7ECDDD3ECC}" dt="2023-09-20T13:31:49.795" v="871" actId="478"/>
          <ac:spMkLst>
            <pc:docMk/>
            <pc:sldMk cId="710773365" sldId="2147471328"/>
            <ac:spMk id="21" creationId="{B85DEAB1-8A5A-4DD7-91BB-9179C40FD393}"/>
          </ac:spMkLst>
        </pc:spChg>
        <pc:spChg chg="del">
          <ac:chgData name="Paul LEGEARD" userId="73b5704d-da1d-4b70-8e12-6d54d32b01a3" providerId="ADAL" clId="{F979C8B0-72E3-4D3D-95A6-DC7ECDDD3ECC}" dt="2023-09-20T13:31:49.795" v="871" actId="478"/>
          <ac:spMkLst>
            <pc:docMk/>
            <pc:sldMk cId="710773365" sldId="2147471328"/>
            <ac:spMk id="58" creationId="{FF8E6BD4-B28A-6AA9-7C92-647728F49CC1}"/>
          </ac:spMkLst>
        </pc:spChg>
        <pc:spChg chg="del">
          <ac:chgData name="Paul LEGEARD" userId="73b5704d-da1d-4b70-8e12-6d54d32b01a3" providerId="ADAL" clId="{F979C8B0-72E3-4D3D-95A6-DC7ECDDD3ECC}" dt="2023-09-20T13:31:49.795" v="871" actId="478"/>
          <ac:spMkLst>
            <pc:docMk/>
            <pc:sldMk cId="710773365" sldId="2147471328"/>
            <ac:spMk id="59" creationId="{0B90382B-F3CC-05B2-9F03-A9CE0063EBA8}"/>
          </ac:spMkLst>
        </pc:spChg>
        <pc:graphicFrameChg chg="del">
          <ac:chgData name="Paul LEGEARD" userId="73b5704d-da1d-4b70-8e12-6d54d32b01a3" providerId="ADAL" clId="{F979C8B0-72E3-4D3D-95A6-DC7ECDDD3ECC}" dt="2023-09-20T13:31:49.795" v="871" actId="478"/>
          <ac:graphicFrameMkLst>
            <pc:docMk/>
            <pc:sldMk cId="710773365" sldId="2147471328"/>
            <ac:graphicFrameMk id="8" creationId="{01846BB2-EE5F-34B2-37D2-7BBDA78FC326}"/>
          </ac:graphicFrameMkLst>
        </pc:graphicFrameChg>
        <pc:graphicFrameChg chg="del">
          <ac:chgData name="Paul LEGEARD" userId="73b5704d-da1d-4b70-8e12-6d54d32b01a3" providerId="ADAL" clId="{F979C8B0-72E3-4D3D-95A6-DC7ECDDD3ECC}" dt="2023-09-20T13:31:49.795" v="871" actId="478"/>
          <ac:graphicFrameMkLst>
            <pc:docMk/>
            <pc:sldMk cId="710773365" sldId="2147471328"/>
            <ac:graphicFrameMk id="29" creationId="{87515F82-0F9C-E24A-8586-2FDA1507AB8C}"/>
          </ac:graphicFrameMkLst>
        </pc:graphicFrameChg>
        <pc:picChg chg="del">
          <ac:chgData name="Paul LEGEARD" userId="73b5704d-da1d-4b70-8e12-6d54d32b01a3" providerId="ADAL" clId="{F979C8B0-72E3-4D3D-95A6-DC7ECDDD3ECC}" dt="2023-09-20T13:31:49.795" v="871" actId="478"/>
          <ac:picMkLst>
            <pc:docMk/>
            <pc:sldMk cId="710773365" sldId="2147471328"/>
            <ac:picMk id="7" creationId="{C620D9FE-924B-67D6-68CD-5DAFFA5F4A0A}"/>
          </ac:picMkLst>
        </pc:picChg>
        <pc:picChg chg="del">
          <ac:chgData name="Paul LEGEARD" userId="73b5704d-da1d-4b70-8e12-6d54d32b01a3" providerId="ADAL" clId="{F979C8B0-72E3-4D3D-95A6-DC7ECDDD3ECC}" dt="2023-09-20T13:31:49.795" v="871" actId="478"/>
          <ac:picMkLst>
            <pc:docMk/>
            <pc:sldMk cId="710773365" sldId="2147471328"/>
            <ac:picMk id="11" creationId="{CC9B8847-FCDE-B3B5-1158-BBA67391BCCA}"/>
          </ac:picMkLst>
        </pc:picChg>
        <pc:picChg chg="del">
          <ac:chgData name="Paul LEGEARD" userId="73b5704d-da1d-4b70-8e12-6d54d32b01a3" providerId="ADAL" clId="{F979C8B0-72E3-4D3D-95A6-DC7ECDDD3ECC}" dt="2023-09-20T13:31:49.795" v="871" actId="478"/>
          <ac:picMkLst>
            <pc:docMk/>
            <pc:sldMk cId="710773365" sldId="2147471328"/>
            <ac:picMk id="17" creationId="{E7D1AF8A-CBC2-DE86-F140-FB03B3E96D00}"/>
          </ac:picMkLst>
        </pc:picChg>
        <pc:picChg chg="del">
          <ac:chgData name="Paul LEGEARD" userId="73b5704d-da1d-4b70-8e12-6d54d32b01a3" providerId="ADAL" clId="{F979C8B0-72E3-4D3D-95A6-DC7ECDDD3ECC}" dt="2023-09-20T13:31:49.795" v="871" actId="478"/>
          <ac:picMkLst>
            <pc:docMk/>
            <pc:sldMk cId="710773365" sldId="2147471328"/>
            <ac:picMk id="23" creationId="{9D412B87-081E-C21F-45B2-62F3F8FBD21F}"/>
          </ac:picMkLst>
        </pc:picChg>
        <pc:picChg chg="del">
          <ac:chgData name="Paul LEGEARD" userId="73b5704d-da1d-4b70-8e12-6d54d32b01a3" providerId="ADAL" clId="{F979C8B0-72E3-4D3D-95A6-DC7ECDDD3ECC}" dt="2023-09-20T13:31:49.795" v="871" actId="478"/>
          <ac:picMkLst>
            <pc:docMk/>
            <pc:sldMk cId="710773365" sldId="2147471328"/>
            <ac:picMk id="30" creationId="{9964A539-9F3E-16A3-55B6-77504327E518}"/>
          </ac:picMkLst>
        </pc:picChg>
        <pc:picChg chg="del">
          <ac:chgData name="Paul LEGEARD" userId="73b5704d-da1d-4b70-8e12-6d54d32b01a3" providerId="ADAL" clId="{F979C8B0-72E3-4D3D-95A6-DC7ECDDD3ECC}" dt="2023-09-20T13:31:49.795" v="871" actId="478"/>
          <ac:picMkLst>
            <pc:docMk/>
            <pc:sldMk cId="710773365" sldId="2147471328"/>
            <ac:picMk id="50" creationId="{0EBB07A8-425F-F795-26FE-C3EB1D6BCDF2}"/>
          </ac:picMkLst>
        </pc:picChg>
        <pc:picChg chg="del">
          <ac:chgData name="Paul LEGEARD" userId="73b5704d-da1d-4b70-8e12-6d54d32b01a3" providerId="ADAL" clId="{F979C8B0-72E3-4D3D-95A6-DC7ECDDD3ECC}" dt="2023-09-20T13:31:49.795" v="871" actId="478"/>
          <ac:picMkLst>
            <pc:docMk/>
            <pc:sldMk cId="710773365" sldId="2147471328"/>
            <ac:picMk id="55" creationId="{74C88058-5B9D-DC45-0022-D229288C8A42}"/>
          </ac:picMkLst>
        </pc:picChg>
        <pc:picChg chg="del">
          <ac:chgData name="Paul LEGEARD" userId="73b5704d-da1d-4b70-8e12-6d54d32b01a3" providerId="ADAL" clId="{F979C8B0-72E3-4D3D-95A6-DC7ECDDD3ECC}" dt="2023-09-20T13:31:49.795" v="871" actId="478"/>
          <ac:picMkLst>
            <pc:docMk/>
            <pc:sldMk cId="710773365" sldId="2147471328"/>
            <ac:picMk id="56" creationId="{CDCB224F-F5E2-8D14-A06F-118D9833C1B0}"/>
          </ac:picMkLst>
        </pc:picChg>
        <pc:picChg chg="del">
          <ac:chgData name="Paul LEGEARD" userId="73b5704d-da1d-4b70-8e12-6d54d32b01a3" providerId="ADAL" clId="{F979C8B0-72E3-4D3D-95A6-DC7ECDDD3ECC}" dt="2023-09-20T13:31:49.795" v="871" actId="478"/>
          <ac:picMkLst>
            <pc:docMk/>
            <pc:sldMk cId="710773365" sldId="2147471328"/>
            <ac:picMk id="60" creationId="{47D44B8D-88FE-0479-E2C5-CB4A36FDAC01}"/>
          </ac:picMkLst>
        </pc:picChg>
      </pc:sldChg>
      <pc:sldChg chg="addSp delSp modSp add mod ord">
        <pc:chgData name="Paul LEGEARD" userId="73b5704d-da1d-4b70-8e12-6d54d32b01a3" providerId="ADAL" clId="{F979C8B0-72E3-4D3D-95A6-DC7ECDDD3ECC}" dt="2023-09-28T06:37:13.360" v="6277" actId="20577"/>
        <pc:sldMkLst>
          <pc:docMk/>
          <pc:sldMk cId="3424562154" sldId="2147471329"/>
        </pc:sldMkLst>
        <pc:spChg chg="del">
          <ac:chgData name="Paul LEGEARD" userId="73b5704d-da1d-4b70-8e12-6d54d32b01a3" providerId="ADAL" clId="{F979C8B0-72E3-4D3D-95A6-DC7ECDDD3ECC}" dt="2023-09-20T13:48:20.755" v="1316" actId="478"/>
          <ac:spMkLst>
            <pc:docMk/>
            <pc:sldMk cId="3424562154" sldId="2147471329"/>
            <ac:spMk id="2" creationId="{1B110C3C-3342-0570-1254-DDF1D96A37B8}"/>
          </ac:spMkLst>
        </pc:spChg>
        <pc:spChg chg="mod">
          <ac:chgData name="Paul LEGEARD" userId="73b5704d-da1d-4b70-8e12-6d54d32b01a3" providerId="ADAL" clId="{F979C8B0-72E3-4D3D-95A6-DC7ECDDD3ECC}" dt="2023-09-28T06:37:13.360" v="6277" actId="20577"/>
          <ac:spMkLst>
            <pc:docMk/>
            <pc:sldMk cId="3424562154" sldId="2147471329"/>
            <ac:spMk id="2" creationId="{D1EE6376-4F6B-22F4-4FAE-12E8722AAE09}"/>
          </ac:spMkLst>
        </pc:spChg>
        <pc:spChg chg="add mod">
          <ac:chgData name="Paul LEGEARD" userId="73b5704d-da1d-4b70-8e12-6d54d32b01a3" providerId="ADAL" clId="{F979C8B0-72E3-4D3D-95A6-DC7ECDDD3ECC}" dt="2023-09-20T13:50:45.406" v="1318"/>
          <ac:spMkLst>
            <pc:docMk/>
            <pc:sldMk cId="3424562154" sldId="2147471329"/>
            <ac:spMk id="4" creationId="{DD4467A1-7BF5-9A3C-5188-CE9AE07FD467}"/>
          </ac:spMkLst>
        </pc:spChg>
        <pc:spChg chg="add mod">
          <ac:chgData name="Paul LEGEARD" userId="73b5704d-da1d-4b70-8e12-6d54d32b01a3" providerId="ADAL" clId="{F979C8B0-72E3-4D3D-95A6-DC7ECDDD3ECC}" dt="2023-09-20T13:50:45.406" v="1318"/>
          <ac:spMkLst>
            <pc:docMk/>
            <pc:sldMk cId="3424562154" sldId="2147471329"/>
            <ac:spMk id="5" creationId="{6DE06E3C-FBA6-DAFB-4DED-6F84F673A792}"/>
          </ac:spMkLst>
        </pc:spChg>
        <pc:spChg chg="add mod">
          <ac:chgData name="Paul LEGEARD" userId="73b5704d-da1d-4b70-8e12-6d54d32b01a3" providerId="ADAL" clId="{F979C8B0-72E3-4D3D-95A6-DC7ECDDD3ECC}" dt="2023-09-20T13:50:45.406" v="1318"/>
          <ac:spMkLst>
            <pc:docMk/>
            <pc:sldMk cId="3424562154" sldId="2147471329"/>
            <ac:spMk id="6" creationId="{EBD74BA4-B82C-9D3B-14F4-560B228A384F}"/>
          </ac:spMkLst>
        </pc:spChg>
        <pc:spChg chg="add mod">
          <ac:chgData name="Paul LEGEARD" userId="73b5704d-da1d-4b70-8e12-6d54d32b01a3" providerId="ADAL" clId="{F979C8B0-72E3-4D3D-95A6-DC7ECDDD3ECC}" dt="2023-09-20T13:50:45.406" v="1318"/>
          <ac:spMkLst>
            <pc:docMk/>
            <pc:sldMk cId="3424562154" sldId="2147471329"/>
            <ac:spMk id="7" creationId="{ADAC59AA-1D0D-5866-6309-6DF9C82148AB}"/>
          </ac:spMkLst>
        </pc:spChg>
        <pc:spChg chg="add mod">
          <ac:chgData name="Paul LEGEARD" userId="73b5704d-da1d-4b70-8e12-6d54d32b01a3" providerId="ADAL" clId="{F979C8B0-72E3-4D3D-95A6-DC7ECDDD3ECC}" dt="2023-09-20T13:50:45.406" v="1318"/>
          <ac:spMkLst>
            <pc:docMk/>
            <pc:sldMk cId="3424562154" sldId="2147471329"/>
            <ac:spMk id="8" creationId="{27B9D1CD-B86C-2555-9A19-5D342F4B3CB6}"/>
          </ac:spMkLst>
        </pc:spChg>
        <pc:spChg chg="add mod">
          <ac:chgData name="Paul LEGEARD" userId="73b5704d-da1d-4b70-8e12-6d54d32b01a3" providerId="ADAL" clId="{F979C8B0-72E3-4D3D-95A6-DC7ECDDD3ECC}" dt="2023-09-20T13:50:45.406" v="1318"/>
          <ac:spMkLst>
            <pc:docMk/>
            <pc:sldMk cId="3424562154" sldId="2147471329"/>
            <ac:spMk id="9" creationId="{7CBF9AEB-6D32-AEEB-B5DD-1B461B38FD36}"/>
          </ac:spMkLst>
        </pc:spChg>
        <pc:spChg chg="del">
          <ac:chgData name="Paul LEGEARD" userId="73b5704d-da1d-4b70-8e12-6d54d32b01a3" providerId="ADAL" clId="{F979C8B0-72E3-4D3D-95A6-DC7ECDDD3ECC}" dt="2023-09-20T13:50:44.897" v="1317" actId="478"/>
          <ac:spMkLst>
            <pc:docMk/>
            <pc:sldMk cId="3424562154" sldId="2147471329"/>
            <ac:spMk id="10" creationId="{8358D74C-4804-E26A-A663-A72EC1B44D29}"/>
          </ac:spMkLst>
        </pc:spChg>
        <pc:spChg chg="add mod">
          <ac:chgData name="Paul LEGEARD" userId="73b5704d-da1d-4b70-8e12-6d54d32b01a3" providerId="ADAL" clId="{F979C8B0-72E3-4D3D-95A6-DC7ECDDD3ECC}" dt="2023-09-20T13:50:45.406" v="1318"/>
          <ac:spMkLst>
            <pc:docMk/>
            <pc:sldMk cId="3424562154" sldId="2147471329"/>
            <ac:spMk id="11" creationId="{B69BAFFC-B747-7DCF-5670-06E7ACA18FC6}"/>
          </ac:spMkLst>
        </pc:spChg>
        <pc:spChg chg="mod">
          <ac:chgData name="Paul LEGEARD" userId="73b5704d-da1d-4b70-8e12-6d54d32b01a3" providerId="ADAL" clId="{F979C8B0-72E3-4D3D-95A6-DC7ECDDD3ECC}" dt="2023-09-20T13:50:45.406" v="1318"/>
          <ac:spMkLst>
            <pc:docMk/>
            <pc:sldMk cId="3424562154" sldId="2147471329"/>
            <ac:spMk id="13" creationId="{A603777E-12CD-6BF0-38BD-7E566594DDAF}"/>
          </ac:spMkLst>
        </pc:spChg>
        <pc:spChg chg="mod">
          <ac:chgData name="Paul LEGEARD" userId="73b5704d-da1d-4b70-8e12-6d54d32b01a3" providerId="ADAL" clId="{F979C8B0-72E3-4D3D-95A6-DC7ECDDD3ECC}" dt="2023-09-20T13:50:45.406" v="1318"/>
          <ac:spMkLst>
            <pc:docMk/>
            <pc:sldMk cId="3424562154" sldId="2147471329"/>
            <ac:spMk id="14" creationId="{D20A2D9F-C453-2129-AC37-A76A4C9E59A4}"/>
          </ac:spMkLst>
        </pc:spChg>
        <pc:spChg chg="add mod">
          <ac:chgData name="Paul LEGEARD" userId="73b5704d-da1d-4b70-8e12-6d54d32b01a3" providerId="ADAL" clId="{F979C8B0-72E3-4D3D-95A6-DC7ECDDD3ECC}" dt="2023-09-20T13:50:45.406" v="1318"/>
          <ac:spMkLst>
            <pc:docMk/>
            <pc:sldMk cId="3424562154" sldId="2147471329"/>
            <ac:spMk id="15" creationId="{88562BE5-E03B-5086-89A3-CE54E5E5E134}"/>
          </ac:spMkLst>
        </pc:spChg>
        <pc:spChg chg="add mod">
          <ac:chgData name="Paul LEGEARD" userId="73b5704d-da1d-4b70-8e12-6d54d32b01a3" providerId="ADAL" clId="{F979C8B0-72E3-4D3D-95A6-DC7ECDDD3ECC}" dt="2023-09-20T13:50:45.406" v="1318"/>
          <ac:spMkLst>
            <pc:docMk/>
            <pc:sldMk cId="3424562154" sldId="2147471329"/>
            <ac:spMk id="16" creationId="{213B374B-F20A-81A9-FB50-0E79DC09A71D}"/>
          </ac:spMkLst>
        </pc:spChg>
        <pc:spChg chg="mod">
          <ac:chgData name="Paul LEGEARD" userId="73b5704d-da1d-4b70-8e12-6d54d32b01a3" providerId="ADAL" clId="{F979C8B0-72E3-4D3D-95A6-DC7ECDDD3ECC}" dt="2023-09-20T13:50:45.406" v="1318"/>
          <ac:spMkLst>
            <pc:docMk/>
            <pc:sldMk cId="3424562154" sldId="2147471329"/>
            <ac:spMk id="18" creationId="{37E84D1B-643A-56E1-F12A-D953C5153093}"/>
          </ac:spMkLst>
        </pc:spChg>
        <pc:spChg chg="mod">
          <ac:chgData name="Paul LEGEARD" userId="73b5704d-da1d-4b70-8e12-6d54d32b01a3" providerId="ADAL" clId="{F979C8B0-72E3-4D3D-95A6-DC7ECDDD3ECC}" dt="2023-09-20T13:50:45.406" v="1318"/>
          <ac:spMkLst>
            <pc:docMk/>
            <pc:sldMk cId="3424562154" sldId="2147471329"/>
            <ac:spMk id="19" creationId="{D90C59CB-DB35-041E-E95F-D5192FC47B5B}"/>
          </ac:spMkLst>
        </pc:spChg>
        <pc:spChg chg="del">
          <ac:chgData name="Paul LEGEARD" userId="73b5704d-da1d-4b70-8e12-6d54d32b01a3" providerId="ADAL" clId="{F979C8B0-72E3-4D3D-95A6-DC7ECDDD3ECC}" dt="2023-09-20T13:48:20.755" v="1316" actId="478"/>
          <ac:spMkLst>
            <pc:docMk/>
            <pc:sldMk cId="3424562154" sldId="2147471329"/>
            <ac:spMk id="20" creationId="{C938247E-1309-9124-223D-EB92A5F7BC4D}"/>
          </ac:spMkLst>
        </pc:spChg>
        <pc:spChg chg="add mod">
          <ac:chgData name="Paul LEGEARD" userId="73b5704d-da1d-4b70-8e12-6d54d32b01a3" providerId="ADAL" clId="{F979C8B0-72E3-4D3D-95A6-DC7ECDDD3ECC}" dt="2023-09-20T13:50:45.406" v="1318"/>
          <ac:spMkLst>
            <pc:docMk/>
            <pc:sldMk cId="3424562154" sldId="2147471329"/>
            <ac:spMk id="23" creationId="{49133EAB-829B-871A-80A2-375002A101A3}"/>
          </ac:spMkLst>
        </pc:spChg>
        <pc:spChg chg="add del mod">
          <ac:chgData name="Paul LEGEARD" userId="73b5704d-da1d-4b70-8e12-6d54d32b01a3" providerId="ADAL" clId="{F979C8B0-72E3-4D3D-95A6-DC7ECDDD3ECC}" dt="2023-09-25T08:38:07.612" v="2506" actId="478"/>
          <ac:spMkLst>
            <pc:docMk/>
            <pc:sldMk cId="3424562154" sldId="2147471329"/>
            <ac:spMk id="24" creationId="{54E4E1BC-353F-9D62-D552-246B26AB25A9}"/>
          </ac:spMkLst>
        </pc:spChg>
        <pc:spChg chg="mod">
          <ac:chgData name="Paul LEGEARD" userId="73b5704d-da1d-4b70-8e12-6d54d32b01a3" providerId="ADAL" clId="{F979C8B0-72E3-4D3D-95A6-DC7ECDDD3ECC}" dt="2023-09-20T13:50:45.406" v="1318"/>
          <ac:spMkLst>
            <pc:docMk/>
            <pc:sldMk cId="3424562154" sldId="2147471329"/>
            <ac:spMk id="26" creationId="{AC705A1D-AFD4-2F43-AAEB-6041BDCB18F1}"/>
          </ac:spMkLst>
        </pc:spChg>
        <pc:spChg chg="mod">
          <ac:chgData name="Paul LEGEARD" userId="73b5704d-da1d-4b70-8e12-6d54d32b01a3" providerId="ADAL" clId="{F979C8B0-72E3-4D3D-95A6-DC7ECDDD3ECC}" dt="2023-09-20T13:50:45.406" v="1318"/>
          <ac:spMkLst>
            <pc:docMk/>
            <pc:sldMk cId="3424562154" sldId="2147471329"/>
            <ac:spMk id="27" creationId="{4158248B-5B54-E256-F5AD-1C70A7552BE7}"/>
          </ac:spMkLst>
        </pc:spChg>
        <pc:spChg chg="add mod">
          <ac:chgData name="Paul LEGEARD" userId="73b5704d-da1d-4b70-8e12-6d54d32b01a3" providerId="ADAL" clId="{F979C8B0-72E3-4D3D-95A6-DC7ECDDD3ECC}" dt="2023-09-20T13:50:45.406" v="1318"/>
          <ac:spMkLst>
            <pc:docMk/>
            <pc:sldMk cId="3424562154" sldId="2147471329"/>
            <ac:spMk id="28" creationId="{A1D43860-5F54-CC8A-9B59-F22B5576D5C7}"/>
          </ac:spMkLst>
        </pc:spChg>
        <pc:spChg chg="add mod">
          <ac:chgData name="Paul LEGEARD" userId="73b5704d-da1d-4b70-8e12-6d54d32b01a3" providerId="ADAL" clId="{F979C8B0-72E3-4D3D-95A6-DC7ECDDD3ECC}" dt="2023-09-20T13:50:45.406" v="1318"/>
          <ac:spMkLst>
            <pc:docMk/>
            <pc:sldMk cId="3424562154" sldId="2147471329"/>
            <ac:spMk id="29" creationId="{DD21525D-FF4D-76A5-66A6-17D12F5D8377}"/>
          </ac:spMkLst>
        </pc:spChg>
        <pc:spChg chg="add mod">
          <ac:chgData name="Paul LEGEARD" userId="73b5704d-da1d-4b70-8e12-6d54d32b01a3" providerId="ADAL" clId="{F979C8B0-72E3-4D3D-95A6-DC7ECDDD3ECC}" dt="2023-09-20T13:50:45.406" v="1318"/>
          <ac:spMkLst>
            <pc:docMk/>
            <pc:sldMk cId="3424562154" sldId="2147471329"/>
            <ac:spMk id="30" creationId="{729EEEA9-A9B6-62E7-28C1-AF2E8CE46A4B}"/>
          </ac:spMkLst>
        </pc:spChg>
        <pc:spChg chg="add mod">
          <ac:chgData name="Paul LEGEARD" userId="73b5704d-da1d-4b70-8e12-6d54d32b01a3" providerId="ADAL" clId="{F979C8B0-72E3-4D3D-95A6-DC7ECDDD3ECC}" dt="2023-09-20T13:51:05.361" v="1323" actId="14100"/>
          <ac:spMkLst>
            <pc:docMk/>
            <pc:sldMk cId="3424562154" sldId="2147471329"/>
            <ac:spMk id="37" creationId="{C716353E-43BB-682A-73E0-5F444E59F4B4}"/>
          </ac:spMkLst>
        </pc:spChg>
        <pc:spChg chg="add mod">
          <ac:chgData name="Paul LEGEARD" userId="73b5704d-da1d-4b70-8e12-6d54d32b01a3" providerId="ADAL" clId="{F979C8B0-72E3-4D3D-95A6-DC7ECDDD3ECC}" dt="2023-09-25T08:38:51.523" v="2524" actId="1036"/>
          <ac:spMkLst>
            <pc:docMk/>
            <pc:sldMk cId="3424562154" sldId="2147471329"/>
            <ac:spMk id="39" creationId="{9BD7B936-29A7-E2F4-7B2B-0F74CED0A1FF}"/>
          </ac:spMkLst>
        </pc:spChg>
        <pc:spChg chg="add mod">
          <ac:chgData name="Paul LEGEARD" userId="73b5704d-da1d-4b70-8e12-6d54d32b01a3" providerId="ADAL" clId="{F979C8B0-72E3-4D3D-95A6-DC7ECDDD3ECC}" dt="2023-09-25T08:38:51.523" v="2524" actId="1036"/>
          <ac:spMkLst>
            <pc:docMk/>
            <pc:sldMk cId="3424562154" sldId="2147471329"/>
            <ac:spMk id="41" creationId="{B34F7715-4E58-245D-3A28-21CCB673C293}"/>
          </ac:spMkLst>
        </pc:spChg>
        <pc:spChg chg="add mod">
          <ac:chgData name="Paul LEGEARD" userId="73b5704d-da1d-4b70-8e12-6d54d32b01a3" providerId="ADAL" clId="{F979C8B0-72E3-4D3D-95A6-DC7ECDDD3ECC}" dt="2023-09-25T08:38:44.640" v="2512" actId="14100"/>
          <ac:spMkLst>
            <pc:docMk/>
            <pc:sldMk cId="3424562154" sldId="2147471329"/>
            <ac:spMk id="42" creationId="{C1966E60-9923-8926-9349-5D935F131371}"/>
          </ac:spMkLst>
        </pc:spChg>
        <pc:spChg chg="add mod">
          <ac:chgData name="Paul LEGEARD" userId="73b5704d-da1d-4b70-8e12-6d54d32b01a3" providerId="ADAL" clId="{F979C8B0-72E3-4D3D-95A6-DC7ECDDD3ECC}" dt="2023-09-25T08:38:42.140" v="2511" actId="1076"/>
          <ac:spMkLst>
            <pc:docMk/>
            <pc:sldMk cId="3424562154" sldId="2147471329"/>
            <ac:spMk id="43" creationId="{5C48A492-DDB2-15F7-4BF7-D2E8FFB3F004}"/>
          </ac:spMkLst>
        </pc:spChg>
        <pc:spChg chg="add mod">
          <ac:chgData name="Paul LEGEARD" userId="73b5704d-da1d-4b70-8e12-6d54d32b01a3" providerId="ADAL" clId="{F979C8B0-72E3-4D3D-95A6-DC7ECDDD3ECC}" dt="2023-09-25T08:38:42.140" v="2511" actId="1076"/>
          <ac:spMkLst>
            <pc:docMk/>
            <pc:sldMk cId="3424562154" sldId="2147471329"/>
            <ac:spMk id="45" creationId="{1EEDFF83-950D-E48F-3A50-EC8335D8C3DB}"/>
          </ac:spMkLst>
        </pc:spChg>
        <pc:spChg chg="add mod">
          <ac:chgData name="Paul LEGEARD" userId="73b5704d-da1d-4b70-8e12-6d54d32b01a3" providerId="ADAL" clId="{F979C8B0-72E3-4D3D-95A6-DC7ECDDD3ECC}" dt="2023-09-25T08:38:33.180" v="2510" actId="12789"/>
          <ac:spMkLst>
            <pc:docMk/>
            <pc:sldMk cId="3424562154" sldId="2147471329"/>
            <ac:spMk id="46" creationId="{8C15BC74-F783-417F-BD0F-352DA5128998}"/>
          </ac:spMkLst>
        </pc:spChg>
        <pc:spChg chg="add mod">
          <ac:chgData name="Paul LEGEARD" userId="73b5704d-da1d-4b70-8e12-6d54d32b01a3" providerId="ADAL" clId="{F979C8B0-72E3-4D3D-95A6-DC7ECDDD3ECC}" dt="2023-09-25T08:38:33.180" v="2510" actId="12789"/>
          <ac:spMkLst>
            <pc:docMk/>
            <pc:sldMk cId="3424562154" sldId="2147471329"/>
            <ac:spMk id="47" creationId="{98FB7D55-D995-885C-75FB-95A935A18093}"/>
          </ac:spMkLst>
        </pc:spChg>
        <pc:spChg chg="del">
          <ac:chgData name="Paul LEGEARD" userId="73b5704d-da1d-4b70-8e12-6d54d32b01a3" providerId="ADAL" clId="{F979C8B0-72E3-4D3D-95A6-DC7ECDDD3ECC}" dt="2023-09-20T13:48:20.755" v="1316" actId="478"/>
          <ac:spMkLst>
            <pc:docMk/>
            <pc:sldMk cId="3424562154" sldId="2147471329"/>
            <ac:spMk id="63" creationId="{6FCA3EC8-5A48-9DF2-10E4-975E9FD57E5F}"/>
          </ac:spMkLst>
        </pc:spChg>
        <pc:spChg chg="mod">
          <ac:chgData name="Paul LEGEARD" userId="73b5704d-da1d-4b70-8e12-6d54d32b01a3" providerId="ADAL" clId="{F979C8B0-72E3-4D3D-95A6-DC7ECDDD3ECC}" dt="2023-09-25T08:38:46.834" v="2514" actId="1076"/>
          <ac:spMkLst>
            <pc:docMk/>
            <pc:sldMk cId="3424562154" sldId="2147471329"/>
            <ac:spMk id="79" creationId="{9007893F-DE3F-4277-8B72-135CF4773651}"/>
          </ac:spMkLst>
        </pc:spChg>
        <pc:spChg chg="del">
          <ac:chgData name="Paul LEGEARD" userId="73b5704d-da1d-4b70-8e12-6d54d32b01a3" providerId="ADAL" clId="{F979C8B0-72E3-4D3D-95A6-DC7ECDDD3ECC}" dt="2023-09-20T13:48:20.755" v="1316" actId="478"/>
          <ac:spMkLst>
            <pc:docMk/>
            <pc:sldMk cId="3424562154" sldId="2147471329"/>
            <ac:spMk id="102" creationId="{F9ECFEF9-F62B-C83B-C789-658F75ECD0B4}"/>
          </ac:spMkLst>
        </pc:spChg>
        <pc:grpChg chg="add mod">
          <ac:chgData name="Paul LEGEARD" userId="73b5704d-da1d-4b70-8e12-6d54d32b01a3" providerId="ADAL" clId="{F979C8B0-72E3-4D3D-95A6-DC7ECDDD3ECC}" dt="2023-09-20T13:50:45.406" v="1318"/>
          <ac:grpSpMkLst>
            <pc:docMk/>
            <pc:sldMk cId="3424562154" sldId="2147471329"/>
            <ac:grpSpMk id="12" creationId="{03417F21-AE8B-D73A-2379-6723E1845F63}"/>
          </ac:grpSpMkLst>
        </pc:grpChg>
        <pc:grpChg chg="add mod">
          <ac:chgData name="Paul LEGEARD" userId="73b5704d-da1d-4b70-8e12-6d54d32b01a3" providerId="ADAL" clId="{F979C8B0-72E3-4D3D-95A6-DC7ECDDD3ECC}" dt="2023-09-20T13:50:45.406" v="1318"/>
          <ac:grpSpMkLst>
            <pc:docMk/>
            <pc:sldMk cId="3424562154" sldId="2147471329"/>
            <ac:grpSpMk id="17" creationId="{AEC0CA89-3D4D-8DC5-C1C7-25265E1A033F}"/>
          </ac:grpSpMkLst>
        </pc:grpChg>
        <pc:grpChg chg="add mod">
          <ac:chgData name="Paul LEGEARD" userId="73b5704d-da1d-4b70-8e12-6d54d32b01a3" providerId="ADAL" clId="{F979C8B0-72E3-4D3D-95A6-DC7ECDDD3ECC}" dt="2023-09-20T13:50:45.406" v="1318"/>
          <ac:grpSpMkLst>
            <pc:docMk/>
            <pc:sldMk cId="3424562154" sldId="2147471329"/>
            <ac:grpSpMk id="25" creationId="{C5906032-0730-E738-9079-5C9C614002CC}"/>
          </ac:grpSpMkLst>
        </pc:grpChg>
        <pc:grpChg chg="del">
          <ac:chgData name="Paul LEGEARD" userId="73b5704d-da1d-4b70-8e12-6d54d32b01a3" providerId="ADAL" clId="{F979C8B0-72E3-4D3D-95A6-DC7ECDDD3ECC}" dt="2023-09-20T13:48:20.755" v="1316" actId="478"/>
          <ac:grpSpMkLst>
            <pc:docMk/>
            <pc:sldMk cId="3424562154" sldId="2147471329"/>
            <ac:grpSpMk id="84" creationId="{37A3BA35-D65F-5153-4D5F-AF2A35A2D01E}"/>
          </ac:grpSpMkLst>
        </pc:grpChg>
        <pc:grpChg chg="del">
          <ac:chgData name="Paul LEGEARD" userId="73b5704d-da1d-4b70-8e12-6d54d32b01a3" providerId="ADAL" clId="{F979C8B0-72E3-4D3D-95A6-DC7ECDDD3ECC}" dt="2023-09-20T13:48:20.755" v="1316" actId="478"/>
          <ac:grpSpMkLst>
            <pc:docMk/>
            <pc:sldMk cId="3424562154" sldId="2147471329"/>
            <ac:grpSpMk id="85" creationId="{4D4CC50A-4C82-CA11-3076-9EC7BB2E1F4B}"/>
          </ac:grpSpMkLst>
        </pc:grpChg>
        <pc:grpChg chg="del">
          <ac:chgData name="Paul LEGEARD" userId="73b5704d-da1d-4b70-8e12-6d54d32b01a3" providerId="ADAL" clId="{F979C8B0-72E3-4D3D-95A6-DC7ECDDD3ECC}" dt="2023-09-20T13:48:20.755" v="1316" actId="478"/>
          <ac:grpSpMkLst>
            <pc:docMk/>
            <pc:sldMk cId="3424562154" sldId="2147471329"/>
            <ac:grpSpMk id="95" creationId="{B5358DD1-B4B4-195D-8095-FCADBE0D5FDF}"/>
          </ac:grpSpMkLst>
        </pc:grpChg>
        <pc:grpChg chg="del">
          <ac:chgData name="Paul LEGEARD" userId="73b5704d-da1d-4b70-8e12-6d54d32b01a3" providerId="ADAL" clId="{F979C8B0-72E3-4D3D-95A6-DC7ECDDD3ECC}" dt="2023-09-20T13:48:20.755" v="1316" actId="478"/>
          <ac:grpSpMkLst>
            <pc:docMk/>
            <pc:sldMk cId="3424562154" sldId="2147471329"/>
            <ac:grpSpMk id="100" creationId="{377EC751-52A0-C9BA-7148-39A4C6425BAF}"/>
          </ac:grpSpMkLst>
        </pc:grpChg>
        <pc:grpChg chg="del">
          <ac:chgData name="Paul LEGEARD" userId="73b5704d-da1d-4b70-8e12-6d54d32b01a3" providerId="ADAL" clId="{F979C8B0-72E3-4D3D-95A6-DC7ECDDD3ECC}" dt="2023-09-20T13:48:20.755" v="1316" actId="478"/>
          <ac:grpSpMkLst>
            <pc:docMk/>
            <pc:sldMk cId="3424562154" sldId="2147471329"/>
            <ac:grpSpMk id="101" creationId="{844BA70C-A6E6-E2FC-B599-8A69572A392B}"/>
          </ac:grpSpMkLst>
        </pc:grpChg>
        <pc:grpChg chg="del">
          <ac:chgData name="Paul LEGEARD" userId="73b5704d-da1d-4b70-8e12-6d54d32b01a3" providerId="ADAL" clId="{F979C8B0-72E3-4D3D-95A6-DC7ECDDD3ECC}" dt="2023-09-20T13:48:20.755" v="1316" actId="478"/>
          <ac:grpSpMkLst>
            <pc:docMk/>
            <pc:sldMk cId="3424562154" sldId="2147471329"/>
            <ac:grpSpMk id="143" creationId="{0A008D09-D710-5BB5-6F94-800C9481FD54}"/>
          </ac:grpSpMkLst>
        </pc:grpChg>
        <pc:grpChg chg="del">
          <ac:chgData name="Paul LEGEARD" userId="73b5704d-da1d-4b70-8e12-6d54d32b01a3" providerId="ADAL" clId="{F979C8B0-72E3-4D3D-95A6-DC7ECDDD3ECC}" dt="2023-09-20T13:48:20.755" v="1316" actId="478"/>
          <ac:grpSpMkLst>
            <pc:docMk/>
            <pc:sldMk cId="3424562154" sldId="2147471329"/>
            <ac:grpSpMk id="147" creationId="{FF3164B5-2D25-5455-2D7E-CE106761313B}"/>
          </ac:grpSpMkLst>
        </pc:grpChg>
        <pc:grpChg chg="del">
          <ac:chgData name="Paul LEGEARD" userId="73b5704d-da1d-4b70-8e12-6d54d32b01a3" providerId="ADAL" clId="{F979C8B0-72E3-4D3D-95A6-DC7ECDDD3ECC}" dt="2023-09-20T13:48:20.755" v="1316" actId="478"/>
          <ac:grpSpMkLst>
            <pc:docMk/>
            <pc:sldMk cId="3424562154" sldId="2147471329"/>
            <ac:grpSpMk id="148" creationId="{18A95DEC-F387-0C3F-ABE3-F0E96AF15BB0}"/>
          </ac:grpSpMkLst>
        </pc:grpChg>
        <pc:grpChg chg="del">
          <ac:chgData name="Paul LEGEARD" userId="73b5704d-da1d-4b70-8e12-6d54d32b01a3" providerId="ADAL" clId="{F979C8B0-72E3-4D3D-95A6-DC7ECDDD3ECC}" dt="2023-09-20T13:48:20.755" v="1316" actId="478"/>
          <ac:grpSpMkLst>
            <pc:docMk/>
            <pc:sldMk cId="3424562154" sldId="2147471329"/>
            <ac:grpSpMk id="149" creationId="{7F44572C-1DA9-23B1-B4D1-51F8611F2307}"/>
          </ac:grpSpMkLst>
        </pc:grpChg>
        <pc:grpChg chg="del">
          <ac:chgData name="Paul LEGEARD" userId="73b5704d-da1d-4b70-8e12-6d54d32b01a3" providerId="ADAL" clId="{F979C8B0-72E3-4D3D-95A6-DC7ECDDD3ECC}" dt="2023-09-20T13:48:20.755" v="1316" actId="478"/>
          <ac:grpSpMkLst>
            <pc:docMk/>
            <pc:sldMk cId="3424562154" sldId="2147471329"/>
            <ac:grpSpMk id="150" creationId="{FC23FA13-596D-1FCA-F241-65F57C55207A}"/>
          </ac:grpSpMkLst>
        </pc:grpChg>
        <pc:grpChg chg="del">
          <ac:chgData name="Paul LEGEARD" userId="73b5704d-da1d-4b70-8e12-6d54d32b01a3" providerId="ADAL" clId="{F979C8B0-72E3-4D3D-95A6-DC7ECDDD3ECC}" dt="2023-09-20T13:48:20.755" v="1316" actId="478"/>
          <ac:grpSpMkLst>
            <pc:docMk/>
            <pc:sldMk cId="3424562154" sldId="2147471329"/>
            <ac:grpSpMk id="151" creationId="{6B3DECA7-2CBD-D28B-2482-53603AAD1C13}"/>
          </ac:grpSpMkLst>
        </pc:grpChg>
        <pc:picChg chg="add mod">
          <ac:chgData name="Paul LEGEARD" userId="73b5704d-da1d-4b70-8e12-6d54d32b01a3" providerId="ADAL" clId="{F979C8B0-72E3-4D3D-95A6-DC7ECDDD3ECC}" dt="2023-09-20T13:50:45.406" v="1318"/>
          <ac:picMkLst>
            <pc:docMk/>
            <pc:sldMk cId="3424562154" sldId="2147471329"/>
            <ac:picMk id="31" creationId="{56672727-E616-4EA5-2942-D845831BC724}"/>
          </ac:picMkLst>
        </pc:picChg>
        <pc:picChg chg="add mod">
          <ac:chgData name="Paul LEGEARD" userId="73b5704d-da1d-4b70-8e12-6d54d32b01a3" providerId="ADAL" clId="{F979C8B0-72E3-4D3D-95A6-DC7ECDDD3ECC}" dt="2023-09-20T13:50:45.406" v="1318"/>
          <ac:picMkLst>
            <pc:docMk/>
            <pc:sldMk cId="3424562154" sldId="2147471329"/>
            <ac:picMk id="32" creationId="{0A234E6F-DF85-2CDB-8026-8C743717BC32}"/>
          </ac:picMkLst>
        </pc:picChg>
        <pc:picChg chg="add mod">
          <ac:chgData name="Paul LEGEARD" userId="73b5704d-da1d-4b70-8e12-6d54d32b01a3" providerId="ADAL" clId="{F979C8B0-72E3-4D3D-95A6-DC7ECDDD3ECC}" dt="2023-09-20T13:50:45.406" v="1318"/>
          <ac:picMkLst>
            <pc:docMk/>
            <pc:sldMk cId="3424562154" sldId="2147471329"/>
            <ac:picMk id="33" creationId="{38B124C5-9541-4EFE-E022-2EB9FDE2B25D}"/>
          </ac:picMkLst>
        </pc:picChg>
        <pc:picChg chg="add mod">
          <ac:chgData name="Paul LEGEARD" userId="73b5704d-da1d-4b70-8e12-6d54d32b01a3" providerId="ADAL" clId="{F979C8B0-72E3-4D3D-95A6-DC7ECDDD3ECC}" dt="2023-09-20T13:50:45.406" v="1318"/>
          <ac:picMkLst>
            <pc:docMk/>
            <pc:sldMk cId="3424562154" sldId="2147471329"/>
            <ac:picMk id="34" creationId="{F23D614B-E690-36BE-5391-5FEFBDD3E56D}"/>
          </ac:picMkLst>
        </pc:picChg>
        <pc:picChg chg="add mod">
          <ac:chgData name="Paul LEGEARD" userId="73b5704d-da1d-4b70-8e12-6d54d32b01a3" providerId="ADAL" clId="{F979C8B0-72E3-4D3D-95A6-DC7ECDDD3ECC}" dt="2023-09-20T13:50:45.406" v="1318"/>
          <ac:picMkLst>
            <pc:docMk/>
            <pc:sldMk cId="3424562154" sldId="2147471329"/>
            <ac:picMk id="35" creationId="{3AAEC1F6-B58E-3C34-108D-D02593626373}"/>
          </ac:picMkLst>
        </pc:picChg>
        <pc:picChg chg="add mod">
          <ac:chgData name="Paul LEGEARD" userId="73b5704d-da1d-4b70-8e12-6d54d32b01a3" providerId="ADAL" clId="{F979C8B0-72E3-4D3D-95A6-DC7ECDDD3ECC}" dt="2023-09-20T13:50:45.406" v="1318"/>
          <ac:picMkLst>
            <pc:docMk/>
            <pc:sldMk cId="3424562154" sldId="2147471329"/>
            <ac:picMk id="36" creationId="{1FD7C915-E117-E803-CC78-879409119465}"/>
          </ac:picMkLst>
        </pc:picChg>
        <pc:picChg chg="add mod">
          <ac:chgData name="Paul LEGEARD" userId="73b5704d-da1d-4b70-8e12-6d54d32b01a3" providerId="ADAL" clId="{F979C8B0-72E3-4D3D-95A6-DC7ECDDD3ECC}" dt="2023-09-25T08:38:51.523" v="2524" actId="1036"/>
          <ac:picMkLst>
            <pc:docMk/>
            <pc:sldMk cId="3424562154" sldId="2147471329"/>
            <ac:picMk id="40" creationId="{12CC8892-4D86-82C7-E442-DC2D7BACD8A6}"/>
          </ac:picMkLst>
        </pc:picChg>
        <pc:picChg chg="add mod">
          <ac:chgData name="Paul LEGEARD" userId="73b5704d-da1d-4b70-8e12-6d54d32b01a3" providerId="ADAL" clId="{F979C8B0-72E3-4D3D-95A6-DC7ECDDD3ECC}" dt="2023-09-25T08:38:42.140" v="2511" actId="1076"/>
          <ac:picMkLst>
            <pc:docMk/>
            <pc:sldMk cId="3424562154" sldId="2147471329"/>
            <ac:picMk id="44" creationId="{7E4C4D0B-313F-255E-500D-4628B49A6967}"/>
          </ac:picMkLst>
        </pc:picChg>
        <pc:picChg chg="add mod">
          <ac:chgData name="Paul LEGEARD" userId="73b5704d-da1d-4b70-8e12-6d54d32b01a3" providerId="ADAL" clId="{F979C8B0-72E3-4D3D-95A6-DC7ECDDD3ECC}" dt="2023-09-25T08:38:33.180" v="2510" actId="12789"/>
          <ac:picMkLst>
            <pc:docMk/>
            <pc:sldMk cId="3424562154" sldId="2147471329"/>
            <ac:picMk id="49" creationId="{ED73C1F1-6D29-07FE-E7A5-F1EC2117A0C7}"/>
          </ac:picMkLst>
        </pc:picChg>
        <pc:picChg chg="del">
          <ac:chgData name="Paul LEGEARD" userId="73b5704d-da1d-4b70-8e12-6d54d32b01a3" providerId="ADAL" clId="{F979C8B0-72E3-4D3D-95A6-DC7ECDDD3ECC}" dt="2023-09-20T13:48:20.755" v="1316" actId="478"/>
          <ac:picMkLst>
            <pc:docMk/>
            <pc:sldMk cId="3424562154" sldId="2147471329"/>
            <ac:picMk id="152" creationId="{5E2772B7-3B6B-4F35-6728-F01AC38A6A20}"/>
          </ac:picMkLst>
        </pc:picChg>
        <pc:cxnChg chg="del">
          <ac:chgData name="Paul LEGEARD" userId="73b5704d-da1d-4b70-8e12-6d54d32b01a3" providerId="ADAL" clId="{F979C8B0-72E3-4D3D-95A6-DC7ECDDD3ECC}" dt="2023-09-20T13:48:20.755" v="1316" actId="478"/>
          <ac:cxnSpMkLst>
            <pc:docMk/>
            <pc:sldMk cId="3424562154" sldId="2147471329"/>
            <ac:cxnSpMk id="3" creationId="{072DBC73-B049-0F94-EFBB-E950D221720E}"/>
          </ac:cxnSpMkLst>
        </pc:cxnChg>
        <pc:cxnChg chg="del">
          <ac:chgData name="Paul LEGEARD" userId="73b5704d-da1d-4b70-8e12-6d54d32b01a3" providerId="ADAL" clId="{F979C8B0-72E3-4D3D-95A6-DC7ECDDD3ECC}" dt="2023-09-20T13:48:20.755" v="1316" actId="478"/>
          <ac:cxnSpMkLst>
            <pc:docMk/>
            <pc:sldMk cId="3424562154" sldId="2147471329"/>
            <ac:cxnSpMk id="60" creationId="{7BD1BF1F-230B-D82C-80A0-441278E22926}"/>
          </ac:cxnSpMkLst>
        </pc:cxnChg>
      </pc:sldChg>
      <pc:sldChg chg="addSp delSp modSp add mod">
        <pc:chgData name="Paul LEGEARD" userId="73b5704d-da1d-4b70-8e12-6d54d32b01a3" providerId="ADAL" clId="{F979C8B0-72E3-4D3D-95A6-DC7ECDDD3ECC}" dt="2023-10-13T12:01:55.702" v="7967" actId="14100"/>
        <pc:sldMkLst>
          <pc:docMk/>
          <pc:sldMk cId="1428402382" sldId="2147471330"/>
        </pc:sldMkLst>
        <pc:spChg chg="add del mod">
          <ac:chgData name="Paul LEGEARD" userId="73b5704d-da1d-4b70-8e12-6d54d32b01a3" providerId="ADAL" clId="{F979C8B0-72E3-4D3D-95A6-DC7ECDDD3ECC}" dt="2023-09-25T08:40:08.192" v="2526"/>
          <ac:spMkLst>
            <pc:docMk/>
            <pc:sldMk cId="1428402382" sldId="2147471330"/>
            <ac:spMk id="3" creationId="{4A9D7F1E-CC20-9DBE-79F1-5BE2170CAEB0}"/>
          </ac:spMkLst>
        </pc:spChg>
        <pc:spChg chg="add mod">
          <ac:chgData name="Paul LEGEARD" userId="73b5704d-da1d-4b70-8e12-6d54d32b01a3" providerId="ADAL" clId="{F979C8B0-72E3-4D3D-95A6-DC7ECDDD3ECC}" dt="2023-09-20T13:55:33.909" v="1632" actId="1076"/>
          <ac:spMkLst>
            <pc:docMk/>
            <pc:sldMk cId="1428402382" sldId="2147471330"/>
            <ac:spMk id="6" creationId="{9BA66A5E-F7F2-374B-B0FB-27EFFD1098DF}"/>
          </ac:spMkLst>
        </pc:spChg>
        <pc:spChg chg="add mod">
          <ac:chgData name="Paul LEGEARD" userId="73b5704d-da1d-4b70-8e12-6d54d32b01a3" providerId="ADAL" clId="{F979C8B0-72E3-4D3D-95A6-DC7ECDDD3ECC}" dt="2023-09-20T13:55:33.909" v="1632" actId="1076"/>
          <ac:spMkLst>
            <pc:docMk/>
            <pc:sldMk cId="1428402382" sldId="2147471330"/>
            <ac:spMk id="7" creationId="{D581214D-3E93-56EE-730F-A4505BA6DE87}"/>
          </ac:spMkLst>
        </pc:spChg>
        <pc:spChg chg="mod topLvl">
          <ac:chgData name="Paul LEGEARD" userId="73b5704d-da1d-4b70-8e12-6d54d32b01a3" providerId="ADAL" clId="{F979C8B0-72E3-4D3D-95A6-DC7ECDDD3ECC}" dt="2023-09-25T08:42:09.149" v="2652" actId="14100"/>
          <ac:spMkLst>
            <pc:docMk/>
            <pc:sldMk cId="1428402382" sldId="2147471330"/>
            <ac:spMk id="8" creationId="{8810305F-13AE-19C4-0BCA-3A98B35EB76F}"/>
          </ac:spMkLst>
        </pc:spChg>
        <pc:spChg chg="mod">
          <ac:chgData name="Paul LEGEARD" userId="73b5704d-da1d-4b70-8e12-6d54d32b01a3" providerId="ADAL" clId="{F979C8B0-72E3-4D3D-95A6-DC7ECDDD3ECC}" dt="2023-09-25T08:44:43.144" v="2801" actId="207"/>
          <ac:spMkLst>
            <pc:docMk/>
            <pc:sldMk cId="1428402382" sldId="2147471330"/>
            <ac:spMk id="9" creationId="{E72B2137-F417-0F5F-05A3-0CFE093DE742}"/>
          </ac:spMkLst>
        </pc:spChg>
        <pc:spChg chg="add mod">
          <ac:chgData name="Paul LEGEARD" userId="73b5704d-da1d-4b70-8e12-6d54d32b01a3" providerId="ADAL" clId="{F979C8B0-72E3-4D3D-95A6-DC7ECDDD3ECC}" dt="2023-09-20T13:55:33.909" v="1632" actId="1076"/>
          <ac:spMkLst>
            <pc:docMk/>
            <pc:sldMk cId="1428402382" sldId="2147471330"/>
            <ac:spMk id="9" creationId="{F252C188-CC2E-034F-6D21-84B20AB65451}"/>
          </ac:spMkLst>
        </pc:spChg>
        <pc:spChg chg="del">
          <ac:chgData name="Paul LEGEARD" userId="73b5704d-da1d-4b70-8e12-6d54d32b01a3" providerId="ADAL" clId="{F979C8B0-72E3-4D3D-95A6-DC7ECDDD3ECC}" dt="2023-09-20T13:54:25.758" v="1609" actId="478"/>
          <ac:spMkLst>
            <pc:docMk/>
            <pc:sldMk cId="1428402382" sldId="2147471330"/>
            <ac:spMk id="10" creationId="{8358D74C-4804-E26A-A663-A72EC1B44D29}"/>
          </ac:spMkLst>
        </pc:spChg>
        <pc:spChg chg="add mod">
          <ac:chgData name="Paul LEGEARD" userId="73b5704d-da1d-4b70-8e12-6d54d32b01a3" providerId="ADAL" clId="{F979C8B0-72E3-4D3D-95A6-DC7ECDDD3ECC}" dt="2023-09-20T13:55:33.909" v="1632" actId="1076"/>
          <ac:spMkLst>
            <pc:docMk/>
            <pc:sldMk cId="1428402382" sldId="2147471330"/>
            <ac:spMk id="11" creationId="{1B79F760-5212-FF5C-610F-A53C57E89456}"/>
          </ac:spMkLst>
        </pc:spChg>
        <pc:spChg chg="del mod topLvl">
          <ac:chgData name="Paul LEGEARD" userId="73b5704d-da1d-4b70-8e12-6d54d32b01a3" providerId="ADAL" clId="{F979C8B0-72E3-4D3D-95A6-DC7ECDDD3ECC}" dt="2023-09-25T08:40:34.158" v="2552" actId="478"/>
          <ac:spMkLst>
            <pc:docMk/>
            <pc:sldMk cId="1428402382" sldId="2147471330"/>
            <ac:spMk id="11" creationId="{C7AF64BE-A1DB-6575-0ED9-2FBFFDA34EC9}"/>
          </ac:spMkLst>
        </pc:spChg>
        <pc:spChg chg="del mod topLvl">
          <ac:chgData name="Paul LEGEARD" userId="73b5704d-da1d-4b70-8e12-6d54d32b01a3" providerId="ADAL" clId="{F979C8B0-72E3-4D3D-95A6-DC7ECDDD3ECC}" dt="2023-09-25T08:40:41.356" v="2556" actId="478"/>
          <ac:spMkLst>
            <pc:docMk/>
            <pc:sldMk cId="1428402382" sldId="2147471330"/>
            <ac:spMk id="16" creationId="{71DD2C43-B843-867A-C00E-D07649ACA7B3}"/>
          </ac:spMkLst>
        </pc:spChg>
        <pc:spChg chg="add mod">
          <ac:chgData name="Paul LEGEARD" userId="73b5704d-da1d-4b70-8e12-6d54d32b01a3" providerId="ADAL" clId="{F979C8B0-72E3-4D3D-95A6-DC7ECDDD3ECC}" dt="2023-09-20T13:55:33.909" v="1632" actId="1076"/>
          <ac:spMkLst>
            <pc:docMk/>
            <pc:sldMk cId="1428402382" sldId="2147471330"/>
            <ac:spMk id="16" creationId="{A8578F6A-C7A0-CD14-B7EC-3669CE33598D}"/>
          </ac:spMkLst>
        </pc:spChg>
        <pc:spChg chg="add mod">
          <ac:chgData name="Paul LEGEARD" userId="73b5704d-da1d-4b70-8e12-6d54d32b01a3" providerId="ADAL" clId="{F979C8B0-72E3-4D3D-95A6-DC7ECDDD3ECC}" dt="2023-09-25T08:43:37.497" v="2676" actId="14100"/>
          <ac:spMkLst>
            <pc:docMk/>
            <pc:sldMk cId="1428402382" sldId="2147471330"/>
            <ac:spMk id="17" creationId="{EE41CE71-55C9-8D72-A115-088DA0DBD874}"/>
          </ac:spMkLst>
        </pc:spChg>
        <pc:spChg chg="add mod">
          <ac:chgData name="Paul LEGEARD" userId="73b5704d-da1d-4b70-8e12-6d54d32b01a3" providerId="ADAL" clId="{F979C8B0-72E3-4D3D-95A6-DC7ECDDD3ECC}" dt="2023-09-25T08:44:21.086" v="2735" actId="14100"/>
          <ac:spMkLst>
            <pc:docMk/>
            <pc:sldMk cId="1428402382" sldId="2147471330"/>
            <ac:spMk id="21" creationId="{A5D1E60D-E1A0-8C47-E6FA-5E9534FF1446}"/>
          </ac:spMkLst>
        </pc:spChg>
        <pc:spChg chg="add mod">
          <ac:chgData name="Paul LEGEARD" userId="73b5704d-da1d-4b70-8e12-6d54d32b01a3" providerId="ADAL" clId="{F979C8B0-72E3-4D3D-95A6-DC7ECDDD3ECC}" dt="2023-09-25T08:44:22.283" v="2736" actId="1076"/>
          <ac:spMkLst>
            <pc:docMk/>
            <pc:sldMk cId="1428402382" sldId="2147471330"/>
            <ac:spMk id="22" creationId="{2A7CCB27-1FBF-5A83-ACE8-CEFB25E2D9D9}"/>
          </ac:spMkLst>
        </pc:spChg>
        <pc:spChg chg="add mod">
          <ac:chgData name="Paul LEGEARD" userId="73b5704d-da1d-4b70-8e12-6d54d32b01a3" providerId="ADAL" clId="{F979C8B0-72E3-4D3D-95A6-DC7ECDDD3ECC}" dt="2023-09-25T08:44:33.477" v="2799" actId="20577"/>
          <ac:spMkLst>
            <pc:docMk/>
            <pc:sldMk cId="1428402382" sldId="2147471330"/>
            <ac:spMk id="23" creationId="{9910EE84-5F08-1C3A-8DFF-33FACCEE4D10}"/>
          </ac:spMkLst>
        </pc:spChg>
        <pc:spChg chg="add mod">
          <ac:chgData name="Paul LEGEARD" userId="73b5704d-da1d-4b70-8e12-6d54d32b01a3" providerId="ADAL" clId="{F979C8B0-72E3-4D3D-95A6-DC7ECDDD3ECC}" dt="2023-09-20T13:55:33.909" v="1632" actId="1076"/>
          <ac:spMkLst>
            <pc:docMk/>
            <pc:sldMk cId="1428402382" sldId="2147471330"/>
            <ac:spMk id="24" creationId="{3A0EAACB-32B3-04D5-0EF6-4E136F76E695}"/>
          </ac:spMkLst>
        </pc:spChg>
        <pc:spChg chg="mod">
          <ac:chgData name="Paul LEGEARD" userId="73b5704d-da1d-4b70-8e12-6d54d32b01a3" providerId="ADAL" clId="{F979C8B0-72E3-4D3D-95A6-DC7ECDDD3ECC}" dt="2023-10-13T12:01:55.702" v="7967" actId="14100"/>
          <ac:spMkLst>
            <pc:docMk/>
            <pc:sldMk cId="1428402382" sldId="2147471330"/>
            <ac:spMk id="28" creationId="{D509D931-8D05-5404-B8C2-60F2937A3CB8}"/>
          </ac:spMkLst>
        </pc:spChg>
        <pc:spChg chg="del">
          <ac:chgData name="Paul LEGEARD" userId="73b5704d-da1d-4b70-8e12-6d54d32b01a3" providerId="ADAL" clId="{F979C8B0-72E3-4D3D-95A6-DC7ECDDD3ECC}" dt="2023-09-20T13:54:25.758" v="1609" actId="478"/>
          <ac:spMkLst>
            <pc:docMk/>
            <pc:sldMk cId="1428402382" sldId="2147471330"/>
            <ac:spMk id="63" creationId="{6FCA3EC8-5A48-9DF2-10E4-975E9FD57E5F}"/>
          </ac:spMkLst>
        </pc:spChg>
        <pc:spChg chg="mod">
          <ac:chgData name="Paul LEGEARD" userId="73b5704d-da1d-4b70-8e12-6d54d32b01a3" providerId="ADAL" clId="{F979C8B0-72E3-4D3D-95A6-DC7ECDDD3ECC}" dt="2023-09-20T13:55:17.348" v="1628" actId="20577"/>
          <ac:spMkLst>
            <pc:docMk/>
            <pc:sldMk cId="1428402382" sldId="2147471330"/>
            <ac:spMk id="79" creationId="{9007893F-DE3F-4277-8B72-135CF4773651}"/>
          </ac:spMkLst>
        </pc:spChg>
        <pc:spChg chg="del">
          <ac:chgData name="Paul LEGEARD" userId="73b5704d-da1d-4b70-8e12-6d54d32b01a3" providerId="ADAL" clId="{F979C8B0-72E3-4D3D-95A6-DC7ECDDD3ECC}" dt="2023-09-20T13:54:25.758" v="1609" actId="478"/>
          <ac:spMkLst>
            <pc:docMk/>
            <pc:sldMk cId="1428402382" sldId="2147471330"/>
            <ac:spMk id="102" creationId="{F9ECFEF9-F62B-C83B-C789-658F75ECD0B4}"/>
          </ac:spMkLst>
        </pc:spChg>
        <pc:grpChg chg="add del mod">
          <ac:chgData name="Paul LEGEARD" userId="73b5704d-da1d-4b70-8e12-6d54d32b01a3" providerId="ADAL" clId="{F979C8B0-72E3-4D3D-95A6-DC7ECDDD3ECC}" dt="2023-09-25T08:40:24.200" v="2549" actId="165"/>
          <ac:grpSpMkLst>
            <pc:docMk/>
            <pc:sldMk cId="1428402382" sldId="2147471330"/>
            <ac:grpSpMk id="6" creationId="{C3ECC483-72F1-6A18-A330-2E1DB485BAB6}"/>
          </ac:grpSpMkLst>
        </pc:grpChg>
        <pc:grpChg chg="del">
          <ac:chgData name="Paul LEGEARD" userId="73b5704d-da1d-4b70-8e12-6d54d32b01a3" providerId="ADAL" clId="{F979C8B0-72E3-4D3D-95A6-DC7ECDDD3ECC}" dt="2023-09-20T13:54:25.758" v="1609" actId="478"/>
          <ac:grpSpMkLst>
            <pc:docMk/>
            <pc:sldMk cId="1428402382" sldId="2147471330"/>
            <ac:grpSpMk id="84" creationId="{37A3BA35-D65F-5153-4D5F-AF2A35A2D01E}"/>
          </ac:grpSpMkLst>
        </pc:grpChg>
        <pc:grpChg chg="del">
          <ac:chgData name="Paul LEGEARD" userId="73b5704d-da1d-4b70-8e12-6d54d32b01a3" providerId="ADAL" clId="{F979C8B0-72E3-4D3D-95A6-DC7ECDDD3ECC}" dt="2023-09-20T13:54:25.758" v="1609" actId="478"/>
          <ac:grpSpMkLst>
            <pc:docMk/>
            <pc:sldMk cId="1428402382" sldId="2147471330"/>
            <ac:grpSpMk id="85" creationId="{4D4CC50A-4C82-CA11-3076-9EC7BB2E1F4B}"/>
          </ac:grpSpMkLst>
        </pc:grpChg>
        <pc:grpChg chg="del">
          <ac:chgData name="Paul LEGEARD" userId="73b5704d-da1d-4b70-8e12-6d54d32b01a3" providerId="ADAL" clId="{F979C8B0-72E3-4D3D-95A6-DC7ECDDD3ECC}" dt="2023-09-20T13:54:25.758" v="1609" actId="478"/>
          <ac:grpSpMkLst>
            <pc:docMk/>
            <pc:sldMk cId="1428402382" sldId="2147471330"/>
            <ac:grpSpMk id="95" creationId="{B5358DD1-B4B4-195D-8095-FCADBE0D5FDF}"/>
          </ac:grpSpMkLst>
        </pc:grpChg>
        <pc:grpChg chg="del">
          <ac:chgData name="Paul LEGEARD" userId="73b5704d-da1d-4b70-8e12-6d54d32b01a3" providerId="ADAL" clId="{F979C8B0-72E3-4D3D-95A6-DC7ECDDD3ECC}" dt="2023-09-20T13:54:25.758" v="1609" actId="478"/>
          <ac:grpSpMkLst>
            <pc:docMk/>
            <pc:sldMk cId="1428402382" sldId="2147471330"/>
            <ac:grpSpMk id="100" creationId="{377EC751-52A0-C9BA-7148-39A4C6425BAF}"/>
          </ac:grpSpMkLst>
        </pc:grpChg>
        <pc:grpChg chg="del">
          <ac:chgData name="Paul LEGEARD" userId="73b5704d-da1d-4b70-8e12-6d54d32b01a3" providerId="ADAL" clId="{F979C8B0-72E3-4D3D-95A6-DC7ECDDD3ECC}" dt="2023-09-20T13:54:25.758" v="1609" actId="478"/>
          <ac:grpSpMkLst>
            <pc:docMk/>
            <pc:sldMk cId="1428402382" sldId="2147471330"/>
            <ac:grpSpMk id="101" creationId="{844BA70C-A6E6-E2FC-B599-8A69572A392B}"/>
          </ac:grpSpMkLst>
        </pc:grpChg>
        <pc:grpChg chg="del">
          <ac:chgData name="Paul LEGEARD" userId="73b5704d-da1d-4b70-8e12-6d54d32b01a3" providerId="ADAL" clId="{F979C8B0-72E3-4D3D-95A6-DC7ECDDD3ECC}" dt="2023-09-20T13:54:25.758" v="1609" actId="478"/>
          <ac:grpSpMkLst>
            <pc:docMk/>
            <pc:sldMk cId="1428402382" sldId="2147471330"/>
            <ac:grpSpMk id="143" creationId="{0A008D09-D710-5BB5-6F94-800C9481FD54}"/>
          </ac:grpSpMkLst>
        </pc:grpChg>
        <pc:grpChg chg="del">
          <ac:chgData name="Paul LEGEARD" userId="73b5704d-da1d-4b70-8e12-6d54d32b01a3" providerId="ADAL" clId="{F979C8B0-72E3-4D3D-95A6-DC7ECDDD3ECC}" dt="2023-09-20T13:54:25.758" v="1609" actId="478"/>
          <ac:grpSpMkLst>
            <pc:docMk/>
            <pc:sldMk cId="1428402382" sldId="2147471330"/>
            <ac:grpSpMk id="147" creationId="{FF3164B5-2D25-5455-2D7E-CE106761313B}"/>
          </ac:grpSpMkLst>
        </pc:grpChg>
        <pc:grpChg chg="del">
          <ac:chgData name="Paul LEGEARD" userId="73b5704d-da1d-4b70-8e12-6d54d32b01a3" providerId="ADAL" clId="{F979C8B0-72E3-4D3D-95A6-DC7ECDDD3ECC}" dt="2023-09-20T13:54:25.758" v="1609" actId="478"/>
          <ac:grpSpMkLst>
            <pc:docMk/>
            <pc:sldMk cId="1428402382" sldId="2147471330"/>
            <ac:grpSpMk id="148" creationId="{18A95DEC-F387-0C3F-ABE3-F0E96AF15BB0}"/>
          </ac:grpSpMkLst>
        </pc:grpChg>
        <pc:grpChg chg="del">
          <ac:chgData name="Paul LEGEARD" userId="73b5704d-da1d-4b70-8e12-6d54d32b01a3" providerId="ADAL" clId="{F979C8B0-72E3-4D3D-95A6-DC7ECDDD3ECC}" dt="2023-09-20T13:54:25.758" v="1609" actId="478"/>
          <ac:grpSpMkLst>
            <pc:docMk/>
            <pc:sldMk cId="1428402382" sldId="2147471330"/>
            <ac:grpSpMk id="149" creationId="{7F44572C-1DA9-23B1-B4D1-51F8611F2307}"/>
          </ac:grpSpMkLst>
        </pc:grpChg>
        <pc:grpChg chg="del">
          <ac:chgData name="Paul LEGEARD" userId="73b5704d-da1d-4b70-8e12-6d54d32b01a3" providerId="ADAL" clId="{F979C8B0-72E3-4D3D-95A6-DC7ECDDD3ECC}" dt="2023-09-20T13:54:25.758" v="1609" actId="478"/>
          <ac:grpSpMkLst>
            <pc:docMk/>
            <pc:sldMk cId="1428402382" sldId="2147471330"/>
            <ac:grpSpMk id="150" creationId="{FC23FA13-596D-1FCA-F241-65F57C55207A}"/>
          </ac:grpSpMkLst>
        </pc:grpChg>
        <pc:grpChg chg="del">
          <ac:chgData name="Paul LEGEARD" userId="73b5704d-da1d-4b70-8e12-6d54d32b01a3" providerId="ADAL" clId="{F979C8B0-72E3-4D3D-95A6-DC7ECDDD3ECC}" dt="2023-09-20T13:54:25.758" v="1609" actId="478"/>
          <ac:grpSpMkLst>
            <pc:docMk/>
            <pc:sldMk cId="1428402382" sldId="2147471330"/>
            <ac:grpSpMk id="151" creationId="{6B3DECA7-2CBD-D28B-2482-53603AAD1C13}"/>
          </ac:grpSpMkLst>
        </pc:grpChg>
        <pc:graphicFrameChg chg="add mod">
          <ac:chgData name="Paul LEGEARD" userId="73b5704d-da1d-4b70-8e12-6d54d32b01a3" providerId="ADAL" clId="{F979C8B0-72E3-4D3D-95A6-DC7ECDDD3ECC}" dt="2023-09-25T08:43:47.316" v="2678" actId="1076"/>
          <ac:graphicFrameMkLst>
            <pc:docMk/>
            <pc:sldMk cId="1428402382" sldId="2147471330"/>
            <ac:graphicFrameMk id="12" creationId="{8A96CA9D-83BA-7859-2332-EFCC654ED0E6}"/>
          </ac:graphicFrameMkLst>
        </pc:graphicFrameChg>
        <pc:picChg chg="add mod">
          <ac:chgData name="Paul LEGEARD" userId="73b5704d-da1d-4b70-8e12-6d54d32b01a3" providerId="ADAL" clId="{F979C8B0-72E3-4D3D-95A6-DC7ECDDD3ECC}" dt="2023-09-20T13:55:33.909" v="1632" actId="1076"/>
          <ac:picMkLst>
            <pc:docMk/>
            <pc:sldMk cId="1428402382" sldId="2147471330"/>
            <ac:picMk id="8" creationId="{DDBB71B2-8F3F-7CB1-EF2C-06C15B64C659}"/>
          </ac:picMkLst>
        </pc:picChg>
        <pc:picChg chg="del mod topLvl">
          <ac:chgData name="Paul LEGEARD" userId="73b5704d-da1d-4b70-8e12-6d54d32b01a3" providerId="ADAL" clId="{F979C8B0-72E3-4D3D-95A6-DC7ECDDD3ECC}" dt="2023-09-25T08:40:29.415" v="2550" actId="478"/>
          <ac:picMkLst>
            <pc:docMk/>
            <pc:sldMk cId="1428402382" sldId="2147471330"/>
            <ac:picMk id="10" creationId="{E9270E49-0947-3BF2-FF74-B4C26E5022F6}"/>
          </ac:picMkLst>
        </pc:picChg>
        <pc:picChg chg="add mod">
          <ac:chgData name="Paul LEGEARD" userId="73b5704d-da1d-4b70-8e12-6d54d32b01a3" providerId="ADAL" clId="{F979C8B0-72E3-4D3D-95A6-DC7ECDDD3ECC}" dt="2023-09-25T08:43:47.316" v="2678" actId="1076"/>
          <ac:picMkLst>
            <pc:docMk/>
            <pc:sldMk cId="1428402382" sldId="2147471330"/>
            <ac:picMk id="13" creationId="{74FEF84A-371D-ECF7-A061-A61E3BA89823}"/>
          </ac:picMkLst>
        </pc:picChg>
        <pc:picChg chg="add mod">
          <ac:chgData name="Paul LEGEARD" userId="73b5704d-da1d-4b70-8e12-6d54d32b01a3" providerId="ADAL" clId="{F979C8B0-72E3-4D3D-95A6-DC7ECDDD3ECC}" dt="2023-09-25T08:43:47.316" v="2678" actId="1076"/>
          <ac:picMkLst>
            <pc:docMk/>
            <pc:sldMk cId="1428402382" sldId="2147471330"/>
            <ac:picMk id="14" creationId="{5EB87515-6510-241B-1B0D-9E40D31D66CF}"/>
          </ac:picMkLst>
        </pc:picChg>
        <pc:picChg chg="add mod">
          <ac:chgData name="Paul LEGEARD" userId="73b5704d-da1d-4b70-8e12-6d54d32b01a3" providerId="ADAL" clId="{F979C8B0-72E3-4D3D-95A6-DC7ECDDD3ECC}" dt="2023-09-25T08:43:47.316" v="2678" actId="1076"/>
          <ac:picMkLst>
            <pc:docMk/>
            <pc:sldMk cId="1428402382" sldId="2147471330"/>
            <ac:picMk id="15" creationId="{B6087CDC-837F-20A4-C903-41E565F2B036}"/>
          </ac:picMkLst>
        </pc:picChg>
        <pc:picChg chg="add mod">
          <ac:chgData name="Paul LEGEARD" userId="73b5704d-da1d-4b70-8e12-6d54d32b01a3" providerId="ADAL" clId="{F979C8B0-72E3-4D3D-95A6-DC7ECDDD3ECC}" dt="2023-09-20T13:55:33.909" v="1632" actId="1076"/>
          <ac:picMkLst>
            <pc:docMk/>
            <pc:sldMk cId="1428402382" sldId="2147471330"/>
            <ac:picMk id="17" creationId="{ABC4CB1D-5FB8-08D8-B18F-968AEC93AF23}"/>
          </ac:picMkLst>
        </pc:picChg>
        <pc:picChg chg="add mod">
          <ac:chgData name="Paul LEGEARD" userId="73b5704d-da1d-4b70-8e12-6d54d32b01a3" providerId="ADAL" clId="{F979C8B0-72E3-4D3D-95A6-DC7ECDDD3ECC}" dt="2023-09-20T13:55:33.909" v="1632" actId="1076"/>
          <ac:picMkLst>
            <pc:docMk/>
            <pc:sldMk cId="1428402382" sldId="2147471330"/>
            <ac:picMk id="18" creationId="{FCD1669C-E306-8A4B-C588-DC92CEAEAC8E}"/>
          </ac:picMkLst>
        </pc:picChg>
        <pc:picChg chg="add mod">
          <ac:chgData name="Paul LEGEARD" userId="73b5704d-da1d-4b70-8e12-6d54d32b01a3" providerId="ADAL" clId="{F979C8B0-72E3-4D3D-95A6-DC7ECDDD3ECC}" dt="2023-09-25T08:43:33.525" v="2674" actId="1076"/>
          <ac:picMkLst>
            <pc:docMk/>
            <pc:sldMk cId="1428402382" sldId="2147471330"/>
            <ac:picMk id="19" creationId="{1BC91F4D-255C-7F95-1BDC-C52C6319522A}"/>
          </ac:picMkLst>
        </pc:picChg>
        <pc:picChg chg="add mod">
          <ac:chgData name="Paul LEGEARD" userId="73b5704d-da1d-4b70-8e12-6d54d32b01a3" providerId="ADAL" clId="{F979C8B0-72E3-4D3D-95A6-DC7ECDDD3ECC}" dt="2023-09-20T13:55:33.909" v="1632" actId="1076"/>
          <ac:picMkLst>
            <pc:docMk/>
            <pc:sldMk cId="1428402382" sldId="2147471330"/>
            <ac:picMk id="19" creationId="{93A9053D-866F-788E-332F-1DFE70AE9F9A}"/>
          </ac:picMkLst>
        </pc:picChg>
        <pc:picChg chg="del">
          <ac:chgData name="Paul LEGEARD" userId="73b5704d-da1d-4b70-8e12-6d54d32b01a3" providerId="ADAL" clId="{F979C8B0-72E3-4D3D-95A6-DC7ECDDD3ECC}" dt="2023-09-20T13:54:25.758" v="1609" actId="478"/>
          <ac:picMkLst>
            <pc:docMk/>
            <pc:sldMk cId="1428402382" sldId="2147471330"/>
            <ac:picMk id="152" creationId="{5E2772B7-3B6B-4F35-6728-F01AC38A6A20}"/>
          </ac:picMkLst>
        </pc:picChg>
        <pc:cxnChg chg="del">
          <ac:chgData name="Paul LEGEARD" userId="73b5704d-da1d-4b70-8e12-6d54d32b01a3" providerId="ADAL" clId="{F979C8B0-72E3-4D3D-95A6-DC7ECDDD3ECC}" dt="2023-09-20T13:54:25.758" v="1609" actId="478"/>
          <ac:cxnSpMkLst>
            <pc:docMk/>
            <pc:sldMk cId="1428402382" sldId="2147471330"/>
            <ac:cxnSpMk id="3" creationId="{072DBC73-B049-0F94-EFBB-E950D221720E}"/>
          </ac:cxnSpMkLst>
        </pc:cxnChg>
        <pc:cxnChg chg="add mod">
          <ac:chgData name="Paul LEGEARD" userId="73b5704d-da1d-4b70-8e12-6d54d32b01a3" providerId="ADAL" clId="{F979C8B0-72E3-4D3D-95A6-DC7ECDDD3ECC}" dt="2023-09-20T13:55:33.909" v="1632" actId="1076"/>
          <ac:cxnSpMkLst>
            <pc:docMk/>
            <pc:sldMk cId="1428402382" sldId="2147471330"/>
            <ac:cxnSpMk id="23" creationId="{D94EF5CA-2B71-D79E-CFCB-7A1CFD644F73}"/>
          </ac:cxnSpMkLst>
        </pc:cxnChg>
        <pc:cxnChg chg="del">
          <ac:chgData name="Paul LEGEARD" userId="73b5704d-da1d-4b70-8e12-6d54d32b01a3" providerId="ADAL" clId="{F979C8B0-72E3-4D3D-95A6-DC7ECDDD3ECC}" dt="2023-09-20T13:54:25.758" v="1609" actId="478"/>
          <ac:cxnSpMkLst>
            <pc:docMk/>
            <pc:sldMk cId="1428402382" sldId="2147471330"/>
            <ac:cxnSpMk id="60" creationId="{7BD1BF1F-230B-D82C-80A0-441278E22926}"/>
          </ac:cxnSpMkLst>
        </pc:cxnChg>
      </pc:sldChg>
      <pc:sldChg chg="addSp delSp modSp add mod addCm delCm modCm">
        <pc:chgData name="Paul LEGEARD" userId="73b5704d-da1d-4b70-8e12-6d54d32b01a3" providerId="ADAL" clId="{F979C8B0-72E3-4D3D-95A6-DC7ECDDD3ECC}" dt="2023-09-29T11:31:36.859" v="7236"/>
        <pc:sldMkLst>
          <pc:docMk/>
          <pc:sldMk cId="2885432409" sldId="2147471331"/>
        </pc:sldMkLst>
        <pc:spChg chg="add mod">
          <ac:chgData name="Paul LEGEARD" userId="73b5704d-da1d-4b70-8e12-6d54d32b01a3" providerId="ADAL" clId="{F979C8B0-72E3-4D3D-95A6-DC7ECDDD3ECC}" dt="2023-09-25T08:48:12.109" v="2860" actId="14100"/>
          <ac:spMkLst>
            <pc:docMk/>
            <pc:sldMk cId="2885432409" sldId="2147471331"/>
            <ac:spMk id="3" creationId="{5C71C7AF-8C21-8452-0F17-95B1420B881F}"/>
          </ac:spMkLst>
        </pc:spChg>
        <pc:spChg chg="add mod">
          <ac:chgData name="Paul LEGEARD" userId="73b5704d-da1d-4b70-8e12-6d54d32b01a3" providerId="ADAL" clId="{F979C8B0-72E3-4D3D-95A6-DC7ECDDD3ECC}" dt="2023-09-20T13:56:07.635" v="1770" actId="20577"/>
          <ac:spMkLst>
            <pc:docMk/>
            <pc:sldMk cId="2885432409" sldId="2147471331"/>
            <ac:spMk id="3" creationId="{6E359B35-CCF6-FF2F-FBD4-86EB70DC6D8A}"/>
          </ac:spMkLst>
        </pc:spChg>
        <pc:spChg chg="del">
          <ac:chgData name="Paul LEGEARD" userId="73b5704d-da1d-4b70-8e12-6d54d32b01a3" providerId="ADAL" clId="{F979C8B0-72E3-4D3D-95A6-DC7ECDDD3ECC}" dt="2023-09-20T13:55:49.125" v="1665" actId="478"/>
          <ac:spMkLst>
            <pc:docMk/>
            <pc:sldMk cId="2885432409" sldId="2147471331"/>
            <ac:spMk id="6" creationId="{9BA66A5E-F7F2-374B-B0FB-27EFFD1098DF}"/>
          </ac:spMkLst>
        </pc:spChg>
        <pc:spChg chg="del">
          <ac:chgData name="Paul LEGEARD" userId="73b5704d-da1d-4b70-8e12-6d54d32b01a3" providerId="ADAL" clId="{F979C8B0-72E3-4D3D-95A6-DC7ECDDD3ECC}" dt="2023-09-25T08:47:37.486" v="2853" actId="478"/>
          <ac:spMkLst>
            <pc:docMk/>
            <pc:sldMk cId="2885432409" sldId="2147471331"/>
            <ac:spMk id="6" creationId="{FB33E92F-33CD-74B5-EAB7-6094D903EFBA}"/>
          </ac:spMkLst>
        </pc:spChg>
        <pc:spChg chg="add mod">
          <ac:chgData name="Paul LEGEARD" userId="73b5704d-da1d-4b70-8e12-6d54d32b01a3" providerId="ADAL" clId="{F979C8B0-72E3-4D3D-95A6-DC7ECDDD3ECC}" dt="2023-09-25T08:48:06.208" v="2857" actId="1076"/>
          <ac:spMkLst>
            <pc:docMk/>
            <pc:sldMk cId="2885432409" sldId="2147471331"/>
            <ac:spMk id="7" creationId="{4AE3B1A4-FFB8-3924-7BAF-67F740FDF6ED}"/>
          </ac:spMkLst>
        </pc:spChg>
        <pc:spChg chg="del">
          <ac:chgData name="Paul LEGEARD" userId="73b5704d-da1d-4b70-8e12-6d54d32b01a3" providerId="ADAL" clId="{F979C8B0-72E3-4D3D-95A6-DC7ECDDD3ECC}" dt="2023-09-20T13:55:49.125" v="1665" actId="478"/>
          <ac:spMkLst>
            <pc:docMk/>
            <pc:sldMk cId="2885432409" sldId="2147471331"/>
            <ac:spMk id="7" creationId="{D581214D-3E93-56EE-730F-A4505BA6DE87}"/>
          </ac:spMkLst>
        </pc:spChg>
        <pc:spChg chg="add mod">
          <ac:chgData name="Paul LEGEARD" userId="73b5704d-da1d-4b70-8e12-6d54d32b01a3" providerId="ADAL" clId="{F979C8B0-72E3-4D3D-95A6-DC7ECDDD3ECC}" dt="2023-09-25T08:48:18.183" v="2887" actId="20577"/>
          <ac:spMkLst>
            <pc:docMk/>
            <pc:sldMk cId="2885432409" sldId="2147471331"/>
            <ac:spMk id="8" creationId="{414B9D02-C13B-8B4C-50B6-E606C5BD0674}"/>
          </ac:spMkLst>
        </pc:spChg>
        <pc:spChg chg="del">
          <ac:chgData name="Paul LEGEARD" userId="73b5704d-da1d-4b70-8e12-6d54d32b01a3" providerId="ADAL" clId="{F979C8B0-72E3-4D3D-95A6-DC7ECDDD3ECC}" dt="2023-09-20T13:55:49.125" v="1665" actId="478"/>
          <ac:spMkLst>
            <pc:docMk/>
            <pc:sldMk cId="2885432409" sldId="2147471331"/>
            <ac:spMk id="9" creationId="{F252C188-CC2E-034F-6D21-84B20AB65451}"/>
          </ac:spMkLst>
        </pc:spChg>
        <pc:spChg chg="mod">
          <ac:chgData name="Paul LEGEARD" userId="73b5704d-da1d-4b70-8e12-6d54d32b01a3" providerId="ADAL" clId="{F979C8B0-72E3-4D3D-95A6-DC7ECDDD3ECC}" dt="2023-09-25T08:47:35.722" v="2852" actId="14100"/>
          <ac:spMkLst>
            <pc:docMk/>
            <pc:sldMk cId="2885432409" sldId="2147471331"/>
            <ac:spMk id="10" creationId="{DFACBDD7-3F13-BD3E-CFE5-00F34F57A0B8}"/>
          </ac:spMkLst>
        </pc:spChg>
        <pc:spChg chg="add mod">
          <ac:chgData name="Paul LEGEARD" userId="73b5704d-da1d-4b70-8e12-6d54d32b01a3" providerId="ADAL" clId="{F979C8B0-72E3-4D3D-95A6-DC7ECDDD3ECC}" dt="2023-09-25T08:48:08.525" v="2859" actId="1076"/>
          <ac:spMkLst>
            <pc:docMk/>
            <pc:sldMk cId="2885432409" sldId="2147471331"/>
            <ac:spMk id="11" creationId="{1426352A-3AF1-2854-0A69-2A70696A219D}"/>
          </ac:spMkLst>
        </pc:spChg>
        <pc:spChg chg="del">
          <ac:chgData name="Paul LEGEARD" userId="73b5704d-da1d-4b70-8e12-6d54d32b01a3" providerId="ADAL" clId="{F979C8B0-72E3-4D3D-95A6-DC7ECDDD3ECC}" dt="2023-09-20T13:55:49.125" v="1665" actId="478"/>
          <ac:spMkLst>
            <pc:docMk/>
            <pc:sldMk cId="2885432409" sldId="2147471331"/>
            <ac:spMk id="11" creationId="{1B79F760-5212-FF5C-610F-A53C57E89456}"/>
          </ac:spMkLst>
        </pc:spChg>
        <pc:spChg chg="del">
          <ac:chgData name="Paul LEGEARD" userId="73b5704d-da1d-4b70-8e12-6d54d32b01a3" providerId="ADAL" clId="{F979C8B0-72E3-4D3D-95A6-DC7ECDDD3ECC}" dt="2023-09-20T13:55:49.125" v="1665" actId="478"/>
          <ac:spMkLst>
            <pc:docMk/>
            <pc:sldMk cId="2885432409" sldId="2147471331"/>
            <ac:spMk id="16" creationId="{A8578F6A-C7A0-CD14-B7EC-3669CE33598D}"/>
          </ac:spMkLst>
        </pc:spChg>
        <pc:spChg chg="del">
          <ac:chgData name="Paul LEGEARD" userId="73b5704d-da1d-4b70-8e12-6d54d32b01a3" providerId="ADAL" clId="{F979C8B0-72E3-4D3D-95A6-DC7ECDDD3ECC}" dt="2023-09-20T13:55:49.125" v="1665" actId="478"/>
          <ac:spMkLst>
            <pc:docMk/>
            <pc:sldMk cId="2885432409" sldId="2147471331"/>
            <ac:spMk id="24" creationId="{3A0EAACB-32B3-04D5-0EF6-4E136F76E695}"/>
          </ac:spMkLst>
        </pc:spChg>
        <pc:spChg chg="mod">
          <ac:chgData name="Paul LEGEARD" userId="73b5704d-da1d-4b70-8e12-6d54d32b01a3" providerId="ADAL" clId="{F979C8B0-72E3-4D3D-95A6-DC7ECDDD3ECC}" dt="2023-09-28T07:03:31.947" v="6364"/>
          <ac:spMkLst>
            <pc:docMk/>
            <pc:sldMk cId="2885432409" sldId="2147471331"/>
            <ac:spMk id="79" creationId="{9007893F-DE3F-4277-8B72-135CF4773651}"/>
          </ac:spMkLst>
        </pc:spChg>
        <pc:graphicFrameChg chg="del">
          <ac:chgData name="Paul LEGEARD" userId="73b5704d-da1d-4b70-8e12-6d54d32b01a3" providerId="ADAL" clId="{F979C8B0-72E3-4D3D-95A6-DC7ECDDD3ECC}" dt="2023-09-20T13:55:49.125" v="1665" actId="478"/>
          <ac:graphicFrameMkLst>
            <pc:docMk/>
            <pc:sldMk cId="2885432409" sldId="2147471331"/>
            <ac:graphicFrameMk id="12" creationId="{8A96CA9D-83BA-7859-2332-EFCC654ED0E6}"/>
          </ac:graphicFrameMkLst>
        </pc:graphicFrameChg>
        <pc:picChg chg="del">
          <ac:chgData name="Paul LEGEARD" userId="73b5704d-da1d-4b70-8e12-6d54d32b01a3" providerId="ADAL" clId="{F979C8B0-72E3-4D3D-95A6-DC7ECDDD3ECC}" dt="2023-09-20T13:55:49.125" v="1665" actId="478"/>
          <ac:picMkLst>
            <pc:docMk/>
            <pc:sldMk cId="2885432409" sldId="2147471331"/>
            <ac:picMk id="8" creationId="{DDBB71B2-8F3F-7CB1-EF2C-06C15B64C659}"/>
          </ac:picMkLst>
        </pc:picChg>
        <pc:picChg chg="mod">
          <ac:chgData name="Paul LEGEARD" userId="73b5704d-da1d-4b70-8e12-6d54d32b01a3" providerId="ADAL" clId="{F979C8B0-72E3-4D3D-95A6-DC7ECDDD3ECC}" dt="2023-09-25T08:47:23.381" v="2847" actId="14100"/>
          <ac:picMkLst>
            <pc:docMk/>
            <pc:sldMk cId="2885432409" sldId="2147471331"/>
            <ac:picMk id="9" creationId="{88163E41-A9D4-41F9-235B-BC78C37D8723}"/>
          </ac:picMkLst>
        </pc:picChg>
        <pc:picChg chg="del mod">
          <ac:chgData name="Paul LEGEARD" userId="73b5704d-da1d-4b70-8e12-6d54d32b01a3" providerId="ADAL" clId="{F979C8B0-72E3-4D3D-95A6-DC7ECDDD3ECC}" dt="2023-09-25T08:47:18.145" v="2845" actId="478"/>
          <ac:picMkLst>
            <pc:docMk/>
            <pc:sldMk cId="2885432409" sldId="2147471331"/>
            <ac:picMk id="12" creationId="{18C02B33-BC64-D2F3-FE78-593141CD3E25}"/>
          </ac:picMkLst>
        </pc:picChg>
        <pc:picChg chg="del">
          <ac:chgData name="Paul LEGEARD" userId="73b5704d-da1d-4b70-8e12-6d54d32b01a3" providerId="ADAL" clId="{F979C8B0-72E3-4D3D-95A6-DC7ECDDD3ECC}" dt="2023-09-20T13:55:49.125" v="1665" actId="478"/>
          <ac:picMkLst>
            <pc:docMk/>
            <pc:sldMk cId="2885432409" sldId="2147471331"/>
            <ac:picMk id="13" creationId="{74FEF84A-371D-ECF7-A061-A61E3BA89823}"/>
          </ac:picMkLst>
        </pc:picChg>
        <pc:picChg chg="del">
          <ac:chgData name="Paul LEGEARD" userId="73b5704d-da1d-4b70-8e12-6d54d32b01a3" providerId="ADAL" clId="{F979C8B0-72E3-4D3D-95A6-DC7ECDDD3ECC}" dt="2023-09-25T08:47:11.316" v="2844" actId="478"/>
          <ac:picMkLst>
            <pc:docMk/>
            <pc:sldMk cId="2885432409" sldId="2147471331"/>
            <ac:picMk id="14" creationId="{1251DD97-1859-B5DD-3187-990A2436F0CB}"/>
          </ac:picMkLst>
        </pc:picChg>
        <pc:picChg chg="del">
          <ac:chgData name="Paul LEGEARD" userId="73b5704d-da1d-4b70-8e12-6d54d32b01a3" providerId="ADAL" clId="{F979C8B0-72E3-4D3D-95A6-DC7ECDDD3ECC}" dt="2023-09-20T13:55:49.125" v="1665" actId="478"/>
          <ac:picMkLst>
            <pc:docMk/>
            <pc:sldMk cId="2885432409" sldId="2147471331"/>
            <ac:picMk id="14" creationId="{5EB87515-6510-241B-1B0D-9E40D31D66CF}"/>
          </ac:picMkLst>
        </pc:picChg>
        <pc:picChg chg="del">
          <ac:chgData name="Paul LEGEARD" userId="73b5704d-da1d-4b70-8e12-6d54d32b01a3" providerId="ADAL" clId="{F979C8B0-72E3-4D3D-95A6-DC7ECDDD3ECC}" dt="2023-09-20T13:55:49.125" v="1665" actId="478"/>
          <ac:picMkLst>
            <pc:docMk/>
            <pc:sldMk cId="2885432409" sldId="2147471331"/>
            <ac:picMk id="15" creationId="{B6087CDC-837F-20A4-C903-41E565F2B036}"/>
          </ac:picMkLst>
        </pc:picChg>
        <pc:picChg chg="del">
          <ac:chgData name="Paul LEGEARD" userId="73b5704d-da1d-4b70-8e12-6d54d32b01a3" providerId="ADAL" clId="{F979C8B0-72E3-4D3D-95A6-DC7ECDDD3ECC}" dt="2023-09-20T13:55:49.125" v="1665" actId="478"/>
          <ac:picMkLst>
            <pc:docMk/>
            <pc:sldMk cId="2885432409" sldId="2147471331"/>
            <ac:picMk id="17" creationId="{ABC4CB1D-5FB8-08D8-B18F-968AEC93AF23}"/>
          </ac:picMkLst>
        </pc:picChg>
        <pc:picChg chg="del">
          <ac:chgData name="Paul LEGEARD" userId="73b5704d-da1d-4b70-8e12-6d54d32b01a3" providerId="ADAL" clId="{F979C8B0-72E3-4D3D-95A6-DC7ECDDD3ECC}" dt="2023-09-20T13:55:49.125" v="1665" actId="478"/>
          <ac:picMkLst>
            <pc:docMk/>
            <pc:sldMk cId="2885432409" sldId="2147471331"/>
            <ac:picMk id="18" creationId="{FCD1669C-E306-8A4B-C588-DC92CEAEAC8E}"/>
          </ac:picMkLst>
        </pc:picChg>
        <pc:picChg chg="del">
          <ac:chgData name="Paul LEGEARD" userId="73b5704d-da1d-4b70-8e12-6d54d32b01a3" providerId="ADAL" clId="{F979C8B0-72E3-4D3D-95A6-DC7ECDDD3ECC}" dt="2023-09-20T13:55:49.125" v="1665" actId="478"/>
          <ac:picMkLst>
            <pc:docMk/>
            <pc:sldMk cId="2885432409" sldId="2147471331"/>
            <ac:picMk id="19" creationId="{93A9053D-866F-788E-332F-1DFE70AE9F9A}"/>
          </ac:picMkLst>
        </pc:picChg>
        <pc:cxnChg chg="del">
          <ac:chgData name="Paul LEGEARD" userId="73b5704d-da1d-4b70-8e12-6d54d32b01a3" providerId="ADAL" clId="{F979C8B0-72E3-4D3D-95A6-DC7ECDDD3ECC}" dt="2023-09-20T13:55:49.125" v="1665" actId="478"/>
          <ac:cxnSpMkLst>
            <pc:docMk/>
            <pc:sldMk cId="2885432409" sldId="2147471331"/>
            <ac:cxnSpMk id="23" creationId="{D94EF5CA-2B71-D79E-CFCB-7A1CFD644F73}"/>
          </ac:cxnSpMkLst>
        </pc:cxn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1:36.859" v="7236"/>
              <pc2:cmMkLst xmlns:pc2="http://schemas.microsoft.com/office/powerpoint/2019/9/main/command">
                <pc:docMk/>
                <pc:sldMk cId="2885432409" sldId="2147471331"/>
                <pc2:cmMk id="{3E76411E-F14D-4FEF-AA87-5717A95A4A89}"/>
              </pc2:cmMkLst>
            </pc226:cmChg>
            <pc226:cmChg xmlns:pc226="http://schemas.microsoft.com/office/powerpoint/2022/06/main/command" chg="add del mod">
              <pc226:chgData name="Paul LEGEARD" userId="73b5704d-da1d-4b70-8e12-6d54d32b01a3" providerId="ADAL" clId="{F979C8B0-72E3-4D3D-95A6-DC7ECDDD3ECC}" dt="2023-09-29T11:31:30.021" v="7235"/>
              <pc2:cmMkLst xmlns:pc2="http://schemas.microsoft.com/office/powerpoint/2019/9/main/command">
                <pc:docMk/>
                <pc:sldMk cId="2885432409" sldId="2147471331"/>
                <pc2:cmMk id="{9DE94C8B-F7D2-443F-BD19-4A8701EE4E3E}"/>
              </pc2:cmMkLst>
            </pc226:cmChg>
          </p:ext>
        </pc:extLst>
      </pc:sldChg>
      <pc:sldChg chg="addSp delSp modSp add mod">
        <pc:chgData name="Paul LEGEARD" userId="73b5704d-da1d-4b70-8e12-6d54d32b01a3" providerId="ADAL" clId="{F979C8B0-72E3-4D3D-95A6-DC7ECDDD3ECC}" dt="2023-09-25T08:52:07.172" v="2984" actId="207"/>
        <pc:sldMkLst>
          <pc:docMk/>
          <pc:sldMk cId="3341754950" sldId="2147471332"/>
        </pc:sldMkLst>
        <pc:spChg chg="add mod">
          <ac:chgData name="Paul LEGEARD" userId="73b5704d-da1d-4b70-8e12-6d54d32b01a3" providerId="ADAL" clId="{F979C8B0-72E3-4D3D-95A6-DC7ECDDD3ECC}" dt="2023-09-20T14:00:27.493" v="2202" actId="1076"/>
          <ac:spMkLst>
            <pc:docMk/>
            <pc:sldMk cId="3341754950" sldId="2147471332"/>
            <ac:spMk id="5" creationId="{C840A121-B67A-1A13-2217-D8CDCFD6595C}"/>
          </ac:spMkLst>
        </pc:spChg>
        <pc:spChg chg="add mod">
          <ac:chgData name="Paul LEGEARD" userId="73b5704d-da1d-4b70-8e12-6d54d32b01a3" providerId="ADAL" clId="{F979C8B0-72E3-4D3D-95A6-DC7ECDDD3ECC}" dt="2023-09-20T14:00:27.493" v="2202" actId="1076"/>
          <ac:spMkLst>
            <pc:docMk/>
            <pc:sldMk cId="3341754950" sldId="2147471332"/>
            <ac:spMk id="6" creationId="{458F60C3-F43D-84CF-3F8A-01424BD43554}"/>
          </ac:spMkLst>
        </pc:spChg>
        <pc:spChg chg="del">
          <ac:chgData name="Paul LEGEARD" userId="73b5704d-da1d-4b70-8e12-6d54d32b01a3" providerId="ADAL" clId="{F979C8B0-72E3-4D3D-95A6-DC7ECDDD3ECC}" dt="2023-09-20T14:00:06.665" v="2199" actId="478"/>
          <ac:spMkLst>
            <pc:docMk/>
            <pc:sldMk cId="3341754950" sldId="2147471332"/>
            <ac:spMk id="7" creationId="{A300BE7B-B721-1C06-05A5-6304E336EA99}"/>
          </ac:spMkLst>
        </pc:spChg>
        <pc:spChg chg="add mod">
          <ac:chgData name="Paul LEGEARD" userId="73b5704d-da1d-4b70-8e12-6d54d32b01a3" providerId="ADAL" clId="{F979C8B0-72E3-4D3D-95A6-DC7ECDDD3ECC}" dt="2023-09-20T14:00:27.493" v="2202" actId="1076"/>
          <ac:spMkLst>
            <pc:docMk/>
            <pc:sldMk cId="3341754950" sldId="2147471332"/>
            <ac:spMk id="8" creationId="{C4063F59-D299-D399-D087-7D00D9045A6E}"/>
          </ac:spMkLst>
        </pc:spChg>
        <pc:spChg chg="add mod">
          <ac:chgData name="Paul LEGEARD" userId="73b5704d-da1d-4b70-8e12-6d54d32b01a3" providerId="ADAL" clId="{F979C8B0-72E3-4D3D-95A6-DC7ECDDD3ECC}" dt="2023-09-20T14:00:27.493" v="2202" actId="1076"/>
          <ac:spMkLst>
            <pc:docMk/>
            <pc:sldMk cId="3341754950" sldId="2147471332"/>
            <ac:spMk id="9" creationId="{D0E961FC-1E62-B7B9-1EEE-5D873B387518}"/>
          </ac:spMkLst>
        </pc:spChg>
        <pc:spChg chg="add mod">
          <ac:chgData name="Paul LEGEARD" userId="73b5704d-da1d-4b70-8e12-6d54d32b01a3" providerId="ADAL" clId="{F979C8B0-72E3-4D3D-95A6-DC7ECDDD3ECC}" dt="2023-09-20T14:00:27.493" v="2202" actId="1076"/>
          <ac:spMkLst>
            <pc:docMk/>
            <pc:sldMk cId="3341754950" sldId="2147471332"/>
            <ac:spMk id="10" creationId="{4FFCED35-CD6C-5FAE-5B4E-CF808609D3C8}"/>
          </ac:spMkLst>
        </pc:spChg>
        <pc:spChg chg="del">
          <ac:chgData name="Paul LEGEARD" userId="73b5704d-da1d-4b70-8e12-6d54d32b01a3" providerId="ADAL" clId="{F979C8B0-72E3-4D3D-95A6-DC7ECDDD3ECC}" dt="2023-09-20T14:00:07.971" v="2200" actId="478"/>
          <ac:spMkLst>
            <pc:docMk/>
            <pc:sldMk cId="3341754950" sldId="2147471332"/>
            <ac:spMk id="14" creationId="{7A957847-4A36-2497-0C70-2532420EB71A}"/>
          </ac:spMkLst>
        </pc:spChg>
        <pc:spChg chg="del">
          <ac:chgData name="Paul LEGEARD" userId="73b5704d-da1d-4b70-8e12-6d54d32b01a3" providerId="ADAL" clId="{F979C8B0-72E3-4D3D-95A6-DC7ECDDD3ECC}" dt="2023-09-20T14:00:07.971" v="2200" actId="478"/>
          <ac:spMkLst>
            <pc:docMk/>
            <pc:sldMk cId="3341754950" sldId="2147471332"/>
            <ac:spMk id="15" creationId="{BD001DDC-69C4-4C24-CF1B-8467C92078A7}"/>
          </ac:spMkLst>
        </pc:spChg>
        <pc:spChg chg="del">
          <ac:chgData name="Paul LEGEARD" userId="73b5704d-da1d-4b70-8e12-6d54d32b01a3" providerId="ADAL" clId="{F979C8B0-72E3-4D3D-95A6-DC7ECDDD3ECC}" dt="2023-09-20T14:00:07.971" v="2200" actId="478"/>
          <ac:spMkLst>
            <pc:docMk/>
            <pc:sldMk cId="3341754950" sldId="2147471332"/>
            <ac:spMk id="16" creationId="{A195F156-A779-108C-5F80-99E82A6B3374}"/>
          </ac:spMkLst>
        </pc:spChg>
        <pc:spChg chg="del">
          <ac:chgData name="Paul LEGEARD" userId="73b5704d-da1d-4b70-8e12-6d54d32b01a3" providerId="ADAL" clId="{F979C8B0-72E3-4D3D-95A6-DC7ECDDD3ECC}" dt="2023-09-20T14:00:07.971" v="2200" actId="478"/>
          <ac:spMkLst>
            <pc:docMk/>
            <pc:sldMk cId="3341754950" sldId="2147471332"/>
            <ac:spMk id="26" creationId="{E19C7E1A-A494-6C11-83CF-6870E6EA1689}"/>
          </ac:spMkLst>
        </pc:spChg>
        <pc:spChg chg="del">
          <ac:chgData name="Paul LEGEARD" userId="73b5704d-da1d-4b70-8e12-6d54d32b01a3" providerId="ADAL" clId="{F979C8B0-72E3-4D3D-95A6-DC7ECDDD3ECC}" dt="2023-09-20T14:00:07.971" v="2200" actId="478"/>
          <ac:spMkLst>
            <pc:docMk/>
            <pc:sldMk cId="3341754950" sldId="2147471332"/>
            <ac:spMk id="27" creationId="{468AE9A0-13AA-701B-52B5-3317E44C0BDB}"/>
          </ac:spMkLst>
        </pc:spChg>
        <pc:spChg chg="del">
          <ac:chgData name="Paul LEGEARD" userId="73b5704d-da1d-4b70-8e12-6d54d32b01a3" providerId="ADAL" clId="{F979C8B0-72E3-4D3D-95A6-DC7ECDDD3ECC}" dt="2023-09-20T14:00:07.971" v="2200" actId="478"/>
          <ac:spMkLst>
            <pc:docMk/>
            <pc:sldMk cId="3341754950" sldId="2147471332"/>
            <ac:spMk id="28" creationId="{7C52930E-44ED-E598-EA54-24F88E3EFE28}"/>
          </ac:spMkLst>
        </pc:spChg>
        <pc:spChg chg="add mod">
          <ac:chgData name="Paul LEGEARD" userId="73b5704d-da1d-4b70-8e12-6d54d32b01a3" providerId="ADAL" clId="{F979C8B0-72E3-4D3D-95A6-DC7ECDDD3ECC}" dt="2023-09-20T14:00:27.493" v="2202" actId="1076"/>
          <ac:spMkLst>
            <pc:docMk/>
            <pc:sldMk cId="3341754950" sldId="2147471332"/>
            <ac:spMk id="43" creationId="{36B9A657-147D-B461-CC2A-0B495723A64A}"/>
          </ac:spMkLst>
        </pc:spChg>
        <pc:spChg chg="add mod">
          <ac:chgData name="Paul LEGEARD" userId="73b5704d-da1d-4b70-8e12-6d54d32b01a3" providerId="ADAL" clId="{F979C8B0-72E3-4D3D-95A6-DC7ECDDD3ECC}" dt="2023-09-20T14:00:27.493" v="2202" actId="1076"/>
          <ac:spMkLst>
            <pc:docMk/>
            <pc:sldMk cId="3341754950" sldId="2147471332"/>
            <ac:spMk id="44" creationId="{EE436185-1BCF-E30A-9544-FD7A967D85B3}"/>
          </ac:spMkLst>
        </pc:spChg>
        <pc:spChg chg="mod">
          <ac:chgData name="Paul LEGEARD" userId="73b5704d-da1d-4b70-8e12-6d54d32b01a3" providerId="ADAL" clId="{F979C8B0-72E3-4D3D-95A6-DC7ECDDD3ECC}" dt="2023-09-20T14:00:04.128" v="2198" actId="20577"/>
          <ac:spMkLst>
            <pc:docMk/>
            <pc:sldMk cId="3341754950" sldId="2147471332"/>
            <ac:spMk id="79" creationId="{9007893F-DE3F-4277-8B72-135CF4773651}"/>
          </ac:spMkLst>
        </pc:spChg>
        <pc:graphicFrameChg chg="add mod modGraphic">
          <ac:chgData name="Paul LEGEARD" userId="73b5704d-da1d-4b70-8e12-6d54d32b01a3" providerId="ADAL" clId="{F979C8B0-72E3-4D3D-95A6-DC7ECDDD3ECC}" dt="2023-09-25T08:52:07.172" v="2984" actId="207"/>
          <ac:graphicFrameMkLst>
            <pc:docMk/>
            <pc:sldMk cId="3341754950" sldId="2147471332"/>
            <ac:graphicFrameMk id="11" creationId="{CA62CBE0-8FCE-629E-D95A-33155605D4B8}"/>
          </ac:graphicFrameMkLst>
        </pc:graphicFrameChg>
        <pc:picChg chg="add mod">
          <ac:chgData name="Paul LEGEARD" userId="73b5704d-da1d-4b70-8e12-6d54d32b01a3" providerId="ADAL" clId="{F979C8B0-72E3-4D3D-95A6-DC7ECDDD3ECC}" dt="2023-09-20T14:00:27.493" v="2202" actId="1076"/>
          <ac:picMkLst>
            <pc:docMk/>
            <pc:sldMk cId="3341754950" sldId="2147471332"/>
            <ac:picMk id="12" creationId="{F82E46FF-3F6C-FF0C-848D-E2132D98F658}"/>
          </ac:picMkLst>
        </pc:picChg>
        <pc:picChg chg="add mod">
          <ac:chgData name="Paul LEGEARD" userId="73b5704d-da1d-4b70-8e12-6d54d32b01a3" providerId="ADAL" clId="{F979C8B0-72E3-4D3D-95A6-DC7ECDDD3ECC}" dt="2023-09-20T14:00:27.493" v="2202" actId="1076"/>
          <ac:picMkLst>
            <pc:docMk/>
            <pc:sldMk cId="3341754950" sldId="2147471332"/>
            <ac:picMk id="13" creationId="{44716D49-B0BE-0412-C25A-0E37252BFE9F}"/>
          </ac:picMkLst>
        </pc:picChg>
        <pc:picChg chg="add mod">
          <ac:chgData name="Paul LEGEARD" userId="73b5704d-da1d-4b70-8e12-6d54d32b01a3" providerId="ADAL" clId="{F979C8B0-72E3-4D3D-95A6-DC7ECDDD3ECC}" dt="2023-09-20T14:00:27.493" v="2202" actId="1076"/>
          <ac:picMkLst>
            <pc:docMk/>
            <pc:sldMk cId="3341754950" sldId="2147471332"/>
            <ac:picMk id="17" creationId="{B8B02A49-B66F-CE1D-70A9-B54E136560CC}"/>
          </ac:picMkLst>
        </pc:picChg>
        <pc:picChg chg="add mod">
          <ac:chgData name="Paul LEGEARD" userId="73b5704d-da1d-4b70-8e12-6d54d32b01a3" providerId="ADAL" clId="{F979C8B0-72E3-4D3D-95A6-DC7ECDDD3ECC}" dt="2023-09-20T14:00:27.493" v="2202" actId="1076"/>
          <ac:picMkLst>
            <pc:docMk/>
            <pc:sldMk cId="3341754950" sldId="2147471332"/>
            <ac:picMk id="18" creationId="{402F96EA-898F-5C95-D7BC-51A493F2898B}"/>
          </ac:picMkLst>
        </pc:picChg>
        <pc:picChg chg="add mod">
          <ac:chgData name="Paul LEGEARD" userId="73b5704d-da1d-4b70-8e12-6d54d32b01a3" providerId="ADAL" clId="{F979C8B0-72E3-4D3D-95A6-DC7ECDDD3ECC}" dt="2023-09-20T14:00:27.493" v="2202" actId="1076"/>
          <ac:picMkLst>
            <pc:docMk/>
            <pc:sldMk cId="3341754950" sldId="2147471332"/>
            <ac:picMk id="19" creationId="{38375F86-A070-1B80-389C-FF10C51AEA84}"/>
          </ac:picMkLst>
        </pc:picChg>
        <pc:picChg chg="add mod">
          <ac:chgData name="Paul LEGEARD" userId="73b5704d-da1d-4b70-8e12-6d54d32b01a3" providerId="ADAL" clId="{F979C8B0-72E3-4D3D-95A6-DC7ECDDD3ECC}" dt="2023-09-20T14:00:27.493" v="2202" actId="1076"/>
          <ac:picMkLst>
            <pc:docMk/>
            <pc:sldMk cId="3341754950" sldId="2147471332"/>
            <ac:picMk id="20" creationId="{910182ED-7289-F2E8-274D-9FA3D6B72BC5}"/>
          </ac:picMkLst>
        </pc:picChg>
        <pc:picChg chg="add mod">
          <ac:chgData name="Paul LEGEARD" userId="73b5704d-da1d-4b70-8e12-6d54d32b01a3" providerId="ADAL" clId="{F979C8B0-72E3-4D3D-95A6-DC7ECDDD3ECC}" dt="2023-09-20T14:00:27.493" v="2202" actId="1076"/>
          <ac:picMkLst>
            <pc:docMk/>
            <pc:sldMk cId="3341754950" sldId="2147471332"/>
            <ac:picMk id="21" creationId="{E3E43CE3-8F46-2A83-B9E6-097217B6F652}"/>
          </ac:picMkLst>
        </pc:picChg>
        <pc:picChg chg="add mod">
          <ac:chgData name="Paul LEGEARD" userId="73b5704d-da1d-4b70-8e12-6d54d32b01a3" providerId="ADAL" clId="{F979C8B0-72E3-4D3D-95A6-DC7ECDDD3ECC}" dt="2023-09-20T14:00:27.493" v="2202" actId="1076"/>
          <ac:picMkLst>
            <pc:docMk/>
            <pc:sldMk cId="3341754950" sldId="2147471332"/>
            <ac:picMk id="22" creationId="{D415DE9B-C81D-C9AA-FC62-6BFAA42E63C2}"/>
          </ac:picMkLst>
        </pc:picChg>
        <pc:picChg chg="add mod">
          <ac:chgData name="Paul LEGEARD" userId="73b5704d-da1d-4b70-8e12-6d54d32b01a3" providerId="ADAL" clId="{F979C8B0-72E3-4D3D-95A6-DC7ECDDD3ECC}" dt="2023-09-20T14:00:27.493" v="2202" actId="1076"/>
          <ac:picMkLst>
            <pc:docMk/>
            <pc:sldMk cId="3341754950" sldId="2147471332"/>
            <ac:picMk id="23" creationId="{E1E4E421-8F8C-2AAF-4C30-7F8D2E90D8AF}"/>
          </ac:picMkLst>
        </pc:picChg>
        <pc:picChg chg="add mod">
          <ac:chgData name="Paul LEGEARD" userId="73b5704d-da1d-4b70-8e12-6d54d32b01a3" providerId="ADAL" clId="{F979C8B0-72E3-4D3D-95A6-DC7ECDDD3ECC}" dt="2023-09-20T14:00:27.493" v="2202" actId="1076"/>
          <ac:picMkLst>
            <pc:docMk/>
            <pc:sldMk cId="3341754950" sldId="2147471332"/>
            <ac:picMk id="24" creationId="{72C00877-9682-0EA2-19B8-EF98DD413BA7}"/>
          </ac:picMkLst>
        </pc:picChg>
        <pc:picChg chg="add mod">
          <ac:chgData name="Paul LEGEARD" userId="73b5704d-da1d-4b70-8e12-6d54d32b01a3" providerId="ADAL" clId="{F979C8B0-72E3-4D3D-95A6-DC7ECDDD3ECC}" dt="2023-09-20T14:00:27.493" v="2202" actId="1076"/>
          <ac:picMkLst>
            <pc:docMk/>
            <pc:sldMk cId="3341754950" sldId="2147471332"/>
            <ac:picMk id="25" creationId="{FC5E9482-ECFB-15A2-62B6-AD18FFCD75FD}"/>
          </ac:picMkLst>
        </pc:picChg>
        <pc:picChg chg="add mod">
          <ac:chgData name="Paul LEGEARD" userId="73b5704d-da1d-4b70-8e12-6d54d32b01a3" providerId="ADAL" clId="{F979C8B0-72E3-4D3D-95A6-DC7ECDDD3ECC}" dt="2023-09-20T14:00:27.493" v="2202" actId="1076"/>
          <ac:picMkLst>
            <pc:docMk/>
            <pc:sldMk cId="3341754950" sldId="2147471332"/>
            <ac:picMk id="29" creationId="{58D7AE8F-09E9-C47B-0904-EE0C37059EE8}"/>
          </ac:picMkLst>
        </pc:picChg>
        <pc:picChg chg="add mod">
          <ac:chgData name="Paul LEGEARD" userId="73b5704d-da1d-4b70-8e12-6d54d32b01a3" providerId="ADAL" clId="{F979C8B0-72E3-4D3D-95A6-DC7ECDDD3ECC}" dt="2023-09-20T14:00:27.493" v="2202" actId="1076"/>
          <ac:picMkLst>
            <pc:docMk/>
            <pc:sldMk cId="3341754950" sldId="2147471332"/>
            <ac:picMk id="30" creationId="{7DDD5A39-6117-25C1-43D7-A021E2466B41}"/>
          </ac:picMkLst>
        </pc:picChg>
        <pc:picChg chg="add mod">
          <ac:chgData name="Paul LEGEARD" userId="73b5704d-da1d-4b70-8e12-6d54d32b01a3" providerId="ADAL" clId="{F979C8B0-72E3-4D3D-95A6-DC7ECDDD3ECC}" dt="2023-09-20T14:00:27.493" v="2202" actId="1076"/>
          <ac:picMkLst>
            <pc:docMk/>
            <pc:sldMk cId="3341754950" sldId="2147471332"/>
            <ac:picMk id="31" creationId="{F7CFD0D4-E255-973C-6757-E47B839BBA8B}"/>
          </ac:picMkLst>
        </pc:picChg>
        <pc:picChg chg="add mod">
          <ac:chgData name="Paul LEGEARD" userId="73b5704d-da1d-4b70-8e12-6d54d32b01a3" providerId="ADAL" clId="{F979C8B0-72E3-4D3D-95A6-DC7ECDDD3ECC}" dt="2023-09-20T14:00:27.493" v="2202" actId="1076"/>
          <ac:picMkLst>
            <pc:docMk/>
            <pc:sldMk cId="3341754950" sldId="2147471332"/>
            <ac:picMk id="35" creationId="{FBF607FD-501F-D43F-C9A0-DAB79DD3CDB8}"/>
          </ac:picMkLst>
        </pc:picChg>
        <pc:picChg chg="add mod">
          <ac:chgData name="Paul LEGEARD" userId="73b5704d-da1d-4b70-8e12-6d54d32b01a3" providerId="ADAL" clId="{F979C8B0-72E3-4D3D-95A6-DC7ECDDD3ECC}" dt="2023-09-20T14:00:27.493" v="2202" actId="1076"/>
          <ac:picMkLst>
            <pc:docMk/>
            <pc:sldMk cId="3341754950" sldId="2147471332"/>
            <ac:picMk id="36" creationId="{15793173-BB11-0F29-797F-EB26F04C1647}"/>
          </ac:picMkLst>
        </pc:picChg>
        <pc:picChg chg="add mod">
          <ac:chgData name="Paul LEGEARD" userId="73b5704d-da1d-4b70-8e12-6d54d32b01a3" providerId="ADAL" clId="{F979C8B0-72E3-4D3D-95A6-DC7ECDDD3ECC}" dt="2023-09-20T14:00:27.493" v="2202" actId="1076"/>
          <ac:picMkLst>
            <pc:docMk/>
            <pc:sldMk cId="3341754950" sldId="2147471332"/>
            <ac:picMk id="37" creationId="{A0ABD32F-E74C-85C2-D106-B90E4DDCDD0C}"/>
          </ac:picMkLst>
        </pc:picChg>
        <pc:picChg chg="add mod">
          <ac:chgData name="Paul LEGEARD" userId="73b5704d-da1d-4b70-8e12-6d54d32b01a3" providerId="ADAL" clId="{F979C8B0-72E3-4D3D-95A6-DC7ECDDD3ECC}" dt="2023-09-20T14:00:27.493" v="2202" actId="1076"/>
          <ac:picMkLst>
            <pc:docMk/>
            <pc:sldMk cId="3341754950" sldId="2147471332"/>
            <ac:picMk id="38" creationId="{2D54B4E4-A510-7B74-54F7-5C31F9D26AA7}"/>
          </ac:picMkLst>
        </pc:picChg>
        <pc:picChg chg="add mod">
          <ac:chgData name="Paul LEGEARD" userId="73b5704d-da1d-4b70-8e12-6d54d32b01a3" providerId="ADAL" clId="{F979C8B0-72E3-4D3D-95A6-DC7ECDDD3ECC}" dt="2023-09-20T14:00:27.493" v="2202" actId="1076"/>
          <ac:picMkLst>
            <pc:docMk/>
            <pc:sldMk cId="3341754950" sldId="2147471332"/>
            <ac:picMk id="39" creationId="{18B6B1D2-8037-B254-5CC5-76CD90F93AD3}"/>
          </ac:picMkLst>
        </pc:picChg>
        <pc:picChg chg="add mod">
          <ac:chgData name="Paul LEGEARD" userId="73b5704d-da1d-4b70-8e12-6d54d32b01a3" providerId="ADAL" clId="{F979C8B0-72E3-4D3D-95A6-DC7ECDDD3ECC}" dt="2023-09-20T14:00:27.493" v="2202" actId="1076"/>
          <ac:picMkLst>
            <pc:docMk/>
            <pc:sldMk cId="3341754950" sldId="2147471332"/>
            <ac:picMk id="40" creationId="{A29DBC59-3E40-6C56-D8F4-01501588B441}"/>
          </ac:picMkLst>
        </pc:picChg>
        <pc:picChg chg="add mod">
          <ac:chgData name="Paul LEGEARD" userId="73b5704d-da1d-4b70-8e12-6d54d32b01a3" providerId="ADAL" clId="{F979C8B0-72E3-4D3D-95A6-DC7ECDDD3ECC}" dt="2023-09-20T14:00:27.493" v="2202" actId="1076"/>
          <ac:picMkLst>
            <pc:docMk/>
            <pc:sldMk cId="3341754950" sldId="2147471332"/>
            <ac:picMk id="41" creationId="{3EA08288-BB69-BCF6-E6AE-CCDC2708BF98}"/>
          </ac:picMkLst>
        </pc:picChg>
        <pc:picChg chg="add mod">
          <ac:chgData name="Paul LEGEARD" userId="73b5704d-da1d-4b70-8e12-6d54d32b01a3" providerId="ADAL" clId="{F979C8B0-72E3-4D3D-95A6-DC7ECDDD3ECC}" dt="2023-09-20T14:00:27.493" v="2202" actId="1076"/>
          <ac:picMkLst>
            <pc:docMk/>
            <pc:sldMk cId="3341754950" sldId="2147471332"/>
            <ac:picMk id="42" creationId="{F378D216-5CF8-368A-4A67-F84E10890A69}"/>
          </ac:picMkLst>
        </pc:picChg>
        <pc:cxnChg chg="del">
          <ac:chgData name="Paul LEGEARD" userId="73b5704d-da1d-4b70-8e12-6d54d32b01a3" providerId="ADAL" clId="{F979C8B0-72E3-4D3D-95A6-DC7ECDDD3ECC}" dt="2023-09-20T14:00:07.971" v="2200" actId="478"/>
          <ac:cxnSpMkLst>
            <pc:docMk/>
            <pc:sldMk cId="3341754950" sldId="2147471332"/>
            <ac:cxnSpMk id="32" creationId="{11C64EC9-4804-2C9A-B301-D23CD1E118AA}"/>
          </ac:cxnSpMkLst>
        </pc:cxnChg>
        <pc:cxnChg chg="del">
          <ac:chgData name="Paul LEGEARD" userId="73b5704d-da1d-4b70-8e12-6d54d32b01a3" providerId="ADAL" clId="{F979C8B0-72E3-4D3D-95A6-DC7ECDDD3ECC}" dt="2023-09-20T14:00:07.971" v="2200" actId="478"/>
          <ac:cxnSpMkLst>
            <pc:docMk/>
            <pc:sldMk cId="3341754950" sldId="2147471332"/>
            <ac:cxnSpMk id="33" creationId="{63A75C8B-936D-D7A5-8125-3907D2FAA865}"/>
          </ac:cxnSpMkLst>
        </pc:cxnChg>
        <pc:cxnChg chg="del">
          <ac:chgData name="Paul LEGEARD" userId="73b5704d-da1d-4b70-8e12-6d54d32b01a3" providerId="ADAL" clId="{F979C8B0-72E3-4D3D-95A6-DC7ECDDD3ECC}" dt="2023-09-20T14:00:07.971" v="2200" actId="478"/>
          <ac:cxnSpMkLst>
            <pc:docMk/>
            <pc:sldMk cId="3341754950" sldId="2147471332"/>
            <ac:cxnSpMk id="34" creationId="{9333E3B3-EE73-D8F7-43F2-865B83BAD5BE}"/>
          </ac:cxnSpMkLst>
        </pc:cxnChg>
      </pc:sldChg>
      <pc:sldChg chg="addSp delSp modSp add mod addCm delCm">
        <pc:chgData name="Paul LEGEARD" userId="73b5704d-da1d-4b70-8e12-6d54d32b01a3" providerId="ADAL" clId="{F979C8B0-72E3-4D3D-95A6-DC7ECDDD3ECC}" dt="2023-09-29T11:32:36.624" v="7244"/>
        <pc:sldMkLst>
          <pc:docMk/>
          <pc:sldMk cId="2333412630" sldId="2147471333"/>
        </pc:sldMkLst>
        <pc:spChg chg="add mod">
          <ac:chgData name="Paul LEGEARD" userId="73b5704d-da1d-4b70-8e12-6d54d32b01a3" providerId="ADAL" clId="{F979C8B0-72E3-4D3D-95A6-DC7ECDDD3ECC}" dt="2023-09-25T08:54:17.227" v="3149" actId="1076"/>
          <ac:spMkLst>
            <pc:docMk/>
            <pc:sldMk cId="2333412630" sldId="2147471333"/>
            <ac:spMk id="5" creationId="{80434149-9830-A9C4-40A0-9104C5E2FF54}"/>
          </ac:spMkLst>
        </pc:spChg>
        <pc:spChg chg="del">
          <ac:chgData name="Paul LEGEARD" userId="73b5704d-da1d-4b70-8e12-6d54d32b01a3" providerId="ADAL" clId="{F979C8B0-72E3-4D3D-95A6-DC7ECDDD3ECC}" dt="2023-09-20T14:00:47.055" v="2252" actId="478"/>
          <ac:spMkLst>
            <pc:docMk/>
            <pc:sldMk cId="2333412630" sldId="2147471333"/>
            <ac:spMk id="5" creationId="{C840A121-B67A-1A13-2217-D8CDCFD6595C}"/>
          </ac:spMkLst>
        </pc:spChg>
        <pc:spChg chg="del">
          <ac:chgData name="Paul LEGEARD" userId="73b5704d-da1d-4b70-8e12-6d54d32b01a3" providerId="ADAL" clId="{F979C8B0-72E3-4D3D-95A6-DC7ECDDD3ECC}" dt="2023-09-20T14:00:47.055" v="2252" actId="478"/>
          <ac:spMkLst>
            <pc:docMk/>
            <pc:sldMk cId="2333412630" sldId="2147471333"/>
            <ac:spMk id="6" creationId="{458F60C3-F43D-84CF-3F8A-01424BD43554}"/>
          </ac:spMkLst>
        </pc:spChg>
        <pc:spChg chg="del">
          <ac:chgData name="Paul LEGEARD" userId="73b5704d-da1d-4b70-8e12-6d54d32b01a3" providerId="ADAL" clId="{F979C8B0-72E3-4D3D-95A6-DC7ECDDD3ECC}" dt="2023-09-20T14:00:47.055" v="2252" actId="478"/>
          <ac:spMkLst>
            <pc:docMk/>
            <pc:sldMk cId="2333412630" sldId="2147471333"/>
            <ac:spMk id="8" creationId="{C4063F59-D299-D399-D087-7D00D9045A6E}"/>
          </ac:spMkLst>
        </pc:spChg>
        <pc:spChg chg="del">
          <ac:chgData name="Paul LEGEARD" userId="73b5704d-da1d-4b70-8e12-6d54d32b01a3" providerId="ADAL" clId="{F979C8B0-72E3-4D3D-95A6-DC7ECDDD3ECC}" dt="2023-09-20T14:00:47.055" v="2252" actId="478"/>
          <ac:spMkLst>
            <pc:docMk/>
            <pc:sldMk cId="2333412630" sldId="2147471333"/>
            <ac:spMk id="9" creationId="{D0E961FC-1E62-B7B9-1EEE-5D873B387518}"/>
          </ac:spMkLst>
        </pc:spChg>
        <pc:spChg chg="del">
          <ac:chgData name="Paul LEGEARD" userId="73b5704d-da1d-4b70-8e12-6d54d32b01a3" providerId="ADAL" clId="{F979C8B0-72E3-4D3D-95A6-DC7ECDDD3ECC}" dt="2023-09-20T14:00:47.055" v="2252" actId="478"/>
          <ac:spMkLst>
            <pc:docMk/>
            <pc:sldMk cId="2333412630" sldId="2147471333"/>
            <ac:spMk id="10" creationId="{4FFCED35-CD6C-5FAE-5B4E-CF808609D3C8}"/>
          </ac:spMkLst>
        </pc:spChg>
        <pc:spChg chg="mod">
          <ac:chgData name="Paul LEGEARD" userId="73b5704d-da1d-4b70-8e12-6d54d32b01a3" providerId="ADAL" clId="{F979C8B0-72E3-4D3D-95A6-DC7ECDDD3ECC}" dt="2023-09-25T08:53:28.381" v="3021" actId="1076"/>
          <ac:spMkLst>
            <pc:docMk/>
            <pc:sldMk cId="2333412630" sldId="2147471333"/>
            <ac:spMk id="12" creationId="{D23DA763-35E8-6F47-1E27-310C2AE2045C}"/>
          </ac:spMkLst>
        </pc:spChg>
        <pc:spChg chg="mod">
          <ac:chgData name="Paul LEGEARD" userId="73b5704d-da1d-4b70-8e12-6d54d32b01a3" providerId="ADAL" clId="{F979C8B0-72E3-4D3D-95A6-DC7ECDDD3ECC}" dt="2023-09-25T08:53:28.381" v="3021" actId="1076"/>
          <ac:spMkLst>
            <pc:docMk/>
            <pc:sldMk cId="2333412630" sldId="2147471333"/>
            <ac:spMk id="13" creationId="{AE120E5F-729D-988D-ED02-2022EF28F6F0}"/>
          </ac:spMkLst>
        </pc:spChg>
        <pc:spChg chg="del">
          <ac:chgData name="Paul LEGEARD" userId="73b5704d-da1d-4b70-8e12-6d54d32b01a3" providerId="ADAL" clId="{F979C8B0-72E3-4D3D-95A6-DC7ECDDD3ECC}" dt="2023-09-20T14:00:47.055" v="2252" actId="478"/>
          <ac:spMkLst>
            <pc:docMk/>
            <pc:sldMk cId="2333412630" sldId="2147471333"/>
            <ac:spMk id="43" creationId="{36B9A657-147D-B461-CC2A-0B495723A64A}"/>
          </ac:spMkLst>
        </pc:spChg>
        <pc:spChg chg="del">
          <ac:chgData name="Paul LEGEARD" userId="73b5704d-da1d-4b70-8e12-6d54d32b01a3" providerId="ADAL" clId="{F979C8B0-72E3-4D3D-95A6-DC7ECDDD3ECC}" dt="2023-09-20T14:00:47.055" v="2252" actId="478"/>
          <ac:spMkLst>
            <pc:docMk/>
            <pc:sldMk cId="2333412630" sldId="2147471333"/>
            <ac:spMk id="44" creationId="{EE436185-1BCF-E30A-9544-FD7A967D85B3}"/>
          </ac:spMkLst>
        </pc:spChg>
        <pc:spChg chg="mod">
          <ac:chgData name="Paul LEGEARD" userId="73b5704d-da1d-4b70-8e12-6d54d32b01a3" providerId="ADAL" clId="{F979C8B0-72E3-4D3D-95A6-DC7ECDDD3ECC}" dt="2023-09-20T14:00:44.793" v="2251" actId="313"/>
          <ac:spMkLst>
            <pc:docMk/>
            <pc:sldMk cId="2333412630" sldId="2147471333"/>
            <ac:spMk id="79" creationId="{9007893F-DE3F-4277-8B72-135CF4773651}"/>
          </ac:spMkLst>
        </pc:spChg>
        <pc:graphicFrameChg chg="mod modGraphic">
          <ac:chgData name="Paul LEGEARD" userId="73b5704d-da1d-4b70-8e12-6d54d32b01a3" providerId="ADAL" clId="{F979C8B0-72E3-4D3D-95A6-DC7ECDDD3ECC}" dt="2023-09-25T08:55:49.144" v="3185" actId="13926"/>
          <ac:graphicFrameMkLst>
            <pc:docMk/>
            <pc:sldMk cId="2333412630" sldId="2147471333"/>
            <ac:graphicFrameMk id="11" creationId="{90B374F1-851D-E4F2-8C29-4FAA8E13922F}"/>
          </ac:graphicFrameMkLst>
        </pc:graphicFrameChg>
        <pc:graphicFrameChg chg="del">
          <ac:chgData name="Paul LEGEARD" userId="73b5704d-da1d-4b70-8e12-6d54d32b01a3" providerId="ADAL" clId="{F979C8B0-72E3-4D3D-95A6-DC7ECDDD3ECC}" dt="2023-09-20T14:00:47.055" v="2252" actId="478"/>
          <ac:graphicFrameMkLst>
            <pc:docMk/>
            <pc:sldMk cId="2333412630" sldId="2147471333"/>
            <ac:graphicFrameMk id="11" creationId="{CA62CBE0-8FCE-629E-D95A-33155605D4B8}"/>
          </ac:graphicFrameMkLst>
        </pc:graphicFrameChg>
        <pc:picChg chg="del">
          <ac:chgData name="Paul LEGEARD" userId="73b5704d-da1d-4b70-8e12-6d54d32b01a3" providerId="ADAL" clId="{F979C8B0-72E3-4D3D-95A6-DC7ECDDD3ECC}" dt="2023-09-20T14:00:47.055" v="2252" actId="478"/>
          <ac:picMkLst>
            <pc:docMk/>
            <pc:sldMk cId="2333412630" sldId="2147471333"/>
            <ac:picMk id="12" creationId="{F82E46FF-3F6C-FF0C-848D-E2132D98F658}"/>
          </ac:picMkLst>
        </pc:picChg>
        <pc:picChg chg="del">
          <ac:chgData name="Paul LEGEARD" userId="73b5704d-da1d-4b70-8e12-6d54d32b01a3" providerId="ADAL" clId="{F979C8B0-72E3-4D3D-95A6-DC7ECDDD3ECC}" dt="2023-09-20T14:00:47.055" v="2252" actId="478"/>
          <ac:picMkLst>
            <pc:docMk/>
            <pc:sldMk cId="2333412630" sldId="2147471333"/>
            <ac:picMk id="13" creationId="{44716D49-B0BE-0412-C25A-0E37252BFE9F}"/>
          </ac:picMkLst>
        </pc:picChg>
        <pc:picChg chg="mod">
          <ac:chgData name="Paul LEGEARD" userId="73b5704d-da1d-4b70-8e12-6d54d32b01a3" providerId="ADAL" clId="{F979C8B0-72E3-4D3D-95A6-DC7ECDDD3ECC}" dt="2023-09-25T08:53:28.381" v="3021" actId="1076"/>
          <ac:picMkLst>
            <pc:docMk/>
            <pc:sldMk cId="2333412630" sldId="2147471333"/>
            <ac:picMk id="17" creationId="{931DCA56-DF6B-48CB-3F49-10598D97FE46}"/>
          </ac:picMkLst>
        </pc:picChg>
        <pc:picChg chg="del">
          <ac:chgData name="Paul LEGEARD" userId="73b5704d-da1d-4b70-8e12-6d54d32b01a3" providerId="ADAL" clId="{F979C8B0-72E3-4D3D-95A6-DC7ECDDD3ECC}" dt="2023-09-20T14:00:47.055" v="2252" actId="478"/>
          <ac:picMkLst>
            <pc:docMk/>
            <pc:sldMk cId="2333412630" sldId="2147471333"/>
            <ac:picMk id="17" creationId="{B8B02A49-B66F-CE1D-70A9-B54E136560CC}"/>
          </ac:picMkLst>
        </pc:picChg>
        <pc:picChg chg="del">
          <ac:chgData name="Paul LEGEARD" userId="73b5704d-da1d-4b70-8e12-6d54d32b01a3" providerId="ADAL" clId="{F979C8B0-72E3-4D3D-95A6-DC7ECDDD3ECC}" dt="2023-09-20T14:00:47.055" v="2252" actId="478"/>
          <ac:picMkLst>
            <pc:docMk/>
            <pc:sldMk cId="2333412630" sldId="2147471333"/>
            <ac:picMk id="18" creationId="{402F96EA-898F-5C95-D7BC-51A493F2898B}"/>
          </ac:picMkLst>
        </pc:picChg>
        <pc:picChg chg="del">
          <ac:chgData name="Paul LEGEARD" userId="73b5704d-da1d-4b70-8e12-6d54d32b01a3" providerId="ADAL" clId="{F979C8B0-72E3-4D3D-95A6-DC7ECDDD3ECC}" dt="2023-09-20T14:00:47.055" v="2252" actId="478"/>
          <ac:picMkLst>
            <pc:docMk/>
            <pc:sldMk cId="2333412630" sldId="2147471333"/>
            <ac:picMk id="19" creationId="{38375F86-A070-1B80-389C-FF10C51AEA84}"/>
          </ac:picMkLst>
        </pc:picChg>
        <pc:picChg chg="del">
          <ac:chgData name="Paul LEGEARD" userId="73b5704d-da1d-4b70-8e12-6d54d32b01a3" providerId="ADAL" clId="{F979C8B0-72E3-4D3D-95A6-DC7ECDDD3ECC}" dt="2023-09-20T14:00:47.055" v="2252" actId="478"/>
          <ac:picMkLst>
            <pc:docMk/>
            <pc:sldMk cId="2333412630" sldId="2147471333"/>
            <ac:picMk id="20" creationId="{910182ED-7289-F2E8-274D-9FA3D6B72BC5}"/>
          </ac:picMkLst>
        </pc:picChg>
        <pc:picChg chg="del">
          <ac:chgData name="Paul LEGEARD" userId="73b5704d-da1d-4b70-8e12-6d54d32b01a3" providerId="ADAL" clId="{F979C8B0-72E3-4D3D-95A6-DC7ECDDD3ECC}" dt="2023-09-20T14:00:47.055" v="2252" actId="478"/>
          <ac:picMkLst>
            <pc:docMk/>
            <pc:sldMk cId="2333412630" sldId="2147471333"/>
            <ac:picMk id="21" creationId="{E3E43CE3-8F46-2A83-B9E6-097217B6F652}"/>
          </ac:picMkLst>
        </pc:picChg>
        <pc:picChg chg="del">
          <ac:chgData name="Paul LEGEARD" userId="73b5704d-da1d-4b70-8e12-6d54d32b01a3" providerId="ADAL" clId="{F979C8B0-72E3-4D3D-95A6-DC7ECDDD3ECC}" dt="2023-09-20T14:00:47.055" v="2252" actId="478"/>
          <ac:picMkLst>
            <pc:docMk/>
            <pc:sldMk cId="2333412630" sldId="2147471333"/>
            <ac:picMk id="22" creationId="{D415DE9B-C81D-C9AA-FC62-6BFAA42E63C2}"/>
          </ac:picMkLst>
        </pc:picChg>
        <pc:picChg chg="del">
          <ac:chgData name="Paul LEGEARD" userId="73b5704d-da1d-4b70-8e12-6d54d32b01a3" providerId="ADAL" clId="{F979C8B0-72E3-4D3D-95A6-DC7ECDDD3ECC}" dt="2023-09-20T14:00:47.055" v="2252" actId="478"/>
          <ac:picMkLst>
            <pc:docMk/>
            <pc:sldMk cId="2333412630" sldId="2147471333"/>
            <ac:picMk id="23" creationId="{E1E4E421-8F8C-2AAF-4C30-7F8D2E90D8AF}"/>
          </ac:picMkLst>
        </pc:picChg>
        <pc:picChg chg="del">
          <ac:chgData name="Paul LEGEARD" userId="73b5704d-da1d-4b70-8e12-6d54d32b01a3" providerId="ADAL" clId="{F979C8B0-72E3-4D3D-95A6-DC7ECDDD3ECC}" dt="2023-09-20T14:00:47.055" v="2252" actId="478"/>
          <ac:picMkLst>
            <pc:docMk/>
            <pc:sldMk cId="2333412630" sldId="2147471333"/>
            <ac:picMk id="24" creationId="{72C00877-9682-0EA2-19B8-EF98DD413BA7}"/>
          </ac:picMkLst>
        </pc:picChg>
        <pc:picChg chg="del">
          <ac:chgData name="Paul LEGEARD" userId="73b5704d-da1d-4b70-8e12-6d54d32b01a3" providerId="ADAL" clId="{F979C8B0-72E3-4D3D-95A6-DC7ECDDD3ECC}" dt="2023-09-20T14:00:47.055" v="2252" actId="478"/>
          <ac:picMkLst>
            <pc:docMk/>
            <pc:sldMk cId="2333412630" sldId="2147471333"/>
            <ac:picMk id="25" creationId="{FC5E9482-ECFB-15A2-62B6-AD18FFCD75FD}"/>
          </ac:picMkLst>
        </pc:picChg>
        <pc:picChg chg="del">
          <ac:chgData name="Paul LEGEARD" userId="73b5704d-da1d-4b70-8e12-6d54d32b01a3" providerId="ADAL" clId="{F979C8B0-72E3-4D3D-95A6-DC7ECDDD3ECC}" dt="2023-09-20T14:00:47.055" v="2252" actId="478"/>
          <ac:picMkLst>
            <pc:docMk/>
            <pc:sldMk cId="2333412630" sldId="2147471333"/>
            <ac:picMk id="29" creationId="{58D7AE8F-09E9-C47B-0904-EE0C37059EE8}"/>
          </ac:picMkLst>
        </pc:picChg>
        <pc:picChg chg="del">
          <ac:chgData name="Paul LEGEARD" userId="73b5704d-da1d-4b70-8e12-6d54d32b01a3" providerId="ADAL" clId="{F979C8B0-72E3-4D3D-95A6-DC7ECDDD3ECC}" dt="2023-09-20T14:00:47.055" v="2252" actId="478"/>
          <ac:picMkLst>
            <pc:docMk/>
            <pc:sldMk cId="2333412630" sldId="2147471333"/>
            <ac:picMk id="30" creationId="{7DDD5A39-6117-25C1-43D7-A021E2466B41}"/>
          </ac:picMkLst>
        </pc:picChg>
        <pc:picChg chg="del">
          <ac:chgData name="Paul LEGEARD" userId="73b5704d-da1d-4b70-8e12-6d54d32b01a3" providerId="ADAL" clId="{F979C8B0-72E3-4D3D-95A6-DC7ECDDD3ECC}" dt="2023-09-20T14:00:47.055" v="2252" actId="478"/>
          <ac:picMkLst>
            <pc:docMk/>
            <pc:sldMk cId="2333412630" sldId="2147471333"/>
            <ac:picMk id="31" creationId="{F7CFD0D4-E255-973C-6757-E47B839BBA8B}"/>
          </ac:picMkLst>
        </pc:picChg>
        <pc:picChg chg="del">
          <ac:chgData name="Paul LEGEARD" userId="73b5704d-da1d-4b70-8e12-6d54d32b01a3" providerId="ADAL" clId="{F979C8B0-72E3-4D3D-95A6-DC7ECDDD3ECC}" dt="2023-09-20T14:00:47.055" v="2252" actId="478"/>
          <ac:picMkLst>
            <pc:docMk/>
            <pc:sldMk cId="2333412630" sldId="2147471333"/>
            <ac:picMk id="35" creationId="{FBF607FD-501F-D43F-C9A0-DAB79DD3CDB8}"/>
          </ac:picMkLst>
        </pc:picChg>
        <pc:picChg chg="del">
          <ac:chgData name="Paul LEGEARD" userId="73b5704d-da1d-4b70-8e12-6d54d32b01a3" providerId="ADAL" clId="{F979C8B0-72E3-4D3D-95A6-DC7ECDDD3ECC}" dt="2023-09-20T14:00:47.055" v="2252" actId="478"/>
          <ac:picMkLst>
            <pc:docMk/>
            <pc:sldMk cId="2333412630" sldId="2147471333"/>
            <ac:picMk id="36" creationId="{15793173-BB11-0F29-797F-EB26F04C1647}"/>
          </ac:picMkLst>
        </pc:picChg>
        <pc:picChg chg="del">
          <ac:chgData name="Paul LEGEARD" userId="73b5704d-da1d-4b70-8e12-6d54d32b01a3" providerId="ADAL" clId="{F979C8B0-72E3-4D3D-95A6-DC7ECDDD3ECC}" dt="2023-09-20T14:00:47.055" v="2252" actId="478"/>
          <ac:picMkLst>
            <pc:docMk/>
            <pc:sldMk cId="2333412630" sldId="2147471333"/>
            <ac:picMk id="37" creationId="{A0ABD32F-E74C-85C2-D106-B90E4DDCDD0C}"/>
          </ac:picMkLst>
        </pc:picChg>
        <pc:picChg chg="del">
          <ac:chgData name="Paul LEGEARD" userId="73b5704d-da1d-4b70-8e12-6d54d32b01a3" providerId="ADAL" clId="{F979C8B0-72E3-4D3D-95A6-DC7ECDDD3ECC}" dt="2023-09-20T14:00:47.055" v="2252" actId="478"/>
          <ac:picMkLst>
            <pc:docMk/>
            <pc:sldMk cId="2333412630" sldId="2147471333"/>
            <ac:picMk id="38" creationId="{2D54B4E4-A510-7B74-54F7-5C31F9D26AA7}"/>
          </ac:picMkLst>
        </pc:picChg>
        <pc:picChg chg="del">
          <ac:chgData name="Paul LEGEARD" userId="73b5704d-da1d-4b70-8e12-6d54d32b01a3" providerId="ADAL" clId="{F979C8B0-72E3-4D3D-95A6-DC7ECDDD3ECC}" dt="2023-09-20T14:00:47.055" v="2252" actId="478"/>
          <ac:picMkLst>
            <pc:docMk/>
            <pc:sldMk cId="2333412630" sldId="2147471333"/>
            <ac:picMk id="39" creationId="{18B6B1D2-8037-B254-5CC5-76CD90F93AD3}"/>
          </ac:picMkLst>
        </pc:picChg>
        <pc:picChg chg="del">
          <ac:chgData name="Paul LEGEARD" userId="73b5704d-da1d-4b70-8e12-6d54d32b01a3" providerId="ADAL" clId="{F979C8B0-72E3-4D3D-95A6-DC7ECDDD3ECC}" dt="2023-09-20T14:00:47.055" v="2252" actId="478"/>
          <ac:picMkLst>
            <pc:docMk/>
            <pc:sldMk cId="2333412630" sldId="2147471333"/>
            <ac:picMk id="40" creationId="{A29DBC59-3E40-6C56-D8F4-01501588B441}"/>
          </ac:picMkLst>
        </pc:picChg>
        <pc:picChg chg="del">
          <ac:chgData name="Paul LEGEARD" userId="73b5704d-da1d-4b70-8e12-6d54d32b01a3" providerId="ADAL" clId="{F979C8B0-72E3-4D3D-95A6-DC7ECDDD3ECC}" dt="2023-09-20T14:00:47.055" v="2252" actId="478"/>
          <ac:picMkLst>
            <pc:docMk/>
            <pc:sldMk cId="2333412630" sldId="2147471333"/>
            <ac:picMk id="41" creationId="{3EA08288-BB69-BCF6-E6AE-CCDC2708BF98}"/>
          </ac:picMkLst>
        </pc:picChg>
        <pc:picChg chg="del">
          <ac:chgData name="Paul LEGEARD" userId="73b5704d-da1d-4b70-8e12-6d54d32b01a3" providerId="ADAL" clId="{F979C8B0-72E3-4D3D-95A6-DC7ECDDD3ECC}" dt="2023-09-20T14:00:47.055" v="2252" actId="478"/>
          <ac:picMkLst>
            <pc:docMk/>
            <pc:sldMk cId="2333412630" sldId="2147471333"/>
            <ac:picMk id="42" creationId="{F378D216-5CF8-368A-4A67-F84E10890A69}"/>
          </ac:picMkLst>
        </pc:pic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2:12.680" v="7241"/>
              <pc2:cmMkLst xmlns:pc2="http://schemas.microsoft.com/office/powerpoint/2019/9/main/command">
                <pc:docMk/>
                <pc:sldMk cId="2333412630" sldId="2147471333"/>
                <pc2:cmMk id="{1450E210-2E15-4A14-9346-417FF66E5B19}"/>
              </pc2:cmMkLst>
            </pc226:cmChg>
            <pc226:cmChg xmlns:pc226="http://schemas.microsoft.com/office/powerpoint/2022/06/main/command" chg="add del">
              <pc226:chgData name="Paul LEGEARD" userId="73b5704d-da1d-4b70-8e12-6d54d32b01a3" providerId="ADAL" clId="{F979C8B0-72E3-4D3D-95A6-DC7ECDDD3ECC}" dt="2023-09-29T11:32:35.342" v="7243"/>
              <pc2:cmMkLst xmlns:pc2="http://schemas.microsoft.com/office/powerpoint/2019/9/main/command">
                <pc:docMk/>
                <pc:sldMk cId="2333412630" sldId="2147471333"/>
                <pc2:cmMk id="{F4A98C1E-EEB0-49EE-A06E-1185F210DB61}"/>
              </pc2:cmMkLst>
            </pc226:cmChg>
            <pc226:cmChg xmlns:pc226="http://schemas.microsoft.com/office/powerpoint/2022/06/main/command" chg="add del">
              <pc226:chgData name="Paul LEGEARD" userId="73b5704d-da1d-4b70-8e12-6d54d32b01a3" providerId="ADAL" clId="{F979C8B0-72E3-4D3D-95A6-DC7ECDDD3ECC}" dt="2023-09-29T11:32:19.593" v="7242"/>
              <pc2:cmMkLst xmlns:pc2="http://schemas.microsoft.com/office/powerpoint/2019/9/main/command">
                <pc:docMk/>
                <pc:sldMk cId="2333412630" sldId="2147471333"/>
                <pc2:cmMk id="{5CA3CC45-7F12-4341-9BBF-094E233B4C8C}"/>
              </pc2:cmMkLst>
            </pc226:cmChg>
            <pc226:cmChg xmlns:pc226="http://schemas.microsoft.com/office/powerpoint/2022/06/main/command" chg="add del">
              <pc226:chgData name="Paul LEGEARD" userId="73b5704d-da1d-4b70-8e12-6d54d32b01a3" providerId="ADAL" clId="{F979C8B0-72E3-4D3D-95A6-DC7ECDDD3ECC}" dt="2023-09-29T11:32:36.624" v="7244"/>
              <pc2:cmMkLst xmlns:pc2="http://schemas.microsoft.com/office/powerpoint/2019/9/main/command">
                <pc:docMk/>
                <pc:sldMk cId="2333412630" sldId="2147471333"/>
                <pc2:cmMk id="{F78518A9-2726-4CC6-A882-BA03B26BB296}"/>
              </pc2:cmMkLst>
            </pc226:cmChg>
          </p:ext>
        </pc:extLst>
      </pc:sldChg>
      <pc:sldChg chg="addSp delSp modSp add mod addCm delCm">
        <pc:chgData name="Paul LEGEARD" userId="73b5704d-da1d-4b70-8e12-6d54d32b01a3" providerId="ADAL" clId="{F979C8B0-72E3-4D3D-95A6-DC7ECDDD3ECC}" dt="2023-09-29T11:33:19.198" v="7248"/>
        <pc:sldMkLst>
          <pc:docMk/>
          <pc:sldMk cId="2200555554" sldId="2147471334"/>
        </pc:sldMkLst>
        <pc:spChg chg="add mod">
          <ac:chgData name="Paul LEGEARD" userId="73b5704d-da1d-4b70-8e12-6d54d32b01a3" providerId="ADAL" clId="{F979C8B0-72E3-4D3D-95A6-DC7ECDDD3ECC}" dt="2023-09-28T06:53:55.833" v="6342" actId="20577"/>
          <ac:spMkLst>
            <pc:docMk/>
            <pc:sldMk cId="2200555554" sldId="2147471334"/>
            <ac:spMk id="3" creationId="{091B2D08-437C-5BD4-819C-1986E541FAAA}"/>
          </ac:spMkLst>
        </pc:spChg>
        <pc:spChg chg="add mod">
          <ac:chgData name="Paul LEGEARD" userId="73b5704d-da1d-4b70-8e12-6d54d32b01a3" providerId="ADAL" clId="{F979C8B0-72E3-4D3D-95A6-DC7ECDDD3ECC}" dt="2023-09-20T14:03:25.231" v="2333"/>
          <ac:spMkLst>
            <pc:docMk/>
            <pc:sldMk cId="2200555554" sldId="2147471334"/>
            <ac:spMk id="5" creationId="{8ECD6AD5-4B6A-ECA6-8D72-91CC3E468409}"/>
          </ac:spMkLst>
        </pc:spChg>
        <pc:spChg chg="mod">
          <ac:chgData name="Paul LEGEARD" userId="73b5704d-da1d-4b70-8e12-6d54d32b01a3" providerId="ADAL" clId="{F979C8B0-72E3-4D3D-95A6-DC7ECDDD3ECC}" dt="2023-09-25T08:57:30.442" v="3187" actId="11530"/>
          <ac:spMkLst>
            <pc:docMk/>
            <pc:sldMk cId="2200555554" sldId="2147471334"/>
            <ac:spMk id="22" creationId="{F861A5D3-09E8-9E69-189A-C6C2DF6EAFE7}"/>
          </ac:spMkLst>
        </pc:spChg>
        <pc:spChg chg="del">
          <ac:chgData name="Paul LEGEARD" userId="73b5704d-da1d-4b70-8e12-6d54d32b01a3" providerId="ADAL" clId="{F979C8B0-72E3-4D3D-95A6-DC7ECDDD3ECC}" dt="2023-09-20T14:02:37.167" v="2317" actId="478"/>
          <ac:spMkLst>
            <pc:docMk/>
            <pc:sldMk cId="2200555554" sldId="2147471334"/>
            <ac:spMk id="63" creationId="{6FCA3EC8-5A48-9DF2-10E4-975E9FD57E5F}"/>
          </ac:spMkLst>
        </pc:spChg>
        <pc:spChg chg="mod">
          <ac:chgData name="Paul LEGEARD" userId="73b5704d-da1d-4b70-8e12-6d54d32b01a3" providerId="ADAL" clId="{F979C8B0-72E3-4D3D-95A6-DC7ECDDD3ECC}" dt="2023-09-25T08:56:05.347" v="3186" actId="20577"/>
          <ac:spMkLst>
            <pc:docMk/>
            <pc:sldMk cId="2200555554" sldId="2147471334"/>
            <ac:spMk id="79" creationId="{9007893F-DE3F-4277-8B72-135CF4773651}"/>
          </ac:spMkLst>
        </pc:spChg>
        <pc:picChg chg="add mod">
          <ac:chgData name="Paul LEGEARD" userId="73b5704d-da1d-4b70-8e12-6d54d32b01a3" providerId="ADAL" clId="{F979C8B0-72E3-4D3D-95A6-DC7ECDDD3ECC}" dt="2023-09-20T14:03:25.231" v="2333"/>
          <ac:picMkLst>
            <pc:docMk/>
            <pc:sldMk cId="2200555554" sldId="2147471334"/>
            <ac:picMk id="4" creationId="{8D18C420-6CA6-2BDC-3841-DBACD986C29B}"/>
          </ac:picMkLst>
        </pc:pic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3:12.377" v="7247"/>
              <pc2:cmMkLst xmlns:pc2="http://schemas.microsoft.com/office/powerpoint/2019/9/main/command">
                <pc:docMk/>
                <pc:sldMk cId="2200555554" sldId="2147471334"/>
                <pc2:cmMk id="{A2012233-0277-495E-8078-934100083A6A}"/>
              </pc2:cmMkLst>
            </pc226:cmChg>
            <pc226:cmChg xmlns:pc226="http://schemas.microsoft.com/office/powerpoint/2022/06/main/command" chg="add del">
              <pc226:chgData name="Paul LEGEARD" userId="73b5704d-da1d-4b70-8e12-6d54d32b01a3" providerId="ADAL" clId="{F979C8B0-72E3-4D3D-95A6-DC7ECDDD3ECC}" dt="2023-09-29T11:33:19.198" v="7248"/>
              <pc2:cmMkLst xmlns:pc2="http://schemas.microsoft.com/office/powerpoint/2019/9/main/command">
                <pc:docMk/>
                <pc:sldMk cId="2200555554" sldId="2147471334"/>
                <pc2:cmMk id="{F94ED4F0-8A37-4E5C-A6CD-4C6165EC2846}"/>
              </pc2:cmMkLst>
            </pc226:cmChg>
          </p:ext>
        </pc:extLst>
      </pc:sldChg>
      <pc:sldChg chg="add del">
        <pc:chgData name="Paul LEGEARD" userId="73b5704d-da1d-4b70-8e12-6d54d32b01a3" providerId="ADAL" clId="{F979C8B0-72E3-4D3D-95A6-DC7ECDDD3ECC}" dt="2023-09-20T14:06:01.872" v="2359"/>
        <pc:sldMkLst>
          <pc:docMk/>
          <pc:sldMk cId="2010595434" sldId="2147471335"/>
        </pc:sldMkLst>
      </pc:sldChg>
      <pc:sldChg chg="addSp delSp modSp add mod">
        <pc:chgData name="Paul LEGEARD" userId="73b5704d-da1d-4b70-8e12-6d54d32b01a3" providerId="ADAL" clId="{F979C8B0-72E3-4D3D-95A6-DC7ECDDD3ECC}" dt="2023-09-25T08:59:22.617" v="3192" actId="20577"/>
        <pc:sldMkLst>
          <pc:docMk/>
          <pc:sldMk cId="3215848774" sldId="2147471335"/>
        </pc:sldMkLst>
        <pc:spChg chg="mod">
          <ac:chgData name="Paul LEGEARD" userId="73b5704d-da1d-4b70-8e12-6d54d32b01a3" providerId="ADAL" clId="{F979C8B0-72E3-4D3D-95A6-DC7ECDDD3ECC}" dt="2023-09-20T14:06:12.800" v="2400" actId="20577"/>
          <ac:spMkLst>
            <pc:docMk/>
            <pc:sldMk cId="3215848774" sldId="2147471335"/>
            <ac:spMk id="2" creationId="{A3A5715A-F78A-BB39-E01A-766708689330}"/>
          </ac:spMkLst>
        </pc:spChg>
        <pc:spChg chg="add mod">
          <ac:chgData name="Paul LEGEARD" userId="73b5704d-da1d-4b70-8e12-6d54d32b01a3" providerId="ADAL" clId="{F979C8B0-72E3-4D3D-95A6-DC7ECDDD3ECC}" dt="2023-09-25T08:59:22.617" v="3192" actId="20577"/>
          <ac:spMkLst>
            <pc:docMk/>
            <pc:sldMk cId="3215848774" sldId="2147471335"/>
            <ac:spMk id="5" creationId="{79340272-F215-0072-A774-289CD6DA314B}"/>
          </ac:spMkLst>
        </pc:spChg>
        <pc:spChg chg="del">
          <ac:chgData name="Paul LEGEARD" userId="73b5704d-da1d-4b70-8e12-6d54d32b01a3" providerId="ADAL" clId="{F979C8B0-72E3-4D3D-95A6-DC7ECDDD3ECC}" dt="2023-09-20T14:06:15.680" v="2401" actId="478"/>
          <ac:spMkLst>
            <pc:docMk/>
            <pc:sldMk cId="3215848774" sldId="2147471335"/>
            <ac:spMk id="6" creationId="{5739D314-2C51-9ECE-0D2E-97FBE85B96D9}"/>
          </ac:spMkLst>
        </pc:spChg>
        <pc:spChg chg="add mod">
          <ac:chgData name="Paul LEGEARD" userId="73b5704d-da1d-4b70-8e12-6d54d32b01a3" providerId="ADAL" clId="{F979C8B0-72E3-4D3D-95A6-DC7ECDDD3ECC}" dt="2023-09-20T14:06:45.052" v="2486" actId="20577"/>
          <ac:spMkLst>
            <pc:docMk/>
            <pc:sldMk cId="3215848774" sldId="2147471335"/>
            <ac:spMk id="7" creationId="{62BB8B64-06C9-DFC1-7FA0-473F72E9EF69}"/>
          </ac:spMkLst>
        </pc:spChg>
        <pc:spChg chg="del">
          <ac:chgData name="Paul LEGEARD" userId="73b5704d-da1d-4b70-8e12-6d54d32b01a3" providerId="ADAL" clId="{F979C8B0-72E3-4D3D-95A6-DC7ECDDD3ECC}" dt="2023-09-20T14:06:15.680" v="2401" actId="478"/>
          <ac:spMkLst>
            <pc:docMk/>
            <pc:sldMk cId="3215848774" sldId="2147471335"/>
            <ac:spMk id="10" creationId="{B3E20DFB-4DD4-93B2-1779-1702790B4E11}"/>
          </ac:spMkLst>
        </pc:spChg>
        <pc:graphicFrameChg chg="del">
          <ac:chgData name="Paul LEGEARD" userId="73b5704d-da1d-4b70-8e12-6d54d32b01a3" providerId="ADAL" clId="{F979C8B0-72E3-4D3D-95A6-DC7ECDDD3ECC}" dt="2023-09-20T14:06:15.680" v="2401" actId="478"/>
          <ac:graphicFrameMkLst>
            <pc:docMk/>
            <pc:sldMk cId="3215848774" sldId="2147471335"/>
            <ac:graphicFrameMk id="8" creationId="{81B483E1-72B7-41F4-3F8F-DBCAFF0F2FFF}"/>
          </ac:graphicFrameMkLst>
        </pc:graphicFrameChg>
      </pc:sldChg>
      <pc:sldChg chg="addSp delSp modSp mod addCm delCm">
        <pc:chgData name="Paul LEGEARD" userId="73b5704d-da1d-4b70-8e12-6d54d32b01a3" providerId="ADAL" clId="{F979C8B0-72E3-4D3D-95A6-DC7ECDDD3ECC}" dt="2023-09-29T11:42:52.632" v="7955"/>
        <pc:sldMkLst>
          <pc:docMk/>
          <pc:sldMk cId="825480840" sldId="2147471336"/>
        </pc:sldMkLst>
        <pc:spChg chg="mod ord">
          <ac:chgData name="Paul LEGEARD" userId="73b5704d-da1d-4b70-8e12-6d54d32b01a3" providerId="ADAL" clId="{F979C8B0-72E3-4D3D-95A6-DC7ECDDD3ECC}" dt="2023-09-26T12:33:44.927" v="5278" actId="208"/>
          <ac:spMkLst>
            <pc:docMk/>
            <pc:sldMk cId="825480840" sldId="2147471336"/>
            <ac:spMk id="5" creationId="{C840A121-B67A-1A13-2217-D8CDCFD6595C}"/>
          </ac:spMkLst>
        </pc:spChg>
        <pc:spChg chg="mod">
          <ac:chgData name="Paul LEGEARD" userId="73b5704d-da1d-4b70-8e12-6d54d32b01a3" providerId="ADAL" clId="{F979C8B0-72E3-4D3D-95A6-DC7ECDDD3ECC}" dt="2023-09-26T12:33:40.408" v="5277" actId="208"/>
          <ac:spMkLst>
            <pc:docMk/>
            <pc:sldMk cId="825480840" sldId="2147471336"/>
            <ac:spMk id="8" creationId="{C4063F59-D299-D399-D087-7D00D9045A6E}"/>
          </ac:spMkLst>
        </pc:spChg>
        <pc:spChg chg="del">
          <ac:chgData name="Paul LEGEARD" userId="73b5704d-da1d-4b70-8e12-6d54d32b01a3" providerId="ADAL" clId="{F979C8B0-72E3-4D3D-95A6-DC7ECDDD3ECC}" dt="2023-09-26T12:28:39.004" v="5137" actId="478"/>
          <ac:spMkLst>
            <pc:docMk/>
            <pc:sldMk cId="825480840" sldId="2147471336"/>
            <ac:spMk id="54" creationId="{713D7796-1E03-A183-D712-E20C5414DAC6}"/>
          </ac:spMkLst>
        </pc:spChg>
        <pc:spChg chg="mod">
          <ac:chgData name="Paul LEGEARD" userId="73b5704d-da1d-4b70-8e12-6d54d32b01a3" providerId="ADAL" clId="{F979C8B0-72E3-4D3D-95A6-DC7ECDDD3ECC}" dt="2023-09-28T07:01:35.060" v="6359" actId="1076"/>
          <ac:spMkLst>
            <pc:docMk/>
            <pc:sldMk cId="825480840" sldId="2147471336"/>
            <ac:spMk id="79" creationId="{9007893F-DE3F-4277-8B72-135CF4773651}"/>
          </ac:spMkLst>
        </pc:spChg>
        <pc:graphicFrameChg chg="mod modGraphic">
          <ac:chgData name="Paul LEGEARD" userId="73b5704d-da1d-4b70-8e12-6d54d32b01a3" providerId="ADAL" clId="{F979C8B0-72E3-4D3D-95A6-DC7ECDDD3ECC}" dt="2023-09-26T12:34:19.971" v="5334"/>
          <ac:graphicFrameMkLst>
            <pc:docMk/>
            <pc:sldMk cId="825480840" sldId="2147471336"/>
            <ac:graphicFrameMk id="11" creationId="{CA62CBE0-8FCE-629E-D95A-33155605D4B8}"/>
          </ac:graphicFrameMkLst>
        </pc:graphicFrameChg>
        <pc:picChg chg="add mod">
          <ac:chgData name="Paul LEGEARD" userId="73b5704d-da1d-4b70-8e12-6d54d32b01a3" providerId="ADAL" clId="{F979C8B0-72E3-4D3D-95A6-DC7ECDDD3ECC}" dt="2023-09-26T12:27:40.597" v="5132" actId="1076"/>
          <ac:picMkLst>
            <pc:docMk/>
            <pc:sldMk cId="825480840" sldId="2147471336"/>
            <ac:picMk id="12" creationId="{309666D0-803E-4BE9-43EB-C65D815ABE2F}"/>
          </ac:picMkLst>
        </pc:picChg>
        <pc:picChg chg="add mod">
          <ac:chgData name="Paul LEGEARD" userId="73b5704d-da1d-4b70-8e12-6d54d32b01a3" providerId="ADAL" clId="{F979C8B0-72E3-4D3D-95A6-DC7ECDDD3ECC}" dt="2023-09-26T12:28:27.019" v="5134" actId="1076"/>
          <ac:picMkLst>
            <pc:docMk/>
            <pc:sldMk cId="825480840" sldId="2147471336"/>
            <ac:picMk id="13" creationId="{0A646DB4-7AED-BB5D-9908-4E4BF2A20C31}"/>
          </ac:picMkLst>
        </pc:picChg>
        <pc:picChg chg="add mod">
          <ac:chgData name="Paul LEGEARD" userId="73b5704d-da1d-4b70-8e12-6d54d32b01a3" providerId="ADAL" clId="{F979C8B0-72E3-4D3D-95A6-DC7ECDDD3ECC}" dt="2023-09-26T12:28:32.095" v="5136" actId="1076"/>
          <ac:picMkLst>
            <pc:docMk/>
            <pc:sldMk cId="825480840" sldId="2147471336"/>
            <ac:picMk id="17" creationId="{0E845D35-8BC7-1EAE-CD1B-4D249452BA88}"/>
          </ac:picMkLst>
        </pc:picChg>
        <pc:picChg chg="add mod">
          <ac:chgData name="Paul LEGEARD" userId="73b5704d-da1d-4b70-8e12-6d54d32b01a3" providerId="ADAL" clId="{F979C8B0-72E3-4D3D-95A6-DC7ECDDD3ECC}" dt="2023-09-26T12:28:42.224" v="5139" actId="1076"/>
          <ac:picMkLst>
            <pc:docMk/>
            <pc:sldMk cId="825480840" sldId="2147471336"/>
            <ac:picMk id="18" creationId="{BFA7A39C-A73C-0FF4-2B97-2DF2BD4D8BFC}"/>
          </ac:picMkLst>
        </pc:picChg>
        <pc:picChg chg="add mod">
          <ac:chgData name="Paul LEGEARD" userId="73b5704d-da1d-4b70-8e12-6d54d32b01a3" providerId="ADAL" clId="{F979C8B0-72E3-4D3D-95A6-DC7ECDDD3ECC}" dt="2023-09-26T12:29:21.900" v="5191" actId="1076"/>
          <ac:picMkLst>
            <pc:docMk/>
            <pc:sldMk cId="825480840" sldId="2147471336"/>
            <ac:picMk id="19" creationId="{C63FFFBB-21F0-DACA-CE98-95760C051812}"/>
          </ac:picMkLst>
        </pc:picChg>
        <pc:picChg chg="add mod">
          <ac:chgData name="Paul LEGEARD" userId="73b5704d-da1d-4b70-8e12-6d54d32b01a3" providerId="ADAL" clId="{F979C8B0-72E3-4D3D-95A6-DC7ECDDD3ECC}" dt="2023-09-26T12:30:28.300" v="5199" actId="1076"/>
          <ac:picMkLst>
            <pc:docMk/>
            <pc:sldMk cId="825480840" sldId="2147471336"/>
            <ac:picMk id="20" creationId="{0A7FE94A-9AE7-8E19-64D7-5875D9F0B1DE}"/>
          </ac:picMkLst>
        </pc:picChg>
        <pc:picChg chg="add mod">
          <ac:chgData name="Paul LEGEARD" userId="73b5704d-da1d-4b70-8e12-6d54d32b01a3" providerId="ADAL" clId="{F979C8B0-72E3-4D3D-95A6-DC7ECDDD3ECC}" dt="2023-09-26T12:33:14.242" v="5270" actId="1076"/>
          <ac:picMkLst>
            <pc:docMk/>
            <pc:sldMk cId="825480840" sldId="2147471336"/>
            <ac:picMk id="21" creationId="{5A02C178-6B4B-6328-6F7B-489DB704880E}"/>
          </ac:picMkLst>
        </pc:picChg>
        <pc:picChg chg="add mod">
          <ac:chgData name="Paul LEGEARD" userId="73b5704d-da1d-4b70-8e12-6d54d32b01a3" providerId="ADAL" clId="{F979C8B0-72E3-4D3D-95A6-DC7ECDDD3ECC}" dt="2023-09-26T12:33:14.242" v="5270" actId="1076"/>
          <ac:picMkLst>
            <pc:docMk/>
            <pc:sldMk cId="825480840" sldId="2147471336"/>
            <ac:picMk id="22" creationId="{7A8911D5-5FE3-5C24-EC67-A1D06B2B0CA1}"/>
          </ac:picMkLst>
        </pc:picChg>
        <pc:picChg chg="add mod">
          <ac:chgData name="Paul LEGEARD" userId="73b5704d-da1d-4b70-8e12-6d54d32b01a3" providerId="ADAL" clId="{F979C8B0-72E3-4D3D-95A6-DC7ECDDD3ECC}" dt="2023-09-26T12:33:20.202" v="5272" actId="1076"/>
          <ac:picMkLst>
            <pc:docMk/>
            <pc:sldMk cId="825480840" sldId="2147471336"/>
            <ac:picMk id="23" creationId="{B5A7A20D-6B83-2B5A-D2B5-0B6C0297855C}"/>
          </ac:picMkLst>
        </pc:picChg>
        <pc:picChg chg="add mod">
          <ac:chgData name="Paul LEGEARD" userId="73b5704d-da1d-4b70-8e12-6d54d32b01a3" providerId="ADAL" clId="{F979C8B0-72E3-4D3D-95A6-DC7ECDDD3ECC}" dt="2023-09-26T12:33:20.202" v="5272" actId="1076"/>
          <ac:picMkLst>
            <pc:docMk/>
            <pc:sldMk cId="825480840" sldId="2147471336"/>
            <ac:picMk id="24" creationId="{75DFFB9E-F2ED-6FE0-F3C1-FC0B9992DDA7}"/>
          </ac:picMkLst>
        </pc:picChg>
        <pc:picChg chg="add mod">
          <ac:chgData name="Paul LEGEARD" userId="73b5704d-da1d-4b70-8e12-6d54d32b01a3" providerId="ADAL" clId="{F979C8B0-72E3-4D3D-95A6-DC7ECDDD3ECC}" dt="2023-09-26T12:34:33.199" v="5340" actId="1036"/>
          <ac:picMkLst>
            <pc:docMk/>
            <pc:sldMk cId="825480840" sldId="2147471336"/>
            <ac:picMk id="25" creationId="{4173775D-2627-CE5C-F550-6FED9FE25483}"/>
          </ac:picMkLst>
        </pc:picChg>
        <pc:picChg chg="add mod">
          <ac:chgData name="Paul LEGEARD" userId="73b5704d-da1d-4b70-8e12-6d54d32b01a3" providerId="ADAL" clId="{F979C8B0-72E3-4D3D-95A6-DC7ECDDD3ECC}" dt="2023-09-26T12:34:37.853" v="5342" actId="1076"/>
          <ac:picMkLst>
            <pc:docMk/>
            <pc:sldMk cId="825480840" sldId="2147471336"/>
            <ac:picMk id="28" creationId="{0C14594C-8373-88A6-69E6-51B28F336E29}"/>
          </ac:picMkLst>
        </pc:picChg>
        <pc:picChg chg="add mod">
          <ac:chgData name="Paul LEGEARD" userId="73b5704d-da1d-4b70-8e12-6d54d32b01a3" providerId="ADAL" clId="{F979C8B0-72E3-4D3D-95A6-DC7ECDDD3ECC}" dt="2023-09-26T12:34:44.442" v="5344" actId="1076"/>
          <ac:picMkLst>
            <pc:docMk/>
            <pc:sldMk cId="825480840" sldId="2147471336"/>
            <ac:picMk id="29" creationId="{CE4C3608-4F58-5982-FD5A-D2E3D582FA28}"/>
          </ac:picMkLst>
        </pc:pic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42:52.632" v="7955"/>
              <pc2:cmMkLst xmlns:pc2="http://schemas.microsoft.com/office/powerpoint/2019/9/main/command">
                <pc:docMk/>
                <pc:sldMk cId="825480840" sldId="2147471336"/>
                <pc2:cmMk id="{2AD47753-3ECB-4E55-8308-2F17E7643547}"/>
              </pc2:cmMkLst>
            </pc226:cmChg>
          </p:ext>
        </pc:extLst>
      </pc:sldChg>
      <pc:sldChg chg="addSp delSp modSp add mod">
        <pc:chgData name="Paul LEGEARD" userId="73b5704d-da1d-4b70-8e12-6d54d32b01a3" providerId="ADAL" clId="{F979C8B0-72E3-4D3D-95A6-DC7ECDDD3ECC}" dt="2023-09-25T10:07:45.936" v="3254" actId="21"/>
        <pc:sldMkLst>
          <pc:docMk/>
          <pc:sldMk cId="2372584584" sldId="2147471337"/>
        </pc:sldMkLst>
        <pc:spChg chg="del">
          <ac:chgData name="Paul LEGEARD" userId="73b5704d-da1d-4b70-8e12-6d54d32b01a3" providerId="ADAL" clId="{F979C8B0-72E3-4D3D-95A6-DC7ECDDD3ECC}" dt="2023-09-25T08:51:20.286" v="2908" actId="478"/>
          <ac:spMkLst>
            <pc:docMk/>
            <pc:sldMk cId="2372584584" sldId="2147471337"/>
            <ac:spMk id="2" creationId="{1B110C3C-3342-0570-1254-DDF1D96A37B8}"/>
          </ac:spMkLst>
        </pc:spChg>
        <pc:spChg chg="add mod">
          <ac:chgData name="Paul LEGEARD" userId="73b5704d-da1d-4b70-8e12-6d54d32b01a3" providerId="ADAL" clId="{F979C8B0-72E3-4D3D-95A6-DC7ECDDD3ECC}" dt="2023-09-25T08:51:48.052" v="2983" actId="1076"/>
          <ac:spMkLst>
            <pc:docMk/>
            <pc:sldMk cId="2372584584" sldId="2147471337"/>
            <ac:spMk id="3" creationId="{6A4B4431-0B0F-60AC-8B65-DFC12BC14633}"/>
          </ac:spMkLst>
        </pc:spChg>
        <pc:spChg chg="add mod">
          <ac:chgData name="Paul LEGEARD" userId="73b5704d-da1d-4b70-8e12-6d54d32b01a3" providerId="ADAL" clId="{F979C8B0-72E3-4D3D-95A6-DC7ECDDD3ECC}" dt="2023-09-25T08:51:48.052" v="2983" actId="1076"/>
          <ac:spMkLst>
            <pc:docMk/>
            <pc:sldMk cId="2372584584" sldId="2147471337"/>
            <ac:spMk id="6" creationId="{2AFBB5F3-4E86-E40D-2DDB-4419089C4BBC}"/>
          </ac:spMkLst>
        </pc:spChg>
        <pc:spChg chg="del">
          <ac:chgData name="Paul LEGEARD" userId="73b5704d-da1d-4b70-8e12-6d54d32b01a3" providerId="ADAL" clId="{F979C8B0-72E3-4D3D-95A6-DC7ECDDD3ECC}" dt="2023-09-25T08:51:23.403" v="2909" actId="478"/>
          <ac:spMkLst>
            <pc:docMk/>
            <pc:sldMk cId="2372584584" sldId="2147471337"/>
            <ac:spMk id="7" creationId="{E85D8045-EC2E-EF9F-D129-99652C2F9285}"/>
          </ac:spMkLst>
        </pc:spChg>
        <pc:spChg chg="del">
          <ac:chgData name="Paul LEGEARD" userId="73b5704d-da1d-4b70-8e12-6d54d32b01a3" providerId="ADAL" clId="{F979C8B0-72E3-4D3D-95A6-DC7ECDDD3ECC}" dt="2023-09-25T08:51:20.286" v="2908" actId="478"/>
          <ac:spMkLst>
            <pc:docMk/>
            <pc:sldMk cId="2372584584" sldId="2147471337"/>
            <ac:spMk id="8" creationId="{8810305F-13AE-19C4-0BCA-3A98B35EB76F}"/>
          </ac:spMkLst>
        </pc:spChg>
        <pc:spChg chg="del">
          <ac:chgData name="Paul LEGEARD" userId="73b5704d-da1d-4b70-8e12-6d54d32b01a3" providerId="ADAL" clId="{F979C8B0-72E3-4D3D-95A6-DC7ECDDD3ECC}" dt="2023-09-25T08:51:20.286" v="2908" actId="478"/>
          <ac:spMkLst>
            <pc:docMk/>
            <pc:sldMk cId="2372584584" sldId="2147471337"/>
            <ac:spMk id="9" creationId="{E72B2137-F417-0F5F-05A3-0CFE093DE742}"/>
          </ac:spMkLst>
        </pc:spChg>
        <pc:spChg chg="del">
          <ac:chgData name="Paul LEGEARD" userId="73b5704d-da1d-4b70-8e12-6d54d32b01a3" providerId="ADAL" clId="{F979C8B0-72E3-4D3D-95A6-DC7ECDDD3ECC}" dt="2023-09-25T08:51:20.286" v="2908" actId="478"/>
          <ac:spMkLst>
            <pc:docMk/>
            <pc:sldMk cId="2372584584" sldId="2147471337"/>
            <ac:spMk id="17" creationId="{EE41CE71-55C9-8D72-A115-088DA0DBD874}"/>
          </ac:spMkLst>
        </pc:spChg>
        <pc:spChg chg="del">
          <ac:chgData name="Paul LEGEARD" userId="73b5704d-da1d-4b70-8e12-6d54d32b01a3" providerId="ADAL" clId="{F979C8B0-72E3-4D3D-95A6-DC7ECDDD3ECC}" dt="2023-09-25T08:51:20.286" v="2908" actId="478"/>
          <ac:spMkLst>
            <pc:docMk/>
            <pc:sldMk cId="2372584584" sldId="2147471337"/>
            <ac:spMk id="20" creationId="{C938247E-1309-9124-223D-EB92A5F7BC4D}"/>
          </ac:spMkLst>
        </pc:spChg>
        <pc:spChg chg="del">
          <ac:chgData name="Paul LEGEARD" userId="73b5704d-da1d-4b70-8e12-6d54d32b01a3" providerId="ADAL" clId="{F979C8B0-72E3-4D3D-95A6-DC7ECDDD3ECC}" dt="2023-09-25T08:51:20.286" v="2908" actId="478"/>
          <ac:spMkLst>
            <pc:docMk/>
            <pc:sldMk cId="2372584584" sldId="2147471337"/>
            <ac:spMk id="21" creationId="{A5D1E60D-E1A0-8C47-E6FA-5E9534FF1446}"/>
          </ac:spMkLst>
        </pc:spChg>
        <pc:spChg chg="del">
          <ac:chgData name="Paul LEGEARD" userId="73b5704d-da1d-4b70-8e12-6d54d32b01a3" providerId="ADAL" clId="{F979C8B0-72E3-4D3D-95A6-DC7ECDDD3ECC}" dt="2023-09-25T08:51:20.286" v="2908" actId="478"/>
          <ac:spMkLst>
            <pc:docMk/>
            <pc:sldMk cId="2372584584" sldId="2147471337"/>
            <ac:spMk id="22" creationId="{2A7CCB27-1FBF-5A83-ACE8-CEFB25E2D9D9}"/>
          </ac:spMkLst>
        </pc:spChg>
        <pc:spChg chg="del">
          <ac:chgData name="Paul LEGEARD" userId="73b5704d-da1d-4b70-8e12-6d54d32b01a3" providerId="ADAL" clId="{F979C8B0-72E3-4D3D-95A6-DC7ECDDD3ECC}" dt="2023-09-25T08:51:20.286" v="2908" actId="478"/>
          <ac:spMkLst>
            <pc:docMk/>
            <pc:sldMk cId="2372584584" sldId="2147471337"/>
            <ac:spMk id="23" creationId="{9910EE84-5F08-1C3A-8DFF-33FACCEE4D10}"/>
          </ac:spMkLst>
        </pc:spChg>
        <pc:spChg chg="mod">
          <ac:chgData name="Paul LEGEARD" userId="73b5704d-da1d-4b70-8e12-6d54d32b01a3" providerId="ADAL" clId="{F979C8B0-72E3-4D3D-95A6-DC7ECDDD3ECC}" dt="2023-09-25T08:51:36.340" v="2981" actId="20577"/>
          <ac:spMkLst>
            <pc:docMk/>
            <pc:sldMk cId="2372584584" sldId="2147471337"/>
            <ac:spMk id="79" creationId="{9007893F-DE3F-4277-8B72-135CF4773651}"/>
          </ac:spMkLst>
        </pc:spChg>
        <pc:graphicFrameChg chg="add mod">
          <ac:chgData name="Paul LEGEARD" userId="73b5704d-da1d-4b70-8e12-6d54d32b01a3" providerId="ADAL" clId="{F979C8B0-72E3-4D3D-95A6-DC7ECDDD3ECC}" dt="2023-09-25T10:07:30.556" v="3251" actId="1076"/>
          <ac:graphicFrameMkLst>
            <pc:docMk/>
            <pc:sldMk cId="2372584584" sldId="2147471337"/>
            <ac:graphicFrameMk id="8" creationId="{7D22759A-93A1-9889-F198-8EDC39841BAA}"/>
          </ac:graphicFrameMkLst>
        </pc:graphicFrameChg>
        <pc:graphicFrameChg chg="del">
          <ac:chgData name="Paul LEGEARD" userId="73b5704d-da1d-4b70-8e12-6d54d32b01a3" providerId="ADAL" clId="{F979C8B0-72E3-4D3D-95A6-DC7ECDDD3ECC}" dt="2023-09-25T08:51:20.286" v="2908" actId="478"/>
          <ac:graphicFrameMkLst>
            <pc:docMk/>
            <pc:sldMk cId="2372584584" sldId="2147471337"/>
            <ac:graphicFrameMk id="12" creationId="{8A96CA9D-83BA-7859-2332-EFCC654ED0E6}"/>
          </ac:graphicFrameMkLst>
        </pc:graphicFrameChg>
        <pc:graphicFrameChg chg="modGraphic">
          <ac:chgData name="Paul LEGEARD" userId="73b5704d-da1d-4b70-8e12-6d54d32b01a3" providerId="ADAL" clId="{F979C8B0-72E3-4D3D-95A6-DC7ECDDD3ECC}" dt="2023-09-25T10:07:22.874" v="3249" actId="21"/>
          <ac:graphicFrameMkLst>
            <pc:docMk/>
            <pc:sldMk cId="2372584584" sldId="2147471337"/>
            <ac:graphicFrameMk id="13" creationId="{D530E74D-107C-3922-B525-C8EDA3C77A74}"/>
          </ac:graphicFrameMkLst>
        </pc:graphicFrameChg>
        <pc:picChg chg="add mod">
          <ac:chgData name="Paul LEGEARD" userId="73b5704d-da1d-4b70-8e12-6d54d32b01a3" providerId="ADAL" clId="{F979C8B0-72E3-4D3D-95A6-DC7ECDDD3ECC}" dt="2023-09-25T08:51:48.052" v="2983" actId="1076"/>
          <ac:picMkLst>
            <pc:docMk/>
            <pc:sldMk cId="2372584584" sldId="2147471337"/>
            <ac:picMk id="10" creationId="{785754D4-CF54-5A07-C99D-3C3D26E41E72}"/>
          </ac:picMkLst>
        </pc:picChg>
        <pc:picChg chg="del">
          <ac:chgData name="Paul LEGEARD" userId="73b5704d-da1d-4b70-8e12-6d54d32b01a3" providerId="ADAL" clId="{F979C8B0-72E3-4D3D-95A6-DC7ECDDD3ECC}" dt="2023-09-25T08:51:20.286" v="2908" actId="478"/>
          <ac:picMkLst>
            <pc:docMk/>
            <pc:sldMk cId="2372584584" sldId="2147471337"/>
            <ac:picMk id="13" creationId="{74FEF84A-371D-ECF7-A061-A61E3BA89823}"/>
          </ac:picMkLst>
        </pc:picChg>
        <pc:picChg chg="del">
          <ac:chgData name="Paul LEGEARD" userId="73b5704d-da1d-4b70-8e12-6d54d32b01a3" providerId="ADAL" clId="{F979C8B0-72E3-4D3D-95A6-DC7ECDDD3ECC}" dt="2023-09-25T08:51:20.286" v="2908" actId="478"/>
          <ac:picMkLst>
            <pc:docMk/>
            <pc:sldMk cId="2372584584" sldId="2147471337"/>
            <ac:picMk id="14" creationId="{5EB87515-6510-241B-1B0D-9E40D31D66CF}"/>
          </ac:picMkLst>
        </pc:picChg>
        <pc:picChg chg="del">
          <ac:chgData name="Paul LEGEARD" userId="73b5704d-da1d-4b70-8e12-6d54d32b01a3" providerId="ADAL" clId="{F979C8B0-72E3-4D3D-95A6-DC7ECDDD3ECC}" dt="2023-09-25T08:51:20.286" v="2908" actId="478"/>
          <ac:picMkLst>
            <pc:docMk/>
            <pc:sldMk cId="2372584584" sldId="2147471337"/>
            <ac:picMk id="15" creationId="{B6087CDC-837F-20A4-C903-41E565F2B036}"/>
          </ac:picMkLst>
        </pc:picChg>
        <pc:picChg chg="del">
          <ac:chgData name="Paul LEGEARD" userId="73b5704d-da1d-4b70-8e12-6d54d32b01a3" providerId="ADAL" clId="{F979C8B0-72E3-4D3D-95A6-DC7ECDDD3ECC}" dt="2023-09-25T08:51:20.286" v="2908" actId="478"/>
          <ac:picMkLst>
            <pc:docMk/>
            <pc:sldMk cId="2372584584" sldId="2147471337"/>
            <ac:picMk id="19" creationId="{1BC91F4D-255C-7F95-1BDC-C52C6319522A}"/>
          </ac:picMkLst>
        </pc:picChg>
        <pc:picChg chg="del">
          <ac:chgData name="Paul LEGEARD" userId="73b5704d-da1d-4b70-8e12-6d54d32b01a3" providerId="ADAL" clId="{F979C8B0-72E3-4D3D-95A6-DC7ECDDD3ECC}" dt="2023-09-25T10:07:45.936" v="3254" actId="21"/>
          <ac:picMkLst>
            <pc:docMk/>
            <pc:sldMk cId="2372584584" sldId="2147471337"/>
            <ac:picMk id="1029" creationId="{1D6C8D68-2AA8-780C-40D6-76C1F87CD834}"/>
          </ac:picMkLst>
        </pc:picChg>
        <pc:picChg chg="del">
          <ac:chgData name="Paul LEGEARD" userId="73b5704d-da1d-4b70-8e12-6d54d32b01a3" providerId="ADAL" clId="{F979C8B0-72E3-4D3D-95A6-DC7ECDDD3ECC}" dt="2023-09-25T10:07:45.936" v="3254" actId="21"/>
          <ac:picMkLst>
            <pc:docMk/>
            <pc:sldMk cId="2372584584" sldId="2147471337"/>
            <ac:picMk id="1031" creationId="{3F43F17C-5F47-4E15-4A1B-0D59E00D682B}"/>
          </ac:picMkLst>
        </pc:picChg>
      </pc:sldChg>
      <pc:sldChg chg="new del">
        <pc:chgData name="Paul LEGEARD" userId="73b5704d-da1d-4b70-8e12-6d54d32b01a3" providerId="ADAL" clId="{F979C8B0-72E3-4D3D-95A6-DC7ECDDD3ECC}" dt="2023-09-25T08:57:45.185" v="3189" actId="680"/>
        <pc:sldMkLst>
          <pc:docMk/>
          <pc:sldMk cId="2030938560" sldId="2147471338"/>
        </pc:sldMkLst>
      </pc:sldChg>
      <pc:sldChg chg="addSp delSp modSp add mod addCm delCm modCm">
        <pc:chgData name="Paul LEGEARD" userId="73b5704d-da1d-4b70-8e12-6d54d32b01a3" providerId="ADAL" clId="{F979C8B0-72E3-4D3D-95A6-DC7ECDDD3ECC}" dt="2023-09-29T11:27:37.042" v="6862"/>
        <pc:sldMkLst>
          <pc:docMk/>
          <pc:sldMk cId="3775618047" sldId="2147471338"/>
        </pc:sldMkLst>
        <pc:spChg chg="mod">
          <ac:chgData name="Paul LEGEARD" userId="73b5704d-da1d-4b70-8e12-6d54d32b01a3" providerId="ADAL" clId="{F979C8B0-72E3-4D3D-95A6-DC7ECDDD3ECC}" dt="2023-09-25T10:07:10.651" v="3247" actId="2711"/>
          <ac:spMkLst>
            <pc:docMk/>
            <pc:sldMk cId="3775618047" sldId="2147471338"/>
            <ac:spMk id="2" creationId="{B65939C1-95BF-7E85-6FAC-E8EC95FC2195}"/>
          </ac:spMkLst>
        </pc:spChg>
        <pc:spChg chg="mod">
          <ac:chgData name="Paul LEGEARD" userId="73b5704d-da1d-4b70-8e12-6d54d32b01a3" providerId="ADAL" clId="{F979C8B0-72E3-4D3D-95A6-DC7ECDDD3ECC}" dt="2023-09-25T10:06:28.561" v="3229" actId="14100"/>
          <ac:spMkLst>
            <pc:docMk/>
            <pc:sldMk cId="3775618047" sldId="2147471338"/>
            <ac:spMk id="3" creationId="{6A4B4431-0B0F-60AC-8B65-DFC12BC14633}"/>
          </ac:spMkLst>
        </pc:spChg>
        <pc:spChg chg="mod">
          <ac:chgData name="Paul LEGEARD" userId="73b5704d-da1d-4b70-8e12-6d54d32b01a3" providerId="ADAL" clId="{F979C8B0-72E3-4D3D-95A6-DC7ECDDD3ECC}" dt="2023-09-25T10:05:46.752" v="3213" actId="1076"/>
          <ac:spMkLst>
            <pc:docMk/>
            <pc:sldMk cId="3775618047" sldId="2147471338"/>
            <ac:spMk id="7" creationId="{5A09925F-824F-265D-785F-22BB6EF15B3C}"/>
          </ac:spMkLst>
        </pc:spChg>
        <pc:spChg chg="add mod">
          <ac:chgData name="Paul LEGEARD" userId="73b5704d-da1d-4b70-8e12-6d54d32b01a3" providerId="ADAL" clId="{F979C8B0-72E3-4D3D-95A6-DC7ECDDD3ECC}" dt="2023-09-25T10:08:28.943" v="3320" actId="313"/>
          <ac:spMkLst>
            <pc:docMk/>
            <pc:sldMk cId="3775618047" sldId="2147471338"/>
            <ac:spMk id="11" creationId="{AFE7EB35-BA91-355A-CDBC-E80D54F50D5F}"/>
          </ac:spMkLst>
        </pc:spChg>
        <pc:spChg chg="mod">
          <ac:chgData name="Paul LEGEARD" userId="73b5704d-da1d-4b70-8e12-6d54d32b01a3" providerId="ADAL" clId="{F979C8B0-72E3-4D3D-95A6-DC7ECDDD3ECC}" dt="2023-09-28T06:43:13.260" v="6285" actId="20577"/>
          <ac:spMkLst>
            <pc:docMk/>
            <pc:sldMk cId="3775618047" sldId="2147471338"/>
            <ac:spMk id="79" creationId="{9007893F-DE3F-4277-8B72-135CF4773651}"/>
          </ac:spMkLst>
        </pc:spChg>
        <pc:graphicFrameChg chg="add mod modGraphic">
          <ac:chgData name="Paul LEGEARD" userId="73b5704d-da1d-4b70-8e12-6d54d32b01a3" providerId="ADAL" clId="{F979C8B0-72E3-4D3D-95A6-DC7ECDDD3ECC}" dt="2023-09-25T10:08:01.952" v="3258" actId="14100"/>
          <ac:graphicFrameMkLst>
            <pc:docMk/>
            <pc:sldMk cId="3775618047" sldId="2147471338"/>
            <ac:graphicFrameMk id="8" creationId="{A9FCA178-D444-0629-7A57-2C1E72C1EA7E}"/>
          </ac:graphicFrameMkLst>
        </pc:graphicFrameChg>
        <pc:graphicFrameChg chg="del mod modGraphic">
          <ac:chgData name="Paul LEGEARD" userId="73b5704d-da1d-4b70-8e12-6d54d32b01a3" providerId="ADAL" clId="{F979C8B0-72E3-4D3D-95A6-DC7ECDDD3ECC}" dt="2023-09-25T10:06:22.537" v="3227" actId="478"/>
          <ac:graphicFrameMkLst>
            <pc:docMk/>
            <pc:sldMk cId="3775618047" sldId="2147471338"/>
            <ac:graphicFrameMk id="13" creationId="{D530E74D-107C-3922-B525-C8EDA3C77A74}"/>
          </ac:graphicFrameMkLst>
        </pc:graphicFrameChg>
        <pc:picChg chg="add mod">
          <ac:chgData name="Paul LEGEARD" userId="73b5704d-da1d-4b70-8e12-6d54d32b01a3" providerId="ADAL" clId="{F979C8B0-72E3-4D3D-95A6-DC7ECDDD3ECC}" dt="2023-09-25T10:08:04.159" v="3259" actId="1076"/>
          <ac:picMkLst>
            <pc:docMk/>
            <pc:sldMk cId="3775618047" sldId="2147471338"/>
            <ac:picMk id="9" creationId="{C6E76D24-F8A2-83AE-78EE-4D06E8D7E02F}"/>
          </ac:picMkLst>
        </pc:picChg>
        <pc:picChg chg="add mod">
          <ac:chgData name="Paul LEGEARD" userId="73b5704d-da1d-4b70-8e12-6d54d32b01a3" providerId="ADAL" clId="{F979C8B0-72E3-4D3D-95A6-DC7ECDDD3ECC}" dt="2023-09-25T10:08:05.852" v="3260" actId="1076"/>
          <ac:picMkLst>
            <pc:docMk/>
            <pc:sldMk cId="3775618047" sldId="2147471338"/>
            <ac:picMk id="10" creationId="{A08514DB-0F57-D7EC-D48E-BBC2904017EC}"/>
          </ac:picMkLst>
        </pc:picChg>
        <pc:picChg chg="mod">
          <ac:chgData name="Paul LEGEARD" userId="73b5704d-da1d-4b70-8e12-6d54d32b01a3" providerId="ADAL" clId="{F979C8B0-72E3-4D3D-95A6-DC7ECDDD3ECC}" dt="2023-09-25T10:07:58.868" v="3257" actId="1076"/>
          <ac:picMkLst>
            <pc:docMk/>
            <pc:sldMk cId="3775618047" sldId="2147471338"/>
            <ac:picMk id="1027" creationId="{ABB97CD2-864A-8FBC-1577-B17C0A795015}"/>
          </ac:picMkLst>
        </pc:picChg>
        <pc:picChg chg="add del">
          <ac:chgData name="Paul LEGEARD" userId="73b5704d-da1d-4b70-8e12-6d54d32b01a3" providerId="ADAL" clId="{F979C8B0-72E3-4D3D-95A6-DC7ECDDD3ECC}" dt="2023-09-25T10:05:28.043" v="3206" actId="478"/>
          <ac:picMkLst>
            <pc:docMk/>
            <pc:sldMk cId="3775618047" sldId="2147471338"/>
            <ac:picMk id="1029" creationId="{1D6C8D68-2AA8-780C-40D6-76C1F87CD834}"/>
          </ac:picMkLst>
        </pc:picChg>
        <pc:picChg chg="add del">
          <ac:chgData name="Paul LEGEARD" userId="73b5704d-da1d-4b70-8e12-6d54d32b01a3" providerId="ADAL" clId="{F979C8B0-72E3-4D3D-95A6-DC7ECDDD3ECC}" dt="2023-09-25T10:05:28.043" v="3206" actId="478"/>
          <ac:picMkLst>
            <pc:docMk/>
            <pc:sldMk cId="3775618047" sldId="2147471338"/>
            <ac:picMk id="1031" creationId="{3F43F17C-5F47-4E15-4A1B-0D59E00D682B}"/>
          </ac:picMkLst>
        </pc:pic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22:16.312" v="6372"/>
              <pc2:cmMkLst xmlns:pc2="http://schemas.microsoft.com/office/powerpoint/2019/9/main/command">
                <pc:docMk/>
                <pc:sldMk cId="3775618047" sldId="2147471338"/>
                <pc2:cmMk id="{4A201BC7-0692-46C4-A6A7-8318E2F609A3}"/>
              </pc2:cmMkLst>
            </pc226:cmChg>
            <pc226:cmChg xmlns:pc226="http://schemas.microsoft.com/office/powerpoint/2022/06/main/command" chg="add del mod">
              <pc226:chgData name="Paul LEGEARD" userId="73b5704d-da1d-4b70-8e12-6d54d32b01a3" providerId="ADAL" clId="{F979C8B0-72E3-4D3D-95A6-DC7ECDDD3ECC}" dt="2023-09-29T11:27:37.042" v="6862"/>
              <pc2:cmMkLst xmlns:pc2="http://schemas.microsoft.com/office/powerpoint/2019/9/main/command">
                <pc:docMk/>
                <pc:sldMk cId="3775618047" sldId="2147471338"/>
                <pc2:cmMk id="{CE5A9DD2-CE18-4A3B-B04E-64F46FCAEAB0}"/>
              </pc2:cmMkLst>
            </pc226:cmChg>
          </p:ext>
        </pc:extLst>
      </pc:sldChg>
      <pc:sldChg chg="addSp delSp modSp add del mod addCm delCm modCm">
        <pc:chgData name="Paul LEGEARD" userId="73b5704d-da1d-4b70-8e12-6d54d32b01a3" providerId="ADAL" clId="{F979C8B0-72E3-4D3D-95A6-DC7ECDDD3ECC}" dt="2023-09-29T11:41:30.499" v="7950" actId="47"/>
        <pc:sldMkLst>
          <pc:docMk/>
          <pc:sldMk cId="3090397473" sldId="2147471339"/>
        </pc:sldMkLst>
        <pc:spChg chg="mod">
          <ac:chgData name="Paul LEGEARD" userId="73b5704d-da1d-4b70-8e12-6d54d32b01a3" providerId="ADAL" clId="{F979C8B0-72E3-4D3D-95A6-DC7ECDDD3ECC}" dt="2023-09-25T10:19:02.883" v="4012" actId="20577"/>
          <ac:spMkLst>
            <pc:docMk/>
            <pc:sldMk cId="3090397473" sldId="2147471339"/>
            <ac:spMk id="3" creationId="{091B2D08-437C-5BD4-819C-1986E541FAAA}"/>
          </ac:spMkLst>
        </pc:spChg>
        <pc:spChg chg="add mod">
          <ac:chgData name="Paul LEGEARD" userId="73b5704d-da1d-4b70-8e12-6d54d32b01a3" providerId="ADAL" clId="{F979C8B0-72E3-4D3D-95A6-DC7ECDDD3ECC}" dt="2023-09-25T10:19:19.910" v="4048" actId="20577"/>
          <ac:spMkLst>
            <pc:docMk/>
            <pc:sldMk cId="3090397473" sldId="2147471339"/>
            <ac:spMk id="4" creationId="{F4BADA42-14BB-C9C1-0E08-27A27E185E3F}"/>
          </ac:spMkLst>
        </pc:spChg>
        <pc:spChg chg="mod">
          <ac:chgData name="Paul LEGEARD" userId="73b5704d-da1d-4b70-8e12-6d54d32b01a3" providerId="ADAL" clId="{F979C8B0-72E3-4D3D-95A6-DC7ECDDD3ECC}" dt="2023-09-28T06:55:17.509" v="6347" actId="20577"/>
          <ac:spMkLst>
            <pc:docMk/>
            <pc:sldMk cId="3090397473" sldId="2147471339"/>
            <ac:spMk id="5" creationId="{BB931FD4-6A71-62EF-6C29-E83C37D84097}"/>
          </ac:spMkLst>
        </pc:spChg>
        <pc:spChg chg="del">
          <ac:chgData name="Paul LEGEARD" userId="73b5704d-da1d-4b70-8e12-6d54d32b01a3" providerId="ADAL" clId="{F979C8B0-72E3-4D3D-95A6-DC7ECDDD3ECC}" dt="2023-09-25T10:18:30.832" v="3869" actId="478"/>
          <ac:spMkLst>
            <pc:docMk/>
            <pc:sldMk cId="3090397473" sldId="2147471339"/>
            <ac:spMk id="16" creationId="{4C5B0DA4-FF09-99F7-F018-05B1CEEE44B4}"/>
          </ac:spMkLst>
        </pc:spChg>
        <pc:spChg chg="del">
          <ac:chgData name="Paul LEGEARD" userId="73b5704d-da1d-4b70-8e12-6d54d32b01a3" providerId="ADAL" clId="{F979C8B0-72E3-4D3D-95A6-DC7ECDDD3ECC}" dt="2023-09-25T10:18:30.832" v="3869" actId="478"/>
          <ac:spMkLst>
            <pc:docMk/>
            <pc:sldMk cId="3090397473" sldId="2147471339"/>
            <ac:spMk id="22" creationId="{F861A5D3-09E8-9E69-189A-C6C2DF6EAFE7}"/>
          </ac:spMkLst>
        </pc:spChg>
        <pc:spChg chg="del">
          <ac:chgData name="Paul LEGEARD" userId="73b5704d-da1d-4b70-8e12-6d54d32b01a3" providerId="ADAL" clId="{F979C8B0-72E3-4D3D-95A6-DC7ECDDD3ECC}" dt="2023-09-25T10:18:30.832" v="3869" actId="478"/>
          <ac:spMkLst>
            <pc:docMk/>
            <pc:sldMk cId="3090397473" sldId="2147471339"/>
            <ac:spMk id="23" creationId="{350429EE-36B8-31AB-AE3A-DFC06CDA9A84}"/>
          </ac:spMkLst>
        </pc:spChg>
        <pc:spChg chg="mod">
          <ac:chgData name="Paul LEGEARD" userId="73b5704d-da1d-4b70-8e12-6d54d32b01a3" providerId="ADAL" clId="{F979C8B0-72E3-4D3D-95A6-DC7ECDDD3ECC}" dt="2023-09-25T10:18:24.236" v="3867" actId="313"/>
          <ac:spMkLst>
            <pc:docMk/>
            <pc:sldMk cId="3090397473" sldId="2147471339"/>
            <ac:spMk id="79" creationId="{9007893F-DE3F-4277-8B72-135CF4773651}"/>
          </ac:spMkLst>
        </pc:spChg>
        <pc:picChg chg="del">
          <ac:chgData name="Paul LEGEARD" userId="73b5704d-da1d-4b70-8e12-6d54d32b01a3" providerId="ADAL" clId="{F979C8B0-72E3-4D3D-95A6-DC7ECDDD3ECC}" dt="2023-09-25T10:18:30.832" v="3869" actId="478"/>
          <ac:picMkLst>
            <pc:docMk/>
            <pc:sldMk cId="3090397473" sldId="2147471339"/>
            <ac:picMk id="11" creationId="{4F300AD2-4CCC-EC28-A0E5-1C0946A7CAC7}"/>
          </ac:picMkLst>
        </pc:picChg>
        <pc:picChg chg="del">
          <ac:chgData name="Paul LEGEARD" userId="73b5704d-da1d-4b70-8e12-6d54d32b01a3" providerId="ADAL" clId="{F979C8B0-72E3-4D3D-95A6-DC7ECDDD3ECC}" dt="2023-09-25T10:18:30.832" v="3869" actId="478"/>
          <ac:picMkLst>
            <pc:docMk/>
            <pc:sldMk cId="3090397473" sldId="2147471339"/>
            <ac:picMk id="18" creationId="{44247B72-F402-4689-3971-DCD3311D2ED1}"/>
          </ac:picMkLst>
        </pc:picChg>
        <pc:picChg chg="del">
          <ac:chgData name="Paul LEGEARD" userId="73b5704d-da1d-4b70-8e12-6d54d32b01a3" providerId="ADAL" clId="{F979C8B0-72E3-4D3D-95A6-DC7ECDDD3ECC}" dt="2023-09-25T10:18:30.832" v="3869" actId="478"/>
          <ac:picMkLst>
            <pc:docMk/>
            <pc:sldMk cId="3090397473" sldId="2147471339"/>
            <ac:picMk id="21" creationId="{46917A8B-D0D9-7807-7F52-3CD394502B30}"/>
          </ac:picMkLst>
        </pc:picChg>
        <pc:extLst>
          <p:ext xmlns:p="http://schemas.openxmlformats.org/presentationml/2006/main" uri="{D6D511B9-2390-475A-947B-AFAB55BFBCF1}">
            <pc226:cmChg xmlns:pc226="http://schemas.microsoft.com/office/powerpoint/2022/06/main/command" chg="add mod">
              <pc226:chgData name="Paul LEGEARD" userId="73b5704d-da1d-4b70-8e12-6d54d32b01a3" providerId="ADAL" clId="{F979C8B0-72E3-4D3D-95A6-DC7ECDDD3ECC}" dt="2023-09-28T11:51:55.005" v="6366" actId="2056"/>
              <pc2:cmMkLst xmlns:pc2="http://schemas.microsoft.com/office/powerpoint/2019/9/main/command">
                <pc:docMk/>
                <pc:sldMk cId="3090397473" sldId="2147471339"/>
                <pc2:cmMk id="{81D5E428-3CD8-4297-9EF9-54F284DBDDD0}"/>
              </pc2:cmMkLst>
            </pc226:cmChg>
            <pc226:cmChg xmlns:pc226="http://schemas.microsoft.com/office/powerpoint/2022/06/main/command" chg="add del">
              <pc226:chgData name="Paul LEGEARD" userId="73b5704d-da1d-4b70-8e12-6d54d32b01a3" providerId="ADAL" clId="{F979C8B0-72E3-4D3D-95A6-DC7ECDDD3ECC}" dt="2023-09-29T11:33:31.564" v="7249"/>
              <pc2:cmMkLst xmlns:pc2="http://schemas.microsoft.com/office/powerpoint/2019/9/main/command">
                <pc:docMk/>
                <pc:sldMk cId="3090397473" sldId="2147471339"/>
                <pc2:cmMk id="{58B17DF4-F274-4B3B-BADC-CEBBDCA9D50C}"/>
              </pc2:cmMkLst>
            </pc226:cmChg>
          </p:ext>
        </pc:extLst>
      </pc:sldChg>
      <pc:sldChg chg="modSp add mod addCm delCm">
        <pc:chgData name="Paul LEGEARD" userId="73b5704d-da1d-4b70-8e12-6d54d32b01a3" providerId="ADAL" clId="{F979C8B0-72E3-4D3D-95A6-DC7ECDDD3ECC}" dt="2023-09-29T11:22:07.289" v="6371"/>
        <pc:sldMkLst>
          <pc:docMk/>
          <pc:sldMk cId="133291357" sldId="2147471340"/>
        </pc:sldMkLst>
        <pc:spChg chg="mod">
          <ac:chgData name="Paul LEGEARD" userId="73b5704d-da1d-4b70-8e12-6d54d32b01a3" providerId="ADAL" clId="{F979C8B0-72E3-4D3D-95A6-DC7ECDDD3ECC}" dt="2023-09-28T06:37:21.384" v="6278" actId="20577"/>
          <ac:spMkLst>
            <pc:docMk/>
            <pc:sldMk cId="133291357" sldId="2147471340"/>
            <ac:spMk id="2" creationId="{D1EE6376-4F6B-22F4-4FAE-12E8722AAE09}"/>
          </ac:spMkLst>
        </pc:spChg>
        <pc:spChg chg="mod">
          <ac:chgData name="Paul LEGEARD" userId="73b5704d-da1d-4b70-8e12-6d54d32b01a3" providerId="ADAL" clId="{F979C8B0-72E3-4D3D-95A6-DC7ECDDD3ECC}" dt="2023-09-25T10:21:17.782" v="4101" actId="207"/>
          <ac:spMkLst>
            <pc:docMk/>
            <pc:sldMk cId="133291357" sldId="2147471340"/>
            <ac:spMk id="42" creationId="{C1966E60-9923-8926-9349-5D935F131371}"/>
          </ac:spMkLst>
        </pc:spChg>
        <pc:spChg chg="mod">
          <ac:chgData name="Paul LEGEARD" userId="73b5704d-da1d-4b70-8e12-6d54d32b01a3" providerId="ADAL" clId="{F979C8B0-72E3-4D3D-95A6-DC7ECDDD3ECC}" dt="2023-09-25T10:21:38.840" v="4103" actId="207"/>
          <ac:spMkLst>
            <pc:docMk/>
            <pc:sldMk cId="133291357" sldId="2147471340"/>
            <ac:spMk id="45" creationId="{1EEDFF83-950D-E48F-3A50-EC8335D8C3DB}"/>
          </ac:spMkLst>
        </pc:spChg>
        <pc:spChg chg="mod">
          <ac:chgData name="Paul LEGEARD" userId="73b5704d-da1d-4b70-8e12-6d54d32b01a3" providerId="ADAL" clId="{F979C8B0-72E3-4D3D-95A6-DC7ECDDD3ECC}" dt="2023-09-25T10:21:21.696" v="4102" actId="207"/>
          <ac:spMkLst>
            <pc:docMk/>
            <pc:sldMk cId="133291357" sldId="2147471340"/>
            <ac:spMk id="46" creationId="{8C15BC74-F783-417F-BD0F-352DA5128998}"/>
          </ac:spMkLst>
        </pc:spChg>
        <pc:spChg chg="mod">
          <ac:chgData name="Paul LEGEARD" userId="73b5704d-da1d-4b70-8e12-6d54d32b01a3" providerId="ADAL" clId="{F979C8B0-72E3-4D3D-95A6-DC7ECDDD3ECC}" dt="2023-09-25T10:21:07.765" v="4100" actId="20577"/>
          <ac:spMkLst>
            <pc:docMk/>
            <pc:sldMk cId="133291357" sldId="2147471340"/>
            <ac:spMk id="79" creationId="{9007893F-DE3F-4277-8B72-135CF4773651}"/>
          </ac:spMkLst>
        </pc:spChg>
        <pc:picChg chg="mod">
          <ac:chgData name="Paul LEGEARD" userId="73b5704d-da1d-4b70-8e12-6d54d32b01a3" providerId="ADAL" clId="{F979C8B0-72E3-4D3D-95A6-DC7ECDDD3ECC}" dt="2023-09-25T10:21:43.273" v="4104"/>
          <ac:picMkLst>
            <pc:docMk/>
            <pc:sldMk cId="133291357" sldId="2147471340"/>
            <ac:picMk id="44" creationId="{7E4C4D0B-313F-255E-500D-4628B49A6967}"/>
          </ac:picMkLst>
        </pc:picChg>
        <pc:picChg chg="mod">
          <ac:chgData name="Paul LEGEARD" userId="73b5704d-da1d-4b70-8e12-6d54d32b01a3" providerId="ADAL" clId="{F979C8B0-72E3-4D3D-95A6-DC7ECDDD3ECC}" dt="2023-09-25T10:21:46.433" v="4105"/>
          <ac:picMkLst>
            <pc:docMk/>
            <pc:sldMk cId="133291357" sldId="2147471340"/>
            <ac:picMk id="49" creationId="{ED73C1F1-6D29-07FE-E7A5-F1EC2117A0C7}"/>
          </ac:picMkLst>
        </pc:pic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22:07.289" v="6371"/>
              <pc2:cmMkLst xmlns:pc2="http://schemas.microsoft.com/office/powerpoint/2019/9/main/command">
                <pc:docMk/>
                <pc:sldMk cId="133291357" sldId="2147471340"/>
                <pc2:cmMk id="{C66D2EB5-DBD1-46FA-BFCB-0A9F3800A3D3}"/>
              </pc2:cmMkLst>
            </pc226:cmChg>
          </p:ext>
        </pc:extLst>
      </pc:sldChg>
      <pc:sldChg chg="modSp add mod addCm delCm">
        <pc:chgData name="Paul LEGEARD" userId="73b5704d-da1d-4b70-8e12-6d54d32b01a3" providerId="ADAL" clId="{F979C8B0-72E3-4D3D-95A6-DC7ECDDD3ECC}" dt="2023-09-29T11:31:41.870" v="7237"/>
        <pc:sldMkLst>
          <pc:docMk/>
          <pc:sldMk cId="2162707723" sldId="2147471341"/>
        </pc:sldMkLst>
        <pc:spChg chg="mod">
          <ac:chgData name="Paul LEGEARD" userId="73b5704d-da1d-4b70-8e12-6d54d32b01a3" providerId="ADAL" clId="{F979C8B0-72E3-4D3D-95A6-DC7ECDDD3ECC}" dt="2023-09-28T06:46:07.962" v="6289" actId="20577"/>
          <ac:spMkLst>
            <pc:docMk/>
            <pc:sldMk cId="2162707723" sldId="2147471341"/>
            <ac:spMk id="79" creationId="{9007893F-DE3F-4277-8B72-135CF4773651}"/>
          </ac:spMkLst>
        </pc:spChg>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1:41.870" v="7237"/>
              <pc2:cmMkLst xmlns:pc2="http://schemas.microsoft.com/office/powerpoint/2019/9/main/command">
                <pc:docMk/>
                <pc:sldMk cId="2162707723" sldId="2147471341"/>
                <pc2:cmMk id="{7E5075A2-A830-4B47-83CC-E301C3F0102D}"/>
              </pc2:cmMkLst>
            </pc226:cmChg>
          </p:ext>
        </pc:extLst>
      </pc:sldChg>
      <pc:sldChg chg="add addCm delCm">
        <pc:chgData name="Paul LEGEARD" userId="73b5704d-da1d-4b70-8e12-6d54d32b01a3" providerId="ADAL" clId="{F979C8B0-72E3-4D3D-95A6-DC7ECDDD3ECC}" dt="2023-09-29T11:31:49.453" v="7238"/>
        <pc:sldMkLst>
          <pc:docMk/>
          <pc:sldMk cId="1425240722" sldId="2147471342"/>
        </pc:sldMkLst>
        <pc:extLst>
          <p:ext xmlns:p="http://schemas.openxmlformats.org/presentationml/2006/main" uri="{D6D511B9-2390-475A-947B-AFAB55BFBCF1}">
            <pc226:cmChg xmlns:pc226="http://schemas.microsoft.com/office/powerpoint/2022/06/main/command" chg="add del">
              <pc226:chgData name="Paul LEGEARD" userId="73b5704d-da1d-4b70-8e12-6d54d32b01a3" providerId="ADAL" clId="{F979C8B0-72E3-4D3D-95A6-DC7ECDDD3ECC}" dt="2023-09-29T11:31:49.453" v="7238"/>
              <pc2:cmMkLst xmlns:pc2="http://schemas.microsoft.com/office/powerpoint/2019/9/main/command">
                <pc:docMk/>
                <pc:sldMk cId="1425240722" sldId="2147471342"/>
                <pc2:cmMk id="{0DB2391C-234D-486D-9812-8DE728F7E2B0}"/>
              </pc2:cmMkLst>
            </pc226:cmChg>
          </p:ext>
        </pc:extLst>
      </pc:sldChg>
      <pc:sldChg chg="addSp delSp modSp add mod ord">
        <pc:chgData name="Paul LEGEARD" userId="73b5704d-da1d-4b70-8e12-6d54d32b01a3" providerId="ADAL" clId="{F979C8B0-72E3-4D3D-95A6-DC7ECDDD3ECC}" dt="2023-09-28T07:01:53.563" v="6362"/>
        <pc:sldMkLst>
          <pc:docMk/>
          <pc:sldMk cId="3452008232" sldId="2147471343"/>
        </pc:sldMkLst>
        <pc:spChg chg="add mod">
          <ac:chgData name="Paul LEGEARD" userId="73b5704d-da1d-4b70-8e12-6d54d32b01a3" providerId="ADAL" clId="{F979C8B0-72E3-4D3D-95A6-DC7ECDDD3ECC}" dt="2023-09-26T12:07:27.958" v="4416" actId="207"/>
          <ac:spMkLst>
            <pc:docMk/>
            <pc:sldMk cId="3452008232" sldId="2147471343"/>
            <ac:spMk id="3" creationId="{1B08C719-04C2-8020-D25C-6A0CDCD16147}"/>
          </ac:spMkLst>
        </pc:spChg>
        <pc:spChg chg="add mod">
          <ac:chgData name="Paul LEGEARD" userId="73b5704d-da1d-4b70-8e12-6d54d32b01a3" providerId="ADAL" clId="{F979C8B0-72E3-4D3D-95A6-DC7ECDDD3ECC}" dt="2023-09-26T12:55:48.099" v="6216" actId="6549"/>
          <ac:spMkLst>
            <pc:docMk/>
            <pc:sldMk cId="3452008232" sldId="2147471343"/>
            <ac:spMk id="4" creationId="{A68520D1-BFF3-915A-E6F4-FE0590C79403}"/>
          </ac:spMkLst>
        </pc:spChg>
        <pc:spChg chg="add mod">
          <ac:chgData name="Paul LEGEARD" userId="73b5704d-da1d-4b70-8e12-6d54d32b01a3" providerId="ADAL" clId="{F979C8B0-72E3-4D3D-95A6-DC7ECDDD3ECC}" dt="2023-09-26T12:11:43.222" v="4928" actId="14100"/>
          <ac:spMkLst>
            <pc:docMk/>
            <pc:sldMk cId="3452008232" sldId="2147471343"/>
            <ac:spMk id="7" creationId="{B5C26339-4424-7E08-9B2B-A8B364592A19}"/>
          </ac:spMkLst>
        </pc:spChg>
        <pc:spChg chg="add del mod">
          <ac:chgData name="Paul LEGEARD" userId="73b5704d-da1d-4b70-8e12-6d54d32b01a3" providerId="ADAL" clId="{F979C8B0-72E3-4D3D-95A6-DC7ECDDD3ECC}" dt="2023-09-26T12:12:36.750" v="5081" actId="478"/>
          <ac:spMkLst>
            <pc:docMk/>
            <pc:sldMk cId="3452008232" sldId="2147471343"/>
            <ac:spMk id="8" creationId="{D933EA83-79AE-34A4-2248-3B9FE414221E}"/>
          </ac:spMkLst>
        </pc:spChg>
        <pc:spChg chg="add mod">
          <ac:chgData name="Paul LEGEARD" userId="73b5704d-da1d-4b70-8e12-6d54d32b01a3" providerId="ADAL" clId="{F979C8B0-72E3-4D3D-95A6-DC7ECDDD3ECC}" dt="2023-09-26T12:12:48.797" v="5130" actId="5793"/>
          <ac:spMkLst>
            <pc:docMk/>
            <pc:sldMk cId="3452008232" sldId="2147471343"/>
            <ac:spMk id="9" creationId="{16B59C94-913D-6A08-1B18-FB652BCC9B58}"/>
          </ac:spMkLst>
        </pc:spChg>
        <pc:spChg chg="del">
          <ac:chgData name="Paul LEGEARD" userId="73b5704d-da1d-4b70-8e12-6d54d32b01a3" providerId="ADAL" clId="{F979C8B0-72E3-4D3D-95A6-DC7ECDDD3ECC}" dt="2023-09-26T12:06:19.799" v="4168" actId="478"/>
          <ac:spMkLst>
            <pc:docMk/>
            <pc:sldMk cId="3452008232" sldId="2147471343"/>
            <ac:spMk id="10" creationId="{8358D74C-4804-E26A-A663-A72EC1B44D29}"/>
          </ac:spMkLst>
        </pc:spChg>
        <pc:spChg chg="add mod">
          <ac:chgData name="Paul LEGEARD" userId="73b5704d-da1d-4b70-8e12-6d54d32b01a3" providerId="ADAL" clId="{F979C8B0-72E3-4D3D-95A6-DC7ECDDD3ECC}" dt="2023-09-26T12:51:50.316" v="5969" actId="12789"/>
          <ac:spMkLst>
            <pc:docMk/>
            <pc:sldMk cId="3452008232" sldId="2147471343"/>
            <ac:spMk id="11" creationId="{D0E057F0-AB9E-6C17-1458-BD57C1CAA22B}"/>
          </ac:spMkLst>
        </pc:spChg>
        <pc:spChg chg="add del mod">
          <ac:chgData name="Paul LEGEARD" userId="73b5704d-da1d-4b70-8e12-6d54d32b01a3" providerId="ADAL" clId="{F979C8B0-72E3-4D3D-95A6-DC7ECDDD3ECC}" dt="2023-09-26T12:45:36.084" v="5361" actId="478"/>
          <ac:spMkLst>
            <pc:docMk/>
            <pc:sldMk cId="3452008232" sldId="2147471343"/>
            <ac:spMk id="12" creationId="{D559CAA3-CC41-7BDC-D6A9-33574C96654B}"/>
          </ac:spMkLst>
        </pc:spChg>
        <pc:spChg chg="add mod">
          <ac:chgData name="Paul LEGEARD" userId="73b5704d-da1d-4b70-8e12-6d54d32b01a3" providerId="ADAL" clId="{F979C8B0-72E3-4D3D-95A6-DC7ECDDD3ECC}" dt="2023-09-26T12:51:01.052" v="5952" actId="1076"/>
          <ac:spMkLst>
            <pc:docMk/>
            <pc:sldMk cId="3452008232" sldId="2147471343"/>
            <ac:spMk id="13" creationId="{B280EB04-0FE2-BF52-5695-40414E7991F9}"/>
          </ac:spMkLst>
        </pc:spChg>
        <pc:spChg chg="add del mod">
          <ac:chgData name="Paul LEGEARD" userId="73b5704d-da1d-4b70-8e12-6d54d32b01a3" providerId="ADAL" clId="{F979C8B0-72E3-4D3D-95A6-DC7ECDDD3ECC}" dt="2023-09-26T12:46:14.371" v="5481" actId="478"/>
          <ac:spMkLst>
            <pc:docMk/>
            <pc:sldMk cId="3452008232" sldId="2147471343"/>
            <ac:spMk id="14" creationId="{1788F1EF-7A7B-D402-7CF8-B25925E4B8A5}"/>
          </ac:spMkLst>
        </pc:spChg>
        <pc:spChg chg="add del mod">
          <ac:chgData name="Paul LEGEARD" userId="73b5704d-da1d-4b70-8e12-6d54d32b01a3" providerId="ADAL" clId="{F979C8B0-72E3-4D3D-95A6-DC7ECDDD3ECC}" dt="2023-09-26T12:46:14.371" v="5481" actId="478"/>
          <ac:spMkLst>
            <pc:docMk/>
            <pc:sldMk cId="3452008232" sldId="2147471343"/>
            <ac:spMk id="15" creationId="{C3DF0B54-AA05-FA78-8070-0A19D7CF17E9}"/>
          </ac:spMkLst>
        </pc:spChg>
        <pc:spChg chg="add mod">
          <ac:chgData name="Paul LEGEARD" userId="73b5704d-da1d-4b70-8e12-6d54d32b01a3" providerId="ADAL" clId="{F979C8B0-72E3-4D3D-95A6-DC7ECDDD3ECC}" dt="2023-09-26T12:51:56.966" v="5971" actId="242"/>
          <ac:spMkLst>
            <pc:docMk/>
            <pc:sldMk cId="3452008232" sldId="2147471343"/>
            <ac:spMk id="16" creationId="{F57AD935-5597-0BDC-8DFD-A88C1F534178}"/>
          </ac:spMkLst>
        </pc:spChg>
        <pc:spChg chg="add mod">
          <ac:chgData name="Paul LEGEARD" userId="73b5704d-da1d-4b70-8e12-6d54d32b01a3" providerId="ADAL" clId="{F979C8B0-72E3-4D3D-95A6-DC7ECDDD3ECC}" dt="2023-09-26T12:51:01.052" v="5952" actId="1076"/>
          <ac:spMkLst>
            <pc:docMk/>
            <pc:sldMk cId="3452008232" sldId="2147471343"/>
            <ac:spMk id="17" creationId="{FC16E368-FF39-37D7-4AF8-597FD11AB944}"/>
          </ac:spMkLst>
        </pc:spChg>
        <pc:spChg chg="add mod">
          <ac:chgData name="Paul LEGEARD" userId="73b5704d-da1d-4b70-8e12-6d54d32b01a3" providerId="ADAL" clId="{F979C8B0-72E3-4D3D-95A6-DC7ECDDD3ECC}" dt="2023-09-26T12:52:44.332" v="6212" actId="313"/>
          <ac:spMkLst>
            <pc:docMk/>
            <pc:sldMk cId="3452008232" sldId="2147471343"/>
            <ac:spMk id="18" creationId="{8EA405D0-5864-9E73-DF2D-4AF944E3BD7A}"/>
          </ac:spMkLst>
        </pc:spChg>
        <pc:spChg chg="add mod">
          <ac:chgData name="Paul LEGEARD" userId="73b5704d-da1d-4b70-8e12-6d54d32b01a3" providerId="ADAL" clId="{F979C8B0-72E3-4D3D-95A6-DC7ECDDD3ECC}" dt="2023-09-26T12:51:01.052" v="5952" actId="1076"/>
          <ac:spMkLst>
            <pc:docMk/>
            <pc:sldMk cId="3452008232" sldId="2147471343"/>
            <ac:spMk id="19" creationId="{8115514C-5C34-B1B6-3B60-19BDC86BB65D}"/>
          </ac:spMkLst>
        </pc:spChg>
        <pc:spChg chg="add mod">
          <ac:chgData name="Paul LEGEARD" userId="73b5704d-da1d-4b70-8e12-6d54d32b01a3" providerId="ADAL" clId="{F979C8B0-72E3-4D3D-95A6-DC7ECDDD3ECC}" dt="2023-09-26T12:52:39.244" v="6211" actId="1035"/>
          <ac:spMkLst>
            <pc:docMk/>
            <pc:sldMk cId="3452008232" sldId="2147471343"/>
            <ac:spMk id="21" creationId="{8C0AFE81-E6DA-94F7-4485-662974813AC7}"/>
          </ac:spMkLst>
        </pc:spChg>
        <pc:spChg chg="add mod">
          <ac:chgData name="Paul LEGEARD" userId="73b5704d-da1d-4b70-8e12-6d54d32b01a3" providerId="ADAL" clId="{F979C8B0-72E3-4D3D-95A6-DC7ECDDD3ECC}" dt="2023-09-26T12:51:50.316" v="5969" actId="12789"/>
          <ac:spMkLst>
            <pc:docMk/>
            <pc:sldMk cId="3452008232" sldId="2147471343"/>
            <ac:spMk id="30" creationId="{6131BC76-59F2-AB79-1E33-ED635B080D78}"/>
          </ac:spMkLst>
        </pc:spChg>
        <pc:spChg chg="mod">
          <ac:chgData name="Paul LEGEARD" userId="73b5704d-da1d-4b70-8e12-6d54d32b01a3" providerId="ADAL" clId="{F979C8B0-72E3-4D3D-95A6-DC7ECDDD3ECC}" dt="2023-09-26T12:11:39.380" v="4927" actId="20577"/>
          <ac:spMkLst>
            <pc:docMk/>
            <pc:sldMk cId="3452008232" sldId="2147471343"/>
            <ac:spMk id="79" creationId="{9007893F-DE3F-4277-8B72-135CF4773651}"/>
          </ac:spMkLst>
        </pc:spChg>
        <pc:picChg chg="add mod">
          <ac:chgData name="Paul LEGEARD" userId="73b5704d-da1d-4b70-8e12-6d54d32b01a3" providerId="ADAL" clId="{F979C8B0-72E3-4D3D-95A6-DC7ECDDD3ECC}" dt="2023-09-26T12:10:23.837" v="4769" actId="1076"/>
          <ac:picMkLst>
            <pc:docMk/>
            <pc:sldMk cId="3452008232" sldId="2147471343"/>
            <ac:picMk id="5" creationId="{874FD1F3-2DC7-562F-2DD2-ED3558031A11}"/>
          </ac:picMkLst>
        </pc:picChg>
        <pc:cxnChg chg="add mod">
          <ac:chgData name="Paul LEGEARD" userId="73b5704d-da1d-4b70-8e12-6d54d32b01a3" providerId="ADAL" clId="{F979C8B0-72E3-4D3D-95A6-DC7ECDDD3ECC}" dt="2023-09-26T12:52:39.244" v="6211" actId="1035"/>
          <ac:cxnSpMkLst>
            <pc:docMk/>
            <pc:sldMk cId="3452008232" sldId="2147471343"/>
            <ac:cxnSpMk id="22" creationId="{977EA7D0-7EB8-5C22-4052-3B8BBA437BC5}"/>
          </ac:cxnSpMkLst>
        </pc:cxnChg>
        <pc:cxnChg chg="add mod">
          <ac:chgData name="Paul LEGEARD" userId="73b5704d-da1d-4b70-8e12-6d54d32b01a3" providerId="ADAL" clId="{F979C8B0-72E3-4D3D-95A6-DC7ECDDD3ECC}" dt="2023-09-26T12:51:50.316" v="5969" actId="12789"/>
          <ac:cxnSpMkLst>
            <pc:docMk/>
            <pc:sldMk cId="3452008232" sldId="2147471343"/>
            <ac:cxnSpMk id="24" creationId="{B1643D88-3C94-EAA6-6862-CF7BDC58F986}"/>
          </ac:cxnSpMkLst>
        </pc:cxnChg>
        <pc:cxnChg chg="add mod">
          <ac:chgData name="Paul LEGEARD" userId="73b5704d-da1d-4b70-8e12-6d54d32b01a3" providerId="ADAL" clId="{F979C8B0-72E3-4D3D-95A6-DC7ECDDD3ECC}" dt="2023-09-26T12:51:50.316" v="5969" actId="12789"/>
          <ac:cxnSpMkLst>
            <pc:docMk/>
            <pc:sldMk cId="3452008232" sldId="2147471343"/>
            <ac:cxnSpMk id="27" creationId="{582E0A00-8249-6184-C4DC-8AA5E98C0E78}"/>
          </ac:cxnSpMkLst>
        </pc:cxnChg>
        <pc:cxnChg chg="add mod">
          <ac:chgData name="Paul LEGEARD" userId="73b5704d-da1d-4b70-8e12-6d54d32b01a3" providerId="ADAL" clId="{F979C8B0-72E3-4D3D-95A6-DC7ECDDD3ECC}" dt="2023-09-26T12:51:50.316" v="5969" actId="12789"/>
          <ac:cxnSpMkLst>
            <pc:docMk/>
            <pc:sldMk cId="3452008232" sldId="2147471343"/>
            <ac:cxnSpMk id="31" creationId="{FA850197-5B53-57B6-05E0-514B14EBCFA0}"/>
          </ac:cxnSpMkLst>
        </pc:cxnChg>
      </pc:sldChg>
      <pc:sldChg chg="addCm">
        <pc:chgData name="Paul LEGEARD" userId="73b5704d-da1d-4b70-8e12-6d54d32b01a3" providerId="ADAL" clId="{F979C8B0-72E3-4D3D-95A6-DC7ECDDD3ECC}" dt="2023-09-28T07:01:13.836" v="6356"/>
        <pc:sldMkLst>
          <pc:docMk/>
          <pc:sldMk cId="2389600970" sldId="2147471344"/>
        </pc:sldMkLst>
        <pc:extLst>
          <p:ext xmlns:p="http://schemas.openxmlformats.org/presentationml/2006/main" uri="{D6D511B9-2390-475A-947B-AFAB55BFBCF1}">
            <pc226:cmChg xmlns:pc226="http://schemas.microsoft.com/office/powerpoint/2022/06/main/command" chg="add">
              <pc226:chgData name="Paul LEGEARD" userId="73b5704d-da1d-4b70-8e12-6d54d32b01a3" providerId="ADAL" clId="{F979C8B0-72E3-4D3D-95A6-DC7ECDDD3ECC}" dt="2023-09-28T07:01:13.836" v="6356"/>
              <pc2:cmMkLst xmlns:pc2="http://schemas.microsoft.com/office/powerpoint/2019/9/main/command">
                <pc:docMk/>
                <pc:sldMk cId="2389600970" sldId="2147471344"/>
                <pc2:cmMk id="{D84CF124-65B0-4DFB-9CEE-1B4A43E29CF9}"/>
              </pc2:cmMkLst>
            </pc226:cmChg>
          </p:ext>
        </pc:extLst>
      </pc:sldChg>
      <pc:sldChg chg="modSp mod">
        <pc:chgData name="Paul LEGEARD" userId="73b5704d-da1d-4b70-8e12-6d54d32b01a3" providerId="ADAL" clId="{F979C8B0-72E3-4D3D-95A6-DC7ECDDD3ECC}" dt="2023-09-29T11:22:41.880" v="6407" actId="404"/>
        <pc:sldMkLst>
          <pc:docMk/>
          <pc:sldMk cId="3890265312" sldId="2147471344"/>
        </pc:sldMkLst>
        <pc:spChg chg="mod">
          <ac:chgData name="Paul LEGEARD" userId="73b5704d-da1d-4b70-8e12-6d54d32b01a3" providerId="ADAL" clId="{F979C8B0-72E3-4D3D-95A6-DC7ECDDD3ECC}" dt="2023-09-29T11:22:41.880" v="6407" actId="404"/>
          <ac:spMkLst>
            <pc:docMk/>
            <pc:sldMk cId="3890265312" sldId="2147471344"/>
            <ac:spMk id="2" creationId="{98A73CE2-A5CA-4AD5-CA1E-6A7FCB3533A0}"/>
          </ac:spMkLst>
        </pc:spChg>
      </pc:sldChg>
      <pc:sldChg chg="addSp delSp modSp mod">
        <pc:chgData name="Paul LEGEARD" userId="73b5704d-da1d-4b70-8e12-6d54d32b01a3" providerId="ADAL" clId="{F979C8B0-72E3-4D3D-95A6-DC7ECDDD3ECC}" dt="2023-09-29T11:28:28.958" v="7017" actId="242"/>
        <pc:sldMkLst>
          <pc:docMk/>
          <pc:sldMk cId="3980514234" sldId="2147471345"/>
        </pc:sldMkLst>
        <pc:spChg chg="mod topLvl">
          <ac:chgData name="Paul LEGEARD" userId="73b5704d-da1d-4b70-8e12-6d54d32b01a3" providerId="ADAL" clId="{F979C8B0-72E3-4D3D-95A6-DC7ECDDD3ECC}" dt="2023-09-29T11:25:55.123" v="6683" actId="1076"/>
          <ac:spMkLst>
            <pc:docMk/>
            <pc:sldMk cId="3980514234" sldId="2147471345"/>
            <ac:spMk id="6" creationId="{5C59BDB1-9824-AF09-FB7E-A1D64ADDC127}"/>
          </ac:spMkLst>
        </pc:spChg>
        <pc:spChg chg="mod">
          <ac:chgData name="Paul LEGEARD" userId="73b5704d-da1d-4b70-8e12-6d54d32b01a3" providerId="ADAL" clId="{F979C8B0-72E3-4D3D-95A6-DC7ECDDD3ECC}" dt="2023-09-29T11:23:10.440" v="6476" actId="20577"/>
          <ac:spMkLst>
            <pc:docMk/>
            <pc:sldMk cId="3980514234" sldId="2147471345"/>
            <ac:spMk id="9" creationId="{6447130B-DB7D-E6B2-C4E9-5B3FE558DE4D}"/>
          </ac:spMkLst>
        </pc:spChg>
        <pc:spChg chg="mod">
          <ac:chgData name="Paul LEGEARD" userId="73b5704d-da1d-4b70-8e12-6d54d32b01a3" providerId="ADAL" clId="{F979C8B0-72E3-4D3D-95A6-DC7ECDDD3ECC}" dt="2023-09-29T11:26:22.121" v="6764" actId="20577"/>
          <ac:spMkLst>
            <pc:docMk/>
            <pc:sldMk cId="3980514234" sldId="2147471345"/>
            <ac:spMk id="11" creationId="{C8F0776A-E337-CA5F-A5E4-051F3C7FF7ED}"/>
          </ac:spMkLst>
        </pc:spChg>
        <pc:spChg chg="add del mod topLvl">
          <ac:chgData name="Paul LEGEARD" userId="73b5704d-da1d-4b70-8e12-6d54d32b01a3" providerId="ADAL" clId="{F979C8B0-72E3-4D3D-95A6-DC7ECDDD3ECC}" dt="2023-09-29T11:26:00.763" v="6685" actId="478"/>
          <ac:spMkLst>
            <pc:docMk/>
            <pc:sldMk cId="3980514234" sldId="2147471345"/>
            <ac:spMk id="12" creationId="{3AD5B90A-F3A6-0204-3AE3-7BD5D7C07C2E}"/>
          </ac:spMkLst>
        </pc:spChg>
        <pc:spChg chg="del mod topLvl">
          <ac:chgData name="Paul LEGEARD" userId="73b5704d-da1d-4b70-8e12-6d54d32b01a3" providerId="ADAL" clId="{F979C8B0-72E3-4D3D-95A6-DC7ECDDD3ECC}" dt="2023-09-29T11:25:59.782" v="6684" actId="478"/>
          <ac:spMkLst>
            <pc:docMk/>
            <pc:sldMk cId="3980514234" sldId="2147471345"/>
            <ac:spMk id="13" creationId="{0AEE0312-6975-D3DB-66B5-81B84093F465}"/>
          </ac:spMkLst>
        </pc:spChg>
        <pc:spChg chg="mod">
          <ac:chgData name="Paul LEGEARD" userId="73b5704d-da1d-4b70-8e12-6d54d32b01a3" providerId="ADAL" clId="{F979C8B0-72E3-4D3D-95A6-DC7ECDDD3ECC}" dt="2023-09-29T11:28:18.776" v="7013" actId="1076"/>
          <ac:spMkLst>
            <pc:docMk/>
            <pc:sldMk cId="3980514234" sldId="2147471345"/>
            <ac:spMk id="15" creationId="{D031FF0F-3673-1B37-DA0D-8427B048CF7D}"/>
          </ac:spMkLst>
        </pc:spChg>
        <pc:spChg chg="add mod">
          <ac:chgData name="Paul LEGEARD" userId="73b5704d-da1d-4b70-8e12-6d54d32b01a3" providerId="ADAL" clId="{F979C8B0-72E3-4D3D-95A6-DC7ECDDD3ECC}" dt="2023-09-29T11:26:46.215" v="6769"/>
          <ac:spMkLst>
            <pc:docMk/>
            <pc:sldMk cId="3980514234" sldId="2147471345"/>
            <ac:spMk id="18" creationId="{D4903B97-6303-0363-3E48-BC39F494155B}"/>
          </ac:spMkLst>
        </pc:spChg>
        <pc:grpChg chg="add del mod">
          <ac:chgData name="Paul LEGEARD" userId="73b5704d-da1d-4b70-8e12-6d54d32b01a3" providerId="ADAL" clId="{F979C8B0-72E3-4D3D-95A6-DC7ECDDD3ECC}" dt="2023-09-29T11:24:47.027" v="6621" actId="165"/>
          <ac:grpSpMkLst>
            <pc:docMk/>
            <pc:sldMk cId="3980514234" sldId="2147471345"/>
            <ac:grpSpMk id="5" creationId="{9D8A28E8-4F54-5A5D-B9E8-1692F20E9C83}"/>
          </ac:grpSpMkLst>
        </pc:grpChg>
        <pc:graphicFrameChg chg="mod modGraphic">
          <ac:chgData name="Paul LEGEARD" userId="73b5704d-da1d-4b70-8e12-6d54d32b01a3" providerId="ADAL" clId="{F979C8B0-72E3-4D3D-95A6-DC7ECDDD3ECC}" dt="2023-09-29T11:28:28.958" v="7017" actId="242"/>
          <ac:graphicFrameMkLst>
            <pc:docMk/>
            <pc:sldMk cId="3980514234" sldId="2147471345"/>
            <ac:graphicFrameMk id="8" creationId="{B0A256B4-05B6-B8F7-F51E-37A39AC24E80}"/>
          </ac:graphicFrameMkLst>
        </pc:graphicFrameChg>
        <pc:graphicFrameChg chg="mod modGraphic">
          <ac:chgData name="Paul LEGEARD" userId="73b5704d-da1d-4b70-8e12-6d54d32b01a3" providerId="ADAL" clId="{F979C8B0-72E3-4D3D-95A6-DC7ECDDD3ECC}" dt="2023-09-29T11:27:31.158" v="6861" actId="115"/>
          <ac:graphicFrameMkLst>
            <pc:docMk/>
            <pc:sldMk cId="3980514234" sldId="2147471345"/>
            <ac:graphicFrameMk id="10" creationId="{8019AA23-3152-FD6C-CA8C-AFC65C4DA104}"/>
          </ac:graphicFrameMkLst>
        </pc:graphicFrameChg>
        <pc:picChg chg="del mod topLvl">
          <ac:chgData name="Paul LEGEARD" userId="73b5704d-da1d-4b70-8e12-6d54d32b01a3" providerId="ADAL" clId="{F979C8B0-72E3-4D3D-95A6-DC7ECDDD3ECC}" dt="2023-09-29T11:26:01.399" v="6686" actId="478"/>
          <ac:picMkLst>
            <pc:docMk/>
            <pc:sldMk cId="3980514234" sldId="2147471345"/>
            <ac:picMk id="7" creationId="{D47E7B33-58A5-792C-CB86-7010316BC370}"/>
          </ac:picMkLst>
        </pc:picChg>
        <pc:picChg chg="add mod">
          <ac:chgData name="Paul LEGEARD" userId="73b5704d-da1d-4b70-8e12-6d54d32b01a3" providerId="ADAL" clId="{F979C8B0-72E3-4D3D-95A6-DC7ECDDD3ECC}" dt="2023-09-29T11:28:20.043" v="7014" actId="1076"/>
          <ac:picMkLst>
            <pc:docMk/>
            <pc:sldMk cId="3980514234" sldId="2147471345"/>
            <ac:picMk id="19" creationId="{9946CBBA-09E4-A0AB-F32F-246F42CC9BD4}"/>
          </ac:picMkLst>
        </pc:picChg>
      </pc:sldChg>
      <pc:sldChg chg="addCm">
        <pc:chgData name="Paul LEGEARD" userId="73b5704d-da1d-4b70-8e12-6d54d32b01a3" providerId="ADAL" clId="{F979C8B0-72E3-4D3D-95A6-DC7ECDDD3ECC}" dt="2023-09-28T06:56:51.073" v="6350"/>
        <pc:sldMkLst>
          <pc:docMk/>
          <pc:sldMk cId="4049070616" sldId="2147471345"/>
        </pc:sldMkLst>
        <pc:extLst>
          <p:ext xmlns:p="http://schemas.openxmlformats.org/presentationml/2006/main" uri="{D6D511B9-2390-475A-947B-AFAB55BFBCF1}">
            <pc226:cmChg xmlns:pc226="http://schemas.microsoft.com/office/powerpoint/2022/06/main/command" chg="add">
              <pc226:chgData name="Paul LEGEARD" userId="73b5704d-da1d-4b70-8e12-6d54d32b01a3" providerId="ADAL" clId="{F979C8B0-72E3-4D3D-95A6-DC7ECDDD3ECC}" dt="2023-09-28T06:56:51.073" v="6350"/>
              <pc2:cmMkLst xmlns:pc2="http://schemas.microsoft.com/office/powerpoint/2019/9/main/command">
                <pc:docMk/>
                <pc:sldMk cId="4049070616" sldId="2147471345"/>
                <pc2:cmMk id="{5996E5F3-4760-4AEB-8A1D-1EF954B0906D}"/>
              </pc2:cmMkLst>
            </pc226:cmChg>
          </p:ext>
        </pc:extLst>
      </pc:sldChg>
      <pc:sldChg chg="delSp modSp mod ord">
        <pc:chgData name="Paul LEGEARD" userId="73b5704d-da1d-4b70-8e12-6d54d32b01a3" providerId="ADAL" clId="{F979C8B0-72E3-4D3D-95A6-DC7ECDDD3ECC}" dt="2023-09-29T11:29:52.022" v="7142" actId="113"/>
        <pc:sldMkLst>
          <pc:docMk/>
          <pc:sldMk cId="172598047" sldId="2147471346"/>
        </pc:sldMkLst>
        <pc:spChg chg="mod">
          <ac:chgData name="Paul LEGEARD" userId="73b5704d-da1d-4b70-8e12-6d54d32b01a3" providerId="ADAL" clId="{F979C8B0-72E3-4D3D-95A6-DC7ECDDD3ECC}" dt="2023-09-29T11:29:27.762" v="7132" actId="20577"/>
          <ac:spMkLst>
            <pc:docMk/>
            <pc:sldMk cId="172598047" sldId="2147471346"/>
            <ac:spMk id="2" creationId="{934AAC5D-75E2-8F48-96B4-CDD96C7FC34F}"/>
          </ac:spMkLst>
        </pc:spChg>
        <pc:spChg chg="del">
          <ac:chgData name="Paul LEGEARD" userId="73b5704d-da1d-4b70-8e12-6d54d32b01a3" providerId="ADAL" clId="{F979C8B0-72E3-4D3D-95A6-DC7ECDDD3ECC}" dt="2023-09-29T11:28:44.040" v="7018" actId="478"/>
          <ac:spMkLst>
            <pc:docMk/>
            <pc:sldMk cId="172598047" sldId="2147471346"/>
            <ac:spMk id="11" creationId="{2FC666DA-169C-A438-EEE0-5E21B6A9D0B8}"/>
          </ac:spMkLst>
        </pc:spChg>
        <pc:spChg chg="mod">
          <ac:chgData name="Paul LEGEARD" userId="73b5704d-da1d-4b70-8e12-6d54d32b01a3" providerId="ADAL" clId="{F979C8B0-72E3-4D3D-95A6-DC7ECDDD3ECC}" dt="2023-09-29T11:29:52.022" v="7142" actId="113"/>
          <ac:spMkLst>
            <pc:docMk/>
            <pc:sldMk cId="172598047" sldId="2147471346"/>
            <ac:spMk id="15" creationId="{98104BCA-84E7-3ED4-C615-788DD6127E42}"/>
          </ac:spMkLst>
        </pc:spChg>
        <pc:graphicFrameChg chg="modGraphic">
          <ac:chgData name="Paul LEGEARD" userId="73b5704d-da1d-4b70-8e12-6d54d32b01a3" providerId="ADAL" clId="{F979C8B0-72E3-4D3D-95A6-DC7ECDDD3ECC}" dt="2023-09-29T11:29:05.069" v="7051" actId="12"/>
          <ac:graphicFrameMkLst>
            <pc:docMk/>
            <pc:sldMk cId="172598047" sldId="2147471346"/>
            <ac:graphicFrameMk id="12" creationId="{ABA6CD4F-5633-13C9-175B-B70D16BCA14B}"/>
          </ac:graphicFrameMkLst>
        </pc:graphicFrameChg>
      </pc:sldChg>
      <pc:sldChg chg="del">
        <pc:chgData name="Paul LEGEARD" userId="73b5704d-da1d-4b70-8e12-6d54d32b01a3" providerId="ADAL" clId="{F979C8B0-72E3-4D3D-95A6-DC7ECDDD3ECC}" dt="2023-09-29T11:42:43.910" v="7954" actId="47"/>
        <pc:sldMkLst>
          <pc:docMk/>
          <pc:sldMk cId="4063852244" sldId="2147471347"/>
        </pc:sldMkLst>
      </pc:sldChg>
      <pc:sldChg chg="modSp mod">
        <pc:chgData name="Paul LEGEARD" userId="73b5704d-da1d-4b70-8e12-6d54d32b01a3" providerId="ADAL" clId="{F979C8B0-72E3-4D3D-95A6-DC7ECDDD3ECC}" dt="2023-09-29T11:31:24.751" v="7234" actId="14100"/>
        <pc:sldMkLst>
          <pc:docMk/>
          <pc:sldMk cId="216837020" sldId="2147471349"/>
        </pc:sldMkLst>
        <pc:spChg chg="mod">
          <ac:chgData name="Paul LEGEARD" userId="73b5704d-da1d-4b70-8e12-6d54d32b01a3" providerId="ADAL" clId="{F979C8B0-72E3-4D3D-95A6-DC7ECDDD3ECC}" dt="2023-09-29T11:30:27.509" v="7220" actId="20577"/>
          <ac:spMkLst>
            <pc:docMk/>
            <pc:sldMk cId="216837020" sldId="2147471349"/>
            <ac:spMk id="8" creationId="{738C422E-8FAA-4DF4-5084-04B9BB669B47}"/>
          </ac:spMkLst>
        </pc:spChg>
        <pc:spChg chg="mod">
          <ac:chgData name="Paul LEGEARD" userId="73b5704d-da1d-4b70-8e12-6d54d32b01a3" providerId="ADAL" clId="{F979C8B0-72E3-4D3D-95A6-DC7ECDDD3ECC}" dt="2023-09-29T11:31:24.751" v="7234" actId="14100"/>
          <ac:spMkLst>
            <pc:docMk/>
            <pc:sldMk cId="216837020" sldId="2147471349"/>
            <ac:spMk id="9" creationId="{BD0A3FCB-2149-B059-DBA8-93F1B2A20884}"/>
          </ac:spMkLst>
        </pc:spChg>
        <pc:spChg chg="mod">
          <ac:chgData name="Paul LEGEARD" userId="73b5704d-da1d-4b70-8e12-6d54d32b01a3" providerId="ADAL" clId="{F979C8B0-72E3-4D3D-95A6-DC7ECDDD3ECC}" dt="2023-09-29T11:30:41.999" v="7222" actId="14100"/>
          <ac:spMkLst>
            <pc:docMk/>
            <pc:sldMk cId="216837020" sldId="2147471349"/>
            <ac:spMk id="10" creationId="{17D0BC2D-C90E-5AC7-41AA-588777B40D89}"/>
          </ac:spMkLst>
        </pc:spChg>
        <pc:spChg chg="mod">
          <ac:chgData name="Paul LEGEARD" userId="73b5704d-da1d-4b70-8e12-6d54d32b01a3" providerId="ADAL" clId="{F979C8B0-72E3-4D3D-95A6-DC7ECDDD3ECC}" dt="2023-09-29T11:31:24.751" v="7234" actId="14100"/>
          <ac:spMkLst>
            <pc:docMk/>
            <pc:sldMk cId="216837020" sldId="2147471349"/>
            <ac:spMk id="13" creationId="{E2A4B86A-CB69-F24C-3ED1-E03D44A6DB92}"/>
          </ac:spMkLst>
        </pc:spChg>
        <pc:spChg chg="mod">
          <ac:chgData name="Paul LEGEARD" userId="73b5704d-da1d-4b70-8e12-6d54d32b01a3" providerId="ADAL" clId="{F979C8B0-72E3-4D3D-95A6-DC7ECDDD3ECC}" dt="2023-09-29T11:31:15.050" v="7231" actId="14100"/>
          <ac:spMkLst>
            <pc:docMk/>
            <pc:sldMk cId="216837020" sldId="2147471349"/>
            <ac:spMk id="14" creationId="{A5FFCDE0-9EF3-2A07-E288-4F34F8BC2B71}"/>
          </ac:spMkLst>
        </pc:spChg>
      </pc:sldChg>
      <pc:sldChg chg="addSp delSp modSp add mod modCm">
        <pc:chgData name="Paul LEGEARD" userId="73b5704d-da1d-4b70-8e12-6d54d32b01a3" providerId="ADAL" clId="{F979C8B0-72E3-4D3D-95A6-DC7ECDDD3ECC}" dt="2023-09-29T11:41:24.279" v="7949" actId="14100"/>
        <pc:sldMkLst>
          <pc:docMk/>
          <pc:sldMk cId="2928538004" sldId="2147471350"/>
        </pc:sldMkLst>
        <pc:spChg chg="del">
          <ac:chgData name="Paul LEGEARD" userId="73b5704d-da1d-4b70-8e12-6d54d32b01a3" providerId="ADAL" clId="{F979C8B0-72E3-4D3D-95A6-DC7ECDDD3ECC}" dt="2023-09-29T11:36:55.252" v="7539" actId="478"/>
          <ac:spMkLst>
            <pc:docMk/>
            <pc:sldMk cId="2928538004" sldId="2147471350"/>
            <ac:spMk id="2" creationId="{1B110C3C-3342-0570-1254-DDF1D96A37B8}"/>
          </ac:spMkLst>
        </pc:spChg>
        <pc:spChg chg="del mod">
          <ac:chgData name="Paul LEGEARD" userId="73b5704d-da1d-4b70-8e12-6d54d32b01a3" providerId="ADAL" clId="{F979C8B0-72E3-4D3D-95A6-DC7ECDDD3ECC}" dt="2023-09-29T11:40:22.202" v="7753" actId="478"/>
          <ac:spMkLst>
            <pc:docMk/>
            <pc:sldMk cId="2928538004" sldId="2147471350"/>
            <ac:spMk id="3" creationId="{6EFAEAE0-65F4-B014-5CE8-5FB8DADB9072}"/>
          </ac:spMkLst>
        </pc:spChg>
        <pc:spChg chg="add mod">
          <ac:chgData name="Paul LEGEARD" userId="73b5704d-da1d-4b70-8e12-6d54d32b01a3" providerId="ADAL" clId="{F979C8B0-72E3-4D3D-95A6-DC7ECDDD3ECC}" dt="2023-09-29T11:39:31.522" v="7738" actId="1036"/>
          <ac:spMkLst>
            <pc:docMk/>
            <pc:sldMk cId="2928538004" sldId="2147471350"/>
            <ac:spMk id="4" creationId="{EA68F871-7275-76AA-9180-BA057F72183A}"/>
          </ac:spMkLst>
        </pc:spChg>
        <pc:spChg chg="mod">
          <ac:chgData name="Paul LEGEARD" userId="73b5704d-da1d-4b70-8e12-6d54d32b01a3" providerId="ADAL" clId="{F979C8B0-72E3-4D3D-95A6-DC7ECDDD3ECC}" dt="2023-09-29T11:33:52.020" v="7251" actId="1076"/>
          <ac:spMkLst>
            <pc:docMk/>
            <pc:sldMk cId="2928538004" sldId="2147471350"/>
            <ac:spMk id="5" creationId="{BB931FD4-6A71-62EF-6C29-E83C37D84097}"/>
          </ac:spMkLst>
        </pc:spChg>
        <pc:spChg chg="add mod">
          <ac:chgData name="Paul LEGEARD" userId="73b5704d-da1d-4b70-8e12-6d54d32b01a3" providerId="ADAL" clId="{F979C8B0-72E3-4D3D-95A6-DC7ECDDD3ECC}" dt="2023-09-29T11:39:31.522" v="7738" actId="1036"/>
          <ac:spMkLst>
            <pc:docMk/>
            <pc:sldMk cId="2928538004" sldId="2147471350"/>
            <ac:spMk id="9" creationId="{5DD43055-CF82-6511-C656-BD3EE1EE8992}"/>
          </ac:spMkLst>
        </pc:spChg>
        <pc:spChg chg="add mod">
          <ac:chgData name="Paul LEGEARD" userId="73b5704d-da1d-4b70-8e12-6d54d32b01a3" providerId="ADAL" clId="{F979C8B0-72E3-4D3D-95A6-DC7ECDDD3ECC}" dt="2023-09-29T11:39:31.522" v="7738" actId="1036"/>
          <ac:spMkLst>
            <pc:docMk/>
            <pc:sldMk cId="2928538004" sldId="2147471350"/>
            <ac:spMk id="10" creationId="{DABD1014-BF59-6F5E-551B-BBC1194D1A70}"/>
          </ac:spMkLst>
        </pc:spChg>
        <pc:spChg chg="add mod">
          <ac:chgData name="Paul LEGEARD" userId="73b5704d-da1d-4b70-8e12-6d54d32b01a3" providerId="ADAL" clId="{F979C8B0-72E3-4D3D-95A6-DC7ECDDD3ECC}" dt="2023-09-29T11:39:23.583" v="7723" actId="1035"/>
          <ac:spMkLst>
            <pc:docMk/>
            <pc:sldMk cId="2928538004" sldId="2147471350"/>
            <ac:spMk id="12" creationId="{F8AA4FEF-E3C3-8792-6354-A82DD95E3ACE}"/>
          </ac:spMkLst>
        </pc:spChg>
        <pc:spChg chg="add mod">
          <ac:chgData name="Paul LEGEARD" userId="73b5704d-da1d-4b70-8e12-6d54d32b01a3" providerId="ADAL" clId="{F979C8B0-72E3-4D3D-95A6-DC7ECDDD3ECC}" dt="2023-09-29T11:39:23.583" v="7723" actId="1035"/>
          <ac:spMkLst>
            <pc:docMk/>
            <pc:sldMk cId="2928538004" sldId="2147471350"/>
            <ac:spMk id="13" creationId="{658E7ED8-307A-07C6-AF02-BCC89FB0C6B2}"/>
          </ac:spMkLst>
        </pc:spChg>
        <pc:spChg chg="add del mod">
          <ac:chgData name="Paul LEGEARD" userId="73b5704d-da1d-4b70-8e12-6d54d32b01a3" providerId="ADAL" clId="{F979C8B0-72E3-4D3D-95A6-DC7ECDDD3ECC}" dt="2023-09-29T11:36:55.252" v="7539" actId="478"/>
          <ac:spMkLst>
            <pc:docMk/>
            <pc:sldMk cId="2928538004" sldId="2147471350"/>
            <ac:spMk id="14" creationId="{2DF5011E-6438-7384-D643-E2AFE0CEA944}"/>
          </ac:spMkLst>
        </pc:spChg>
        <pc:spChg chg="add mod">
          <ac:chgData name="Paul LEGEARD" userId="73b5704d-da1d-4b70-8e12-6d54d32b01a3" providerId="ADAL" clId="{F979C8B0-72E3-4D3D-95A6-DC7ECDDD3ECC}" dt="2023-09-29T11:39:34.360" v="7739" actId="14100"/>
          <ac:spMkLst>
            <pc:docMk/>
            <pc:sldMk cId="2928538004" sldId="2147471350"/>
            <ac:spMk id="15" creationId="{830A7E44-99AE-67FD-8857-FA0271AB720D}"/>
          </ac:spMkLst>
        </pc:spChg>
        <pc:spChg chg="add mod">
          <ac:chgData name="Paul LEGEARD" userId="73b5704d-da1d-4b70-8e12-6d54d32b01a3" providerId="ADAL" clId="{F979C8B0-72E3-4D3D-95A6-DC7ECDDD3ECC}" dt="2023-09-29T11:39:23.583" v="7723" actId="1035"/>
          <ac:spMkLst>
            <pc:docMk/>
            <pc:sldMk cId="2928538004" sldId="2147471350"/>
            <ac:spMk id="18" creationId="{7E877222-78A3-9D3D-7DD8-629BC7A51C5E}"/>
          </ac:spMkLst>
        </pc:spChg>
        <pc:spChg chg="mod">
          <ac:chgData name="Paul LEGEARD" userId="73b5704d-da1d-4b70-8e12-6d54d32b01a3" providerId="ADAL" clId="{F979C8B0-72E3-4D3D-95A6-DC7ECDDD3ECC}" dt="2023-09-29T11:34:54.299" v="7404" actId="207"/>
          <ac:spMkLst>
            <pc:docMk/>
            <pc:sldMk cId="2928538004" sldId="2147471350"/>
            <ac:spMk id="19" creationId="{B9DD1E93-4A34-4942-5C45-BB5B6922B3C1}"/>
          </ac:spMkLst>
        </pc:spChg>
        <pc:spChg chg="del">
          <ac:chgData name="Paul LEGEARD" userId="73b5704d-da1d-4b70-8e12-6d54d32b01a3" providerId="ADAL" clId="{F979C8B0-72E3-4D3D-95A6-DC7ECDDD3ECC}" dt="2023-09-29T11:36:55.252" v="7539" actId="478"/>
          <ac:spMkLst>
            <pc:docMk/>
            <pc:sldMk cId="2928538004" sldId="2147471350"/>
            <ac:spMk id="20" creationId="{C938247E-1309-9124-223D-EB92A5F7BC4D}"/>
          </ac:spMkLst>
        </pc:spChg>
        <pc:spChg chg="del">
          <ac:chgData name="Paul LEGEARD" userId="73b5704d-da1d-4b70-8e12-6d54d32b01a3" providerId="ADAL" clId="{F979C8B0-72E3-4D3D-95A6-DC7ECDDD3ECC}" dt="2023-09-29T11:34:59.209" v="7406" actId="478"/>
          <ac:spMkLst>
            <pc:docMk/>
            <pc:sldMk cId="2928538004" sldId="2147471350"/>
            <ac:spMk id="21" creationId="{F4F6E9DD-FC08-0CBE-545F-FDE73AA1DC28}"/>
          </ac:spMkLst>
        </pc:spChg>
        <pc:spChg chg="del">
          <ac:chgData name="Paul LEGEARD" userId="73b5704d-da1d-4b70-8e12-6d54d32b01a3" providerId="ADAL" clId="{F979C8B0-72E3-4D3D-95A6-DC7ECDDD3ECC}" dt="2023-09-29T11:34:58.366" v="7405" actId="478"/>
          <ac:spMkLst>
            <pc:docMk/>
            <pc:sldMk cId="2928538004" sldId="2147471350"/>
            <ac:spMk id="22" creationId="{1B52A75E-B596-B51E-B49F-659677EA4C4E}"/>
          </ac:spMkLst>
        </pc:spChg>
        <pc:spChg chg="del">
          <ac:chgData name="Paul LEGEARD" userId="73b5704d-da1d-4b70-8e12-6d54d32b01a3" providerId="ADAL" clId="{F979C8B0-72E3-4D3D-95A6-DC7ECDDD3ECC}" dt="2023-09-29T11:34:58.366" v="7405" actId="478"/>
          <ac:spMkLst>
            <pc:docMk/>
            <pc:sldMk cId="2928538004" sldId="2147471350"/>
            <ac:spMk id="29" creationId="{0B2C84AC-7DDB-27F3-1B0C-77D8C0A3B9B0}"/>
          </ac:spMkLst>
        </pc:spChg>
        <pc:spChg chg="add mod">
          <ac:chgData name="Paul LEGEARD" userId="73b5704d-da1d-4b70-8e12-6d54d32b01a3" providerId="ADAL" clId="{F979C8B0-72E3-4D3D-95A6-DC7ECDDD3ECC}" dt="2023-09-29T11:41:01.146" v="7930" actId="1035"/>
          <ac:spMkLst>
            <pc:docMk/>
            <pc:sldMk cId="2928538004" sldId="2147471350"/>
            <ac:spMk id="33" creationId="{98C8F68A-6928-08B9-846B-F6D78683E445}"/>
          </ac:spMkLst>
        </pc:spChg>
        <pc:spChg chg="add mod">
          <ac:chgData name="Paul LEGEARD" userId="73b5704d-da1d-4b70-8e12-6d54d32b01a3" providerId="ADAL" clId="{F979C8B0-72E3-4D3D-95A6-DC7ECDDD3ECC}" dt="2023-09-29T11:40:59.919" v="7926" actId="1035"/>
          <ac:spMkLst>
            <pc:docMk/>
            <pc:sldMk cId="2928538004" sldId="2147471350"/>
            <ac:spMk id="34" creationId="{B5742438-725E-EBDC-C0C0-0088921147DD}"/>
          </ac:spMkLst>
        </pc:spChg>
        <pc:spChg chg="add mod">
          <ac:chgData name="Paul LEGEARD" userId="73b5704d-da1d-4b70-8e12-6d54d32b01a3" providerId="ADAL" clId="{F979C8B0-72E3-4D3D-95A6-DC7ECDDD3ECC}" dt="2023-09-29T11:41:13.488" v="7943" actId="1037"/>
          <ac:spMkLst>
            <pc:docMk/>
            <pc:sldMk cId="2928538004" sldId="2147471350"/>
            <ac:spMk id="35" creationId="{652263EB-4DFF-F073-C73E-8391548A7F56}"/>
          </ac:spMkLst>
        </pc:spChg>
        <pc:spChg chg="add mod">
          <ac:chgData name="Paul LEGEARD" userId="73b5704d-da1d-4b70-8e12-6d54d32b01a3" providerId="ADAL" clId="{F979C8B0-72E3-4D3D-95A6-DC7ECDDD3ECC}" dt="2023-09-29T11:41:24.279" v="7949" actId="14100"/>
          <ac:spMkLst>
            <pc:docMk/>
            <pc:sldMk cId="2928538004" sldId="2147471350"/>
            <ac:spMk id="37" creationId="{E6099D7C-1BB7-7205-1BBB-0B1D4079E1EC}"/>
          </ac:spMkLst>
        </pc:spChg>
        <pc:spChg chg="add del mod">
          <ac:chgData name="Paul LEGEARD" userId="73b5704d-da1d-4b70-8e12-6d54d32b01a3" providerId="ADAL" clId="{F979C8B0-72E3-4D3D-95A6-DC7ECDDD3ECC}" dt="2023-09-29T11:36:55.252" v="7539" actId="478"/>
          <ac:spMkLst>
            <pc:docMk/>
            <pc:sldMk cId="2928538004" sldId="2147471350"/>
            <ac:spMk id="47" creationId="{293465F5-EFE8-C258-FC4B-C306F3FD922D}"/>
          </ac:spMkLst>
        </pc:spChg>
        <pc:grpChg chg="add del mod">
          <ac:chgData name="Paul LEGEARD" userId="73b5704d-da1d-4b70-8e12-6d54d32b01a3" providerId="ADAL" clId="{F979C8B0-72E3-4D3D-95A6-DC7ECDDD3ECC}" dt="2023-09-29T11:36:53.883" v="7538" actId="165"/>
          <ac:grpSpMkLst>
            <pc:docMk/>
            <pc:sldMk cId="2928538004" sldId="2147471350"/>
            <ac:grpSpMk id="48" creationId="{8B406F2F-C8A1-C240-0866-34F5EB07C8E6}"/>
          </ac:grpSpMkLst>
        </pc:grpChg>
        <pc:picChg chg="mod topLvl">
          <ac:chgData name="Paul LEGEARD" userId="73b5704d-da1d-4b70-8e12-6d54d32b01a3" providerId="ADAL" clId="{F979C8B0-72E3-4D3D-95A6-DC7ECDDD3ECC}" dt="2023-09-29T11:41:17.148" v="7946" actId="1076"/>
          <ac:picMkLst>
            <pc:docMk/>
            <pc:sldMk cId="2928538004" sldId="2147471350"/>
            <ac:picMk id="11" creationId="{FA48452F-96F8-D901-A86A-76903A6BA1CD}"/>
          </ac:picMkLst>
        </pc:picChg>
        <pc:picChg chg="add mod">
          <ac:chgData name="Paul LEGEARD" userId="73b5704d-da1d-4b70-8e12-6d54d32b01a3" providerId="ADAL" clId="{F979C8B0-72E3-4D3D-95A6-DC7ECDDD3ECC}" dt="2023-09-29T11:39:23.583" v="7723" actId="1035"/>
          <ac:picMkLst>
            <pc:docMk/>
            <pc:sldMk cId="2928538004" sldId="2147471350"/>
            <ac:picMk id="17" creationId="{A4E8F5EC-BD19-6EA4-F606-A09D17FA0188}"/>
          </ac:picMkLst>
        </pc:picChg>
        <pc:picChg chg="del">
          <ac:chgData name="Paul LEGEARD" userId="73b5704d-da1d-4b70-8e12-6d54d32b01a3" providerId="ADAL" clId="{F979C8B0-72E3-4D3D-95A6-DC7ECDDD3ECC}" dt="2023-09-29T11:34:58.366" v="7405" actId="478"/>
          <ac:picMkLst>
            <pc:docMk/>
            <pc:sldMk cId="2928538004" sldId="2147471350"/>
            <ac:picMk id="23" creationId="{0EDB92A2-D477-218F-9ED1-E526020A8869}"/>
          </ac:picMkLst>
        </pc:picChg>
        <pc:picChg chg="del">
          <ac:chgData name="Paul LEGEARD" userId="73b5704d-da1d-4b70-8e12-6d54d32b01a3" providerId="ADAL" clId="{F979C8B0-72E3-4D3D-95A6-DC7ECDDD3ECC}" dt="2023-09-29T11:34:58.366" v="7405" actId="478"/>
          <ac:picMkLst>
            <pc:docMk/>
            <pc:sldMk cId="2928538004" sldId="2147471350"/>
            <ac:picMk id="24" creationId="{39D7332F-5845-F1E7-B03D-8CBDB05C7158}"/>
          </ac:picMkLst>
        </pc:picChg>
        <pc:picChg chg="del">
          <ac:chgData name="Paul LEGEARD" userId="73b5704d-da1d-4b70-8e12-6d54d32b01a3" providerId="ADAL" clId="{F979C8B0-72E3-4D3D-95A6-DC7ECDDD3ECC}" dt="2023-09-29T11:34:58.366" v="7405" actId="478"/>
          <ac:picMkLst>
            <pc:docMk/>
            <pc:sldMk cId="2928538004" sldId="2147471350"/>
            <ac:picMk id="25" creationId="{69EA09F2-8F13-82F6-63A3-CAE0B52B51FF}"/>
          </ac:picMkLst>
        </pc:picChg>
        <pc:picChg chg="del">
          <ac:chgData name="Paul LEGEARD" userId="73b5704d-da1d-4b70-8e12-6d54d32b01a3" providerId="ADAL" clId="{F979C8B0-72E3-4D3D-95A6-DC7ECDDD3ECC}" dt="2023-09-29T11:34:58.366" v="7405" actId="478"/>
          <ac:picMkLst>
            <pc:docMk/>
            <pc:sldMk cId="2928538004" sldId="2147471350"/>
            <ac:picMk id="26" creationId="{B9331BAF-1515-D83C-9CFA-A5C3C40E4D39}"/>
          </ac:picMkLst>
        </pc:picChg>
        <pc:picChg chg="del">
          <ac:chgData name="Paul LEGEARD" userId="73b5704d-da1d-4b70-8e12-6d54d32b01a3" providerId="ADAL" clId="{F979C8B0-72E3-4D3D-95A6-DC7ECDDD3ECC}" dt="2023-09-29T11:34:59.899" v="7407" actId="478"/>
          <ac:picMkLst>
            <pc:docMk/>
            <pc:sldMk cId="2928538004" sldId="2147471350"/>
            <ac:picMk id="27" creationId="{118CB99F-3602-181A-FDDD-8B1A2C0C8198}"/>
          </ac:picMkLst>
        </pc:picChg>
        <pc:picChg chg="del">
          <ac:chgData name="Paul LEGEARD" userId="73b5704d-da1d-4b70-8e12-6d54d32b01a3" providerId="ADAL" clId="{F979C8B0-72E3-4D3D-95A6-DC7ECDDD3ECC}" dt="2023-09-29T11:34:58.366" v="7405" actId="478"/>
          <ac:picMkLst>
            <pc:docMk/>
            <pc:sldMk cId="2928538004" sldId="2147471350"/>
            <ac:picMk id="30" creationId="{501DF349-D27E-BBA5-DD14-130A5A4134FC}"/>
          </ac:picMkLst>
        </pc:picChg>
        <pc:picChg chg="add mod">
          <ac:chgData name="Paul LEGEARD" userId="73b5704d-da1d-4b70-8e12-6d54d32b01a3" providerId="ADAL" clId="{F979C8B0-72E3-4D3D-95A6-DC7ECDDD3ECC}" dt="2023-09-29T11:41:02.155" v="7931" actId="1076"/>
          <ac:picMkLst>
            <pc:docMk/>
            <pc:sldMk cId="2928538004" sldId="2147471350"/>
            <ac:picMk id="31" creationId="{D7E74F8D-7BA5-DEBF-49EF-0D3E956D314B}"/>
          </ac:picMkLst>
        </pc:picChg>
        <pc:picChg chg="del mod topLvl">
          <ac:chgData name="Paul LEGEARD" userId="73b5704d-da1d-4b70-8e12-6d54d32b01a3" providerId="ADAL" clId="{F979C8B0-72E3-4D3D-95A6-DC7ECDDD3ECC}" dt="2023-09-29T11:36:55.252" v="7539" actId="478"/>
          <ac:picMkLst>
            <pc:docMk/>
            <pc:sldMk cId="2928538004" sldId="2147471350"/>
            <ac:picMk id="32" creationId="{FD51CA8B-5283-1FCD-A33D-86E9106525F6}"/>
          </ac:picMkLst>
        </pc:picChg>
        <pc:picChg chg="del mod topLvl">
          <ac:chgData name="Paul LEGEARD" userId="73b5704d-da1d-4b70-8e12-6d54d32b01a3" providerId="ADAL" clId="{F979C8B0-72E3-4D3D-95A6-DC7ECDDD3ECC}" dt="2023-09-29T11:36:55.252" v="7539" actId="478"/>
          <ac:picMkLst>
            <pc:docMk/>
            <pc:sldMk cId="2928538004" sldId="2147471350"/>
            <ac:picMk id="36" creationId="{CD6B6A14-F766-0CB0-4DD6-192086E3A259}"/>
          </ac:picMkLst>
        </pc:picChg>
        <pc:picChg chg="del mod">
          <ac:chgData name="Paul LEGEARD" userId="73b5704d-da1d-4b70-8e12-6d54d32b01a3" providerId="ADAL" clId="{F979C8B0-72E3-4D3D-95A6-DC7ECDDD3ECC}" dt="2023-09-29T11:40:07.115" v="7743" actId="478"/>
          <ac:picMkLst>
            <pc:docMk/>
            <pc:sldMk cId="2928538004" sldId="2147471350"/>
            <ac:picMk id="40" creationId="{4DAF9E58-E1F2-7BDA-5BF9-5CDA0756B0FC}"/>
          </ac:picMkLst>
        </pc:picChg>
        <pc:picChg chg="add del mod">
          <ac:chgData name="Paul LEGEARD" userId="73b5704d-da1d-4b70-8e12-6d54d32b01a3" providerId="ADAL" clId="{F979C8B0-72E3-4D3D-95A6-DC7ECDDD3ECC}" dt="2023-09-29T11:38:53.665" v="7690" actId="478"/>
          <ac:picMkLst>
            <pc:docMk/>
            <pc:sldMk cId="2928538004" sldId="2147471350"/>
            <ac:picMk id="42" creationId="{B49BF9E5-8860-F87A-5323-B269B0A78738}"/>
          </ac:picMkLst>
        </pc:picChg>
        <pc:picChg chg="del mod">
          <ac:chgData name="Paul LEGEARD" userId="73b5704d-da1d-4b70-8e12-6d54d32b01a3" providerId="ADAL" clId="{F979C8B0-72E3-4D3D-95A6-DC7ECDDD3ECC}" dt="2023-09-29T11:38:56.248" v="7692" actId="478"/>
          <ac:picMkLst>
            <pc:docMk/>
            <pc:sldMk cId="2928538004" sldId="2147471350"/>
            <ac:picMk id="43" creationId="{10417E93-ACB8-F978-4FBC-BEFC65275F15}"/>
          </ac:picMkLst>
        </pc:picChg>
        <pc:picChg chg="add del mod">
          <ac:chgData name="Paul LEGEARD" userId="73b5704d-da1d-4b70-8e12-6d54d32b01a3" providerId="ADAL" clId="{F979C8B0-72E3-4D3D-95A6-DC7ECDDD3ECC}" dt="2023-09-29T11:36:55.252" v="7539" actId="478"/>
          <ac:picMkLst>
            <pc:docMk/>
            <pc:sldMk cId="2928538004" sldId="2147471350"/>
            <ac:picMk id="44" creationId="{9055B68F-D572-2DE4-794C-D97AF6FCFA9D}"/>
          </ac:picMkLst>
        </pc:picChg>
        <pc:picChg chg="del mod">
          <ac:chgData name="Paul LEGEARD" userId="73b5704d-da1d-4b70-8e12-6d54d32b01a3" providerId="ADAL" clId="{F979C8B0-72E3-4D3D-95A6-DC7ECDDD3ECC}" dt="2023-09-29T11:38:56.248" v="7692" actId="478"/>
          <ac:picMkLst>
            <pc:docMk/>
            <pc:sldMk cId="2928538004" sldId="2147471350"/>
            <ac:picMk id="46" creationId="{02112ABD-C492-088D-4391-E754BA36870F}"/>
          </ac:picMkLst>
        </pc:picChg>
        <pc:extLst>
          <p:ext xmlns:p="http://schemas.openxmlformats.org/presentationml/2006/main" uri="{D6D511B9-2390-475A-947B-AFAB55BFBCF1}">
            <pc226:cmChg xmlns:pc226="http://schemas.microsoft.com/office/powerpoint/2022/06/main/command" chg="">
              <pc226:chgData name="Paul LEGEARD" userId="73b5704d-da1d-4b70-8e12-6d54d32b01a3" providerId="ADAL" clId="{F979C8B0-72E3-4D3D-95A6-DC7ECDDD3ECC}" dt="2023-09-29T11:34:39.270" v="7399"/>
              <pc2:cmMkLst xmlns:pc2="http://schemas.microsoft.com/office/powerpoint/2019/9/main/command">
                <pc:docMk/>
                <pc:sldMk cId="2928538004" sldId="2147471350"/>
                <pc2:cmMk id="{22A02AB1-2E46-43AC-A869-988E7B16C21F}"/>
              </pc2:cmMkLst>
              <pc226:cmRplyChg chg="add">
                <pc226:chgData name="Paul LEGEARD" userId="73b5704d-da1d-4b70-8e12-6d54d32b01a3" providerId="ADAL" clId="{F979C8B0-72E3-4D3D-95A6-DC7ECDDD3ECC}" dt="2023-09-29T11:34:39.270" v="7399"/>
                <pc2:cmRplyMkLst xmlns:pc2="http://schemas.microsoft.com/office/powerpoint/2019/9/main/command">
                  <pc:docMk/>
                  <pc:sldMk cId="2928538004" sldId="2147471350"/>
                  <pc2:cmMk id="{22A02AB1-2E46-43AC-A869-988E7B16C21F}"/>
                  <pc2:cmRplyMk id="{95E44918-DE75-40C7-8D54-4AE0CFF94306}"/>
                </pc2:cmRplyMkLst>
              </pc226:cmRplyChg>
            </pc226:cmChg>
          </p:ext>
        </pc:extLst>
      </pc:sldChg>
    </pc:docChg>
  </pc:docChgLst>
  <pc:docChgLst>
    <pc:chgData name="Paul LEGEARD" userId="73b5704d-da1d-4b70-8e12-6d54d32b01a3" providerId="ADAL" clId="{20AD8B11-130C-4F68-9211-C0E7C90F8BEE}"/>
    <pc:docChg chg="undo redo custSel addSld delSld modSld sldOrd">
      <pc:chgData name="Paul LEGEARD" userId="73b5704d-da1d-4b70-8e12-6d54d32b01a3" providerId="ADAL" clId="{20AD8B11-130C-4F68-9211-C0E7C90F8BEE}" dt="2023-07-10T12:59:54.168" v="29928"/>
      <pc:docMkLst>
        <pc:docMk/>
      </pc:docMkLst>
      <pc:sldChg chg="modSp add del mod">
        <pc:chgData name="Paul LEGEARD" userId="73b5704d-da1d-4b70-8e12-6d54d32b01a3" providerId="ADAL" clId="{20AD8B11-130C-4F68-9211-C0E7C90F8BEE}" dt="2023-06-26T06:53:26.616" v="29908" actId="47"/>
        <pc:sldMkLst>
          <pc:docMk/>
          <pc:sldMk cId="1065887249" sldId="256"/>
        </pc:sldMkLst>
        <pc:spChg chg="mod">
          <ac:chgData name="Paul LEGEARD" userId="73b5704d-da1d-4b70-8e12-6d54d32b01a3" providerId="ADAL" clId="{20AD8B11-130C-4F68-9211-C0E7C90F8BEE}" dt="2023-06-08T08:47:50.880" v="0" actId="20577"/>
          <ac:spMkLst>
            <pc:docMk/>
            <pc:sldMk cId="1065887249" sldId="256"/>
            <ac:spMk id="3" creationId="{9E91F614-89FB-4354-B5E3-ECD766CDC165}"/>
          </ac:spMkLst>
        </pc:spChg>
        <pc:spChg chg="mod">
          <ac:chgData name="Paul LEGEARD" userId="73b5704d-da1d-4b70-8e12-6d54d32b01a3" providerId="ADAL" clId="{20AD8B11-130C-4F68-9211-C0E7C90F8BEE}" dt="2023-06-15T11:23:44.399" v="29868" actId="20577"/>
          <ac:spMkLst>
            <pc:docMk/>
            <pc:sldMk cId="1065887249" sldId="256"/>
            <ac:spMk id="7" creationId="{BF1A3B6F-14E8-4284-B1D9-EED8011BDF16}"/>
          </ac:spMkLst>
        </pc:spChg>
      </pc:sldChg>
      <pc:sldChg chg="del ord">
        <pc:chgData name="Paul LEGEARD" userId="73b5704d-da1d-4b70-8e12-6d54d32b01a3" providerId="ADAL" clId="{20AD8B11-130C-4F68-9211-C0E7C90F8BEE}" dt="2023-06-09T08:34:08.785" v="18871" actId="47"/>
        <pc:sldMkLst>
          <pc:docMk/>
          <pc:sldMk cId="447334412" sldId="2146849061"/>
        </pc:sldMkLst>
      </pc:sldChg>
      <pc:sldChg chg="del">
        <pc:chgData name="Paul LEGEARD" userId="73b5704d-da1d-4b70-8e12-6d54d32b01a3" providerId="ADAL" clId="{20AD8B11-130C-4F68-9211-C0E7C90F8BEE}" dt="2023-06-08T11:14:46.811" v="1538" actId="47"/>
        <pc:sldMkLst>
          <pc:docMk/>
          <pc:sldMk cId="3569893162" sldId="2147374865"/>
        </pc:sldMkLst>
      </pc:sldChg>
      <pc:sldChg chg="del">
        <pc:chgData name="Paul LEGEARD" userId="73b5704d-da1d-4b70-8e12-6d54d32b01a3" providerId="ADAL" clId="{20AD8B11-130C-4F68-9211-C0E7C90F8BEE}" dt="2023-06-08T11:14:44.941" v="1537" actId="47"/>
        <pc:sldMkLst>
          <pc:docMk/>
          <pc:sldMk cId="144615472" sldId="2147374870"/>
        </pc:sldMkLst>
      </pc:sldChg>
      <pc:sldChg chg="del">
        <pc:chgData name="Paul LEGEARD" userId="73b5704d-da1d-4b70-8e12-6d54d32b01a3" providerId="ADAL" clId="{20AD8B11-130C-4F68-9211-C0E7C90F8BEE}" dt="2023-06-08T15:36:03.359" v="12358" actId="47"/>
        <pc:sldMkLst>
          <pc:docMk/>
          <pc:sldMk cId="3932110582" sldId="2147468221"/>
        </pc:sldMkLst>
      </pc:sldChg>
      <pc:sldChg chg="add del">
        <pc:chgData name="Paul LEGEARD" userId="73b5704d-da1d-4b70-8e12-6d54d32b01a3" providerId="ADAL" clId="{20AD8B11-130C-4F68-9211-C0E7C90F8BEE}" dt="2023-07-10T12:59:54.168" v="29928"/>
        <pc:sldMkLst>
          <pc:docMk/>
          <pc:sldMk cId="2246377235" sldId="2147469763"/>
        </pc:sldMkLst>
      </pc:sldChg>
      <pc:sldChg chg="del">
        <pc:chgData name="Paul LEGEARD" userId="73b5704d-da1d-4b70-8e12-6d54d32b01a3" providerId="ADAL" clId="{20AD8B11-130C-4F68-9211-C0E7C90F8BEE}" dt="2023-06-08T11:05:49.432" v="1106" actId="47"/>
        <pc:sldMkLst>
          <pc:docMk/>
          <pc:sldMk cId="1823401435" sldId="2147469829"/>
        </pc:sldMkLst>
      </pc:sldChg>
      <pc:sldChg chg="del">
        <pc:chgData name="Paul LEGEARD" userId="73b5704d-da1d-4b70-8e12-6d54d32b01a3" providerId="ADAL" clId="{20AD8B11-130C-4F68-9211-C0E7C90F8BEE}" dt="2023-06-08T14:29:20.907" v="8658" actId="47"/>
        <pc:sldMkLst>
          <pc:docMk/>
          <pc:sldMk cId="1700866248" sldId="2147469832"/>
        </pc:sldMkLst>
      </pc:sldChg>
      <pc:sldChg chg="addSp delSp modSp del mod modNotesTx">
        <pc:chgData name="Paul LEGEARD" userId="73b5704d-da1d-4b70-8e12-6d54d32b01a3" providerId="ADAL" clId="{20AD8B11-130C-4F68-9211-C0E7C90F8BEE}" dt="2023-06-20T14:27:18.947" v="29894" actId="47"/>
        <pc:sldMkLst>
          <pc:docMk/>
          <pc:sldMk cId="1760373903" sldId="2147469841"/>
        </pc:sldMkLst>
        <pc:spChg chg="add del">
          <ac:chgData name="Paul LEGEARD" userId="73b5704d-da1d-4b70-8e12-6d54d32b01a3" providerId="ADAL" clId="{20AD8B11-130C-4F68-9211-C0E7C90F8BEE}" dt="2023-06-08T11:06:16.451" v="1140" actId="478"/>
          <ac:spMkLst>
            <pc:docMk/>
            <pc:sldMk cId="1760373903" sldId="2147469841"/>
            <ac:spMk id="2" creationId="{D11DD2C8-DF7B-6061-1524-FBE33624B740}"/>
          </ac:spMkLst>
        </pc:spChg>
        <pc:spChg chg="mod">
          <ac:chgData name="Paul LEGEARD" userId="73b5704d-da1d-4b70-8e12-6d54d32b01a3" providerId="ADAL" clId="{20AD8B11-130C-4F68-9211-C0E7C90F8BEE}" dt="2023-06-09T09:21:41.864" v="19488" actId="1035"/>
          <ac:spMkLst>
            <pc:docMk/>
            <pc:sldMk cId="1760373903" sldId="2147469841"/>
            <ac:spMk id="4" creationId="{52AFB3F8-88A7-4D69-8A52-45D00774625C}"/>
          </ac:spMkLst>
        </pc:spChg>
        <pc:spChg chg="add del mod">
          <ac:chgData name="Paul LEGEARD" userId="73b5704d-da1d-4b70-8e12-6d54d32b01a3" providerId="ADAL" clId="{20AD8B11-130C-4F68-9211-C0E7C90F8BEE}" dt="2023-06-08T11:10:41.094" v="1234"/>
          <ac:spMkLst>
            <pc:docMk/>
            <pc:sldMk cId="1760373903" sldId="2147469841"/>
            <ac:spMk id="5" creationId="{D212664B-22EF-842C-A37E-1932294B9524}"/>
          </ac:spMkLst>
        </pc:spChg>
        <pc:spChg chg="add del mod">
          <ac:chgData name="Paul LEGEARD" userId="73b5704d-da1d-4b70-8e12-6d54d32b01a3" providerId="ADAL" clId="{20AD8B11-130C-4F68-9211-C0E7C90F8BEE}" dt="2023-06-08T11:29:31.925" v="2279" actId="478"/>
          <ac:spMkLst>
            <pc:docMk/>
            <pc:sldMk cId="1760373903" sldId="2147469841"/>
            <ac:spMk id="6" creationId="{E7190827-7C3A-673B-8F59-F9E933EBA669}"/>
          </ac:spMkLst>
        </pc:spChg>
        <pc:spChg chg="add mod">
          <ac:chgData name="Paul LEGEARD" userId="73b5704d-da1d-4b70-8e12-6d54d32b01a3" providerId="ADAL" clId="{20AD8B11-130C-4F68-9211-C0E7C90F8BEE}" dt="2023-06-09T09:16:28.440" v="19382" actId="1038"/>
          <ac:spMkLst>
            <pc:docMk/>
            <pc:sldMk cId="1760373903" sldId="2147469841"/>
            <ac:spMk id="7" creationId="{534396F8-E953-4C46-B0CD-1F1D99F02874}"/>
          </ac:spMkLst>
        </pc:spChg>
        <pc:spChg chg="add del mod">
          <ac:chgData name="Paul LEGEARD" userId="73b5704d-da1d-4b70-8e12-6d54d32b01a3" providerId="ADAL" clId="{20AD8B11-130C-4F68-9211-C0E7C90F8BEE}" dt="2023-06-08T11:29:31.925" v="2279" actId="478"/>
          <ac:spMkLst>
            <pc:docMk/>
            <pc:sldMk cId="1760373903" sldId="2147469841"/>
            <ac:spMk id="7" creationId="{6A221B2A-47B6-4B7D-3E40-ACE7A800F594}"/>
          </ac:spMkLst>
        </pc:spChg>
        <pc:spChg chg="add mod ord">
          <ac:chgData name="Paul LEGEARD" userId="73b5704d-da1d-4b70-8e12-6d54d32b01a3" providerId="ADAL" clId="{20AD8B11-130C-4F68-9211-C0E7C90F8BEE}" dt="2023-06-09T09:16:28.440" v="19382" actId="1038"/>
          <ac:spMkLst>
            <pc:docMk/>
            <pc:sldMk cId="1760373903" sldId="2147469841"/>
            <ac:spMk id="9" creationId="{4F27743C-6575-7926-24E1-FD0358DDC666}"/>
          </ac:spMkLst>
        </pc:spChg>
        <pc:spChg chg="add del mod">
          <ac:chgData name="Paul LEGEARD" userId="73b5704d-da1d-4b70-8e12-6d54d32b01a3" providerId="ADAL" clId="{20AD8B11-130C-4F68-9211-C0E7C90F8BEE}" dt="2023-06-08T11:29:31.925" v="2279" actId="478"/>
          <ac:spMkLst>
            <pc:docMk/>
            <pc:sldMk cId="1760373903" sldId="2147469841"/>
            <ac:spMk id="9" creationId="{AA32C707-753B-A840-F272-44486757DF75}"/>
          </ac:spMkLst>
        </pc:spChg>
        <pc:spChg chg="add del mod">
          <ac:chgData name="Paul LEGEARD" userId="73b5704d-da1d-4b70-8e12-6d54d32b01a3" providerId="ADAL" clId="{20AD8B11-130C-4F68-9211-C0E7C90F8BEE}" dt="2023-06-08T11:29:31.925" v="2279" actId="478"/>
          <ac:spMkLst>
            <pc:docMk/>
            <pc:sldMk cId="1760373903" sldId="2147469841"/>
            <ac:spMk id="10" creationId="{953E5994-523B-62CF-8D9F-2AE1D854940C}"/>
          </ac:spMkLst>
        </pc:spChg>
        <pc:spChg chg="add mod">
          <ac:chgData name="Paul LEGEARD" userId="73b5704d-da1d-4b70-8e12-6d54d32b01a3" providerId="ADAL" clId="{20AD8B11-130C-4F68-9211-C0E7C90F8BEE}" dt="2023-06-09T09:16:28.440" v="19382" actId="1038"/>
          <ac:spMkLst>
            <pc:docMk/>
            <pc:sldMk cId="1760373903" sldId="2147469841"/>
            <ac:spMk id="10" creationId="{9D51C2ED-DB2E-8733-E50A-6C8C87643C3A}"/>
          </ac:spMkLst>
        </pc:spChg>
        <pc:spChg chg="add del mod">
          <ac:chgData name="Paul LEGEARD" userId="73b5704d-da1d-4b70-8e12-6d54d32b01a3" providerId="ADAL" clId="{20AD8B11-130C-4F68-9211-C0E7C90F8BEE}" dt="2023-06-08T11:14:23.103" v="1533" actId="478"/>
          <ac:spMkLst>
            <pc:docMk/>
            <pc:sldMk cId="1760373903" sldId="2147469841"/>
            <ac:spMk id="11" creationId="{0A7AD846-2AD5-9070-D477-49FE9F78CFD4}"/>
          </ac:spMkLst>
        </pc:spChg>
        <pc:spChg chg="add mod">
          <ac:chgData name="Paul LEGEARD" userId="73b5704d-da1d-4b70-8e12-6d54d32b01a3" providerId="ADAL" clId="{20AD8B11-130C-4F68-9211-C0E7C90F8BEE}" dt="2023-06-09T08:35:51.498" v="18944" actId="404"/>
          <ac:spMkLst>
            <pc:docMk/>
            <pc:sldMk cId="1760373903" sldId="2147469841"/>
            <ac:spMk id="12" creationId="{2AA1EFF1-5FCD-12F9-B90A-9054BD3FB937}"/>
          </ac:spMkLst>
        </pc:spChg>
        <pc:spChg chg="add mod ord">
          <ac:chgData name="Paul LEGEARD" userId="73b5704d-da1d-4b70-8e12-6d54d32b01a3" providerId="ADAL" clId="{20AD8B11-130C-4F68-9211-C0E7C90F8BEE}" dt="2023-06-09T08:33:14.321" v="18867" actId="14100"/>
          <ac:spMkLst>
            <pc:docMk/>
            <pc:sldMk cId="1760373903" sldId="2147469841"/>
            <ac:spMk id="13" creationId="{860F367F-8B61-390D-65E5-9B0D41F662EA}"/>
          </ac:spMkLst>
        </pc:spChg>
        <pc:spChg chg="add mod">
          <ac:chgData name="Paul LEGEARD" userId="73b5704d-da1d-4b70-8e12-6d54d32b01a3" providerId="ADAL" clId="{20AD8B11-130C-4F68-9211-C0E7C90F8BEE}" dt="2023-06-09T07:25:02.802" v="16728" actId="1036"/>
          <ac:spMkLst>
            <pc:docMk/>
            <pc:sldMk cId="1760373903" sldId="2147469841"/>
            <ac:spMk id="14" creationId="{15C02DFF-31A4-F7E7-CE67-444BEB73904B}"/>
          </ac:spMkLst>
        </pc:spChg>
        <pc:spChg chg="add mod">
          <ac:chgData name="Paul LEGEARD" userId="73b5704d-da1d-4b70-8e12-6d54d32b01a3" providerId="ADAL" clId="{20AD8B11-130C-4F68-9211-C0E7C90F8BEE}" dt="2023-06-08T11:21:07.778" v="1792" actId="1076"/>
          <ac:spMkLst>
            <pc:docMk/>
            <pc:sldMk cId="1760373903" sldId="2147469841"/>
            <ac:spMk id="15" creationId="{5B9FCDC2-A9B0-92BD-8E34-938A8C9C9EF5}"/>
          </ac:spMkLst>
        </pc:spChg>
        <pc:spChg chg="add mod">
          <ac:chgData name="Paul LEGEARD" userId="73b5704d-da1d-4b70-8e12-6d54d32b01a3" providerId="ADAL" clId="{20AD8B11-130C-4F68-9211-C0E7C90F8BEE}" dt="2023-06-09T08:35:46.312" v="18940" actId="404"/>
          <ac:spMkLst>
            <pc:docMk/>
            <pc:sldMk cId="1760373903" sldId="2147469841"/>
            <ac:spMk id="16" creationId="{45D1CC84-74E4-3BE3-17EF-2F3CF95A67A4}"/>
          </ac:spMkLst>
        </pc:spChg>
        <pc:spChg chg="add mod">
          <ac:chgData name="Paul LEGEARD" userId="73b5704d-da1d-4b70-8e12-6d54d32b01a3" providerId="ADAL" clId="{20AD8B11-130C-4F68-9211-C0E7C90F8BEE}" dt="2023-06-09T07:25:02.802" v="16728" actId="1036"/>
          <ac:spMkLst>
            <pc:docMk/>
            <pc:sldMk cId="1760373903" sldId="2147469841"/>
            <ac:spMk id="17" creationId="{EDFA91F3-F0E3-F92F-E8ED-63BD5AA18C19}"/>
          </ac:spMkLst>
        </pc:spChg>
        <pc:spChg chg="add mod">
          <ac:chgData name="Paul LEGEARD" userId="73b5704d-da1d-4b70-8e12-6d54d32b01a3" providerId="ADAL" clId="{20AD8B11-130C-4F68-9211-C0E7C90F8BEE}" dt="2023-06-09T08:36:00.483" v="18947" actId="404"/>
          <ac:spMkLst>
            <pc:docMk/>
            <pc:sldMk cId="1760373903" sldId="2147469841"/>
            <ac:spMk id="18" creationId="{4B577AA3-24D9-C5E2-1EC0-09BB18018599}"/>
          </ac:spMkLst>
        </pc:spChg>
        <pc:spChg chg="add mod">
          <ac:chgData name="Paul LEGEARD" userId="73b5704d-da1d-4b70-8e12-6d54d32b01a3" providerId="ADAL" clId="{20AD8B11-130C-4F68-9211-C0E7C90F8BEE}" dt="2023-06-09T08:36:04.314" v="18948" actId="1076"/>
          <ac:spMkLst>
            <pc:docMk/>
            <pc:sldMk cId="1760373903" sldId="2147469841"/>
            <ac:spMk id="19" creationId="{46C09A4D-CE01-8631-269D-76C41CBEB0E8}"/>
          </ac:spMkLst>
        </pc:spChg>
        <pc:spChg chg="add mod">
          <ac:chgData name="Paul LEGEARD" userId="73b5704d-da1d-4b70-8e12-6d54d32b01a3" providerId="ADAL" clId="{20AD8B11-130C-4F68-9211-C0E7C90F8BEE}" dt="2023-06-08T11:21:13.582" v="1813" actId="1035"/>
          <ac:spMkLst>
            <pc:docMk/>
            <pc:sldMk cId="1760373903" sldId="2147469841"/>
            <ac:spMk id="20" creationId="{07E83665-F2CD-7CB0-C8A3-44EFE82817D5}"/>
          </ac:spMkLst>
        </pc:spChg>
        <pc:spChg chg="add mod">
          <ac:chgData name="Paul LEGEARD" userId="73b5704d-da1d-4b70-8e12-6d54d32b01a3" providerId="ADAL" clId="{20AD8B11-130C-4F68-9211-C0E7C90F8BEE}" dt="2023-06-09T08:36:08.792" v="18950" actId="1076"/>
          <ac:spMkLst>
            <pc:docMk/>
            <pc:sldMk cId="1760373903" sldId="2147469841"/>
            <ac:spMk id="21" creationId="{064BEDF3-E0E4-8FFE-2395-4AA20AAF0DDE}"/>
          </ac:spMkLst>
        </pc:spChg>
        <pc:spChg chg="add del mod">
          <ac:chgData name="Paul LEGEARD" userId="73b5704d-da1d-4b70-8e12-6d54d32b01a3" providerId="ADAL" clId="{20AD8B11-130C-4F68-9211-C0E7C90F8BEE}" dt="2023-06-09T07:24:49.073" v="16699" actId="478"/>
          <ac:spMkLst>
            <pc:docMk/>
            <pc:sldMk cId="1760373903" sldId="2147469841"/>
            <ac:spMk id="22" creationId="{D7A6E48F-7216-DDB3-5D4A-339F87C46E9A}"/>
          </ac:spMkLst>
        </pc:spChg>
        <pc:spChg chg="add del mod">
          <ac:chgData name="Paul LEGEARD" userId="73b5704d-da1d-4b70-8e12-6d54d32b01a3" providerId="ADAL" clId="{20AD8B11-130C-4F68-9211-C0E7C90F8BEE}" dt="2023-06-09T07:24:49.073" v="16699" actId="478"/>
          <ac:spMkLst>
            <pc:docMk/>
            <pc:sldMk cId="1760373903" sldId="2147469841"/>
            <ac:spMk id="23" creationId="{C088E846-A734-5208-2EDF-98B188DE4372}"/>
          </ac:spMkLst>
        </pc:spChg>
        <pc:spChg chg="add mod">
          <ac:chgData name="Paul LEGEARD" userId="73b5704d-da1d-4b70-8e12-6d54d32b01a3" providerId="ADAL" clId="{20AD8B11-130C-4F68-9211-C0E7C90F8BEE}" dt="2023-06-09T08:36:17.474" v="18954" actId="14100"/>
          <ac:spMkLst>
            <pc:docMk/>
            <pc:sldMk cId="1760373903" sldId="2147469841"/>
            <ac:spMk id="24" creationId="{DB636A21-55E7-871F-BBC8-B3EE8C5DFF3D}"/>
          </ac:spMkLst>
        </pc:spChg>
        <pc:spChg chg="add mod">
          <ac:chgData name="Paul LEGEARD" userId="73b5704d-da1d-4b70-8e12-6d54d32b01a3" providerId="ADAL" clId="{20AD8B11-130C-4F68-9211-C0E7C90F8BEE}" dt="2023-06-09T07:24:59.268" v="16719" actId="1036"/>
          <ac:spMkLst>
            <pc:docMk/>
            <pc:sldMk cId="1760373903" sldId="2147469841"/>
            <ac:spMk id="25" creationId="{926863D5-3F35-66D6-BF66-3BAED5FB1442}"/>
          </ac:spMkLst>
        </pc:spChg>
        <pc:spChg chg="add del">
          <ac:chgData name="Paul LEGEARD" userId="73b5704d-da1d-4b70-8e12-6d54d32b01a3" providerId="ADAL" clId="{20AD8B11-130C-4F68-9211-C0E7C90F8BEE}" dt="2023-06-09T09:07:29.475" v="19140" actId="478"/>
          <ac:spMkLst>
            <pc:docMk/>
            <pc:sldMk cId="1760373903" sldId="2147469841"/>
            <ac:spMk id="28" creationId="{AF1E431F-0DC9-C30E-279E-0D178D7BD2D9}"/>
          </ac:spMkLst>
        </pc:spChg>
        <pc:spChg chg="add mod">
          <ac:chgData name="Paul LEGEARD" userId="73b5704d-da1d-4b70-8e12-6d54d32b01a3" providerId="ADAL" clId="{20AD8B11-130C-4F68-9211-C0E7C90F8BEE}" dt="2023-06-09T09:16:28.440" v="19382" actId="1038"/>
          <ac:spMkLst>
            <pc:docMk/>
            <pc:sldMk cId="1760373903" sldId="2147469841"/>
            <ac:spMk id="29" creationId="{A60B14A4-C6DC-EE91-1DF0-061626E6918F}"/>
          </ac:spMkLst>
        </pc:spChg>
        <pc:spChg chg="add mod">
          <ac:chgData name="Paul LEGEARD" userId="73b5704d-da1d-4b70-8e12-6d54d32b01a3" providerId="ADAL" clId="{20AD8B11-130C-4F68-9211-C0E7C90F8BEE}" dt="2023-06-08T13:01:30.986" v="2495" actId="20577"/>
          <ac:spMkLst>
            <pc:docMk/>
            <pc:sldMk cId="1760373903" sldId="2147469841"/>
            <ac:spMk id="30" creationId="{78B194D7-15F9-AA8F-2EA9-6439FD1E0173}"/>
          </ac:spMkLst>
        </pc:spChg>
        <pc:spChg chg="add mod">
          <ac:chgData name="Paul LEGEARD" userId="73b5704d-da1d-4b70-8e12-6d54d32b01a3" providerId="ADAL" clId="{20AD8B11-130C-4F68-9211-C0E7C90F8BEE}" dt="2023-06-09T09:16:28.440" v="19382" actId="1038"/>
          <ac:spMkLst>
            <pc:docMk/>
            <pc:sldMk cId="1760373903" sldId="2147469841"/>
            <ac:spMk id="30" creationId="{8CF59B19-AFB9-87E1-19CA-992E6CA4BEB8}"/>
          </ac:spMkLst>
        </pc:spChg>
        <pc:spChg chg="add del mod">
          <ac:chgData name="Paul LEGEARD" userId="73b5704d-da1d-4b70-8e12-6d54d32b01a3" providerId="ADAL" clId="{20AD8B11-130C-4F68-9211-C0E7C90F8BEE}" dt="2023-06-08T11:28:45.819" v="2266" actId="478"/>
          <ac:spMkLst>
            <pc:docMk/>
            <pc:sldMk cId="1760373903" sldId="2147469841"/>
            <ac:spMk id="31" creationId="{6B2B9ED1-F30F-7669-90F9-A2F259169EE9}"/>
          </ac:spMkLst>
        </pc:spChg>
        <pc:spChg chg="del mod">
          <ac:chgData name="Paul LEGEARD" userId="73b5704d-da1d-4b70-8e12-6d54d32b01a3" providerId="ADAL" clId="{20AD8B11-130C-4F68-9211-C0E7C90F8BEE}" dt="2023-06-09T09:03:54.106" v="19034" actId="478"/>
          <ac:spMkLst>
            <pc:docMk/>
            <pc:sldMk cId="1760373903" sldId="2147469841"/>
            <ac:spMk id="31" creationId="{CB30CDD0-F1E9-41E1-91FF-09A76AF5CE86}"/>
          </ac:spMkLst>
        </pc:spChg>
        <pc:spChg chg="add del mod">
          <ac:chgData name="Paul LEGEARD" userId="73b5704d-da1d-4b70-8e12-6d54d32b01a3" providerId="ADAL" clId="{20AD8B11-130C-4F68-9211-C0E7C90F8BEE}" dt="2023-06-09T09:08:49.535" v="19181"/>
          <ac:spMkLst>
            <pc:docMk/>
            <pc:sldMk cId="1760373903" sldId="2147469841"/>
            <ac:spMk id="32" creationId="{9E9FCA38-EF64-FA8C-ACED-B47B13D34105}"/>
          </ac:spMkLst>
        </pc:spChg>
        <pc:spChg chg="add mod">
          <ac:chgData name="Paul LEGEARD" userId="73b5704d-da1d-4b70-8e12-6d54d32b01a3" providerId="ADAL" clId="{20AD8B11-130C-4F68-9211-C0E7C90F8BEE}" dt="2023-06-08T12:00:27.735" v="2444" actId="1035"/>
          <ac:spMkLst>
            <pc:docMk/>
            <pc:sldMk cId="1760373903" sldId="2147469841"/>
            <ac:spMk id="33" creationId="{EB02F68B-EBE3-521D-DE4A-94F879C554B8}"/>
          </ac:spMkLst>
        </pc:spChg>
        <pc:spChg chg="add del mod">
          <ac:chgData name="Paul LEGEARD" userId="73b5704d-da1d-4b70-8e12-6d54d32b01a3" providerId="ADAL" clId="{20AD8B11-130C-4F68-9211-C0E7C90F8BEE}" dt="2023-06-09T09:08:49.535" v="19181"/>
          <ac:spMkLst>
            <pc:docMk/>
            <pc:sldMk cId="1760373903" sldId="2147469841"/>
            <ac:spMk id="33" creationId="{EC3FD0A5-135F-E5CC-0A8B-4D1B52E27293}"/>
          </ac:spMkLst>
        </pc:spChg>
        <pc:spChg chg="add del mod">
          <ac:chgData name="Paul LEGEARD" userId="73b5704d-da1d-4b70-8e12-6d54d32b01a3" providerId="ADAL" clId="{20AD8B11-130C-4F68-9211-C0E7C90F8BEE}" dt="2023-06-09T09:08:49.535" v="19181"/>
          <ac:spMkLst>
            <pc:docMk/>
            <pc:sldMk cId="1760373903" sldId="2147469841"/>
            <ac:spMk id="34" creationId="{E919858C-3627-8809-761C-850C50EE29DF}"/>
          </ac:spMkLst>
        </pc:spChg>
        <pc:spChg chg="add mod">
          <ac:chgData name="Paul LEGEARD" userId="73b5704d-da1d-4b70-8e12-6d54d32b01a3" providerId="ADAL" clId="{20AD8B11-130C-4F68-9211-C0E7C90F8BEE}" dt="2023-06-09T09:10:53.194" v="19223" actId="14100"/>
          <ac:spMkLst>
            <pc:docMk/>
            <pc:sldMk cId="1760373903" sldId="2147469841"/>
            <ac:spMk id="35" creationId="{0A975646-4E10-7C21-5E67-2311C0D6C95D}"/>
          </ac:spMkLst>
        </pc:spChg>
        <pc:spChg chg="add mod">
          <ac:chgData name="Paul LEGEARD" userId="73b5704d-da1d-4b70-8e12-6d54d32b01a3" providerId="ADAL" clId="{20AD8B11-130C-4F68-9211-C0E7C90F8BEE}" dt="2023-06-08T12:00:30.833" v="2446" actId="114"/>
          <ac:spMkLst>
            <pc:docMk/>
            <pc:sldMk cId="1760373903" sldId="2147469841"/>
            <ac:spMk id="35" creationId="{ADF1B308-7460-FFC5-260E-F1FC1FF0D5C8}"/>
          </ac:spMkLst>
        </pc:spChg>
        <pc:spChg chg="add mod">
          <ac:chgData name="Paul LEGEARD" userId="73b5704d-da1d-4b70-8e12-6d54d32b01a3" providerId="ADAL" clId="{20AD8B11-130C-4F68-9211-C0E7C90F8BEE}" dt="2023-06-09T09:10:55.690" v="19224" actId="14100"/>
          <ac:spMkLst>
            <pc:docMk/>
            <pc:sldMk cId="1760373903" sldId="2147469841"/>
            <ac:spMk id="36" creationId="{70900175-4234-E6F3-5B2B-C90F3E9EAC06}"/>
          </ac:spMkLst>
        </pc:spChg>
        <pc:spChg chg="add mod ord">
          <ac:chgData name="Paul LEGEARD" userId="73b5704d-da1d-4b70-8e12-6d54d32b01a3" providerId="ADAL" clId="{20AD8B11-130C-4F68-9211-C0E7C90F8BEE}" dt="2023-06-08T12:00:27.735" v="2444" actId="1035"/>
          <ac:spMkLst>
            <pc:docMk/>
            <pc:sldMk cId="1760373903" sldId="2147469841"/>
            <ac:spMk id="36" creationId="{FDDAAC05-93FA-8296-946E-B7751540B890}"/>
          </ac:spMkLst>
        </pc:spChg>
        <pc:spChg chg="add mod">
          <ac:chgData name="Paul LEGEARD" userId="73b5704d-da1d-4b70-8e12-6d54d32b01a3" providerId="ADAL" clId="{20AD8B11-130C-4F68-9211-C0E7C90F8BEE}" dt="2023-06-09T08:36:22.592" v="18955" actId="1076"/>
          <ac:spMkLst>
            <pc:docMk/>
            <pc:sldMk cId="1760373903" sldId="2147469841"/>
            <ac:spMk id="37" creationId="{8CB7799D-9BCA-3278-B2A9-148E032DDE16}"/>
          </ac:spMkLst>
        </pc:spChg>
        <pc:spChg chg="add mod">
          <ac:chgData name="Paul LEGEARD" userId="73b5704d-da1d-4b70-8e12-6d54d32b01a3" providerId="ADAL" clId="{20AD8B11-130C-4F68-9211-C0E7C90F8BEE}" dt="2023-06-09T09:10:57.335" v="19225" actId="1076"/>
          <ac:spMkLst>
            <pc:docMk/>
            <pc:sldMk cId="1760373903" sldId="2147469841"/>
            <ac:spMk id="38" creationId="{2EB46576-81ED-40E6-BD77-ED3C65FCE448}"/>
          </ac:spMkLst>
        </pc:spChg>
        <pc:spChg chg="add mod">
          <ac:chgData name="Paul LEGEARD" userId="73b5704d-da1d-4b70-8e12-6d54d32b01a3" providerId="ADAL" clId="{20AD8B11-130C-4F68-9211-C0E7C90F8BEE}" dt="2023-06-09T09:11:08.786" v="19232" actId="1076"/>
          <ac:spMkLst>
            <pc:docMk/>
            <pc:sldMk cId="1760373903" sldId="2147469841"/>
            <ac:spMk id="40" creationId="{640A8D0B-2BE8-ECBC-FC0E-25AE34291441}"/>
          </ac:spMkLst>
        </pc:spChg>
        <pc:spChg chg="add del">
          <ac:chgData name="Paul LEGEARD" userId="73b5704d-da1d-4b70-8e12-6d54d32b01a3" providerId="ADAL" clId="{20AD8B11-130C-4F68-9211-C0E7C90F8BEE}" dt="2023-06-09T09:11:26.661" v="19236" actId="478"/>
          <ac:spMkLst>
            <pc:docMk/>
            <pc:sldMk cId="1760373903" sldId="2147469841"/>
            <ac:spMk id="41" creationId="{3B871E3C-1F47-58F1-1AEE-FFE010CFE9DD}"/>
          </ac:spMkLst>
        </pc:spChg>
        <pc:spChg chg="add mod">
          <ac:chgData name="Paul LEGEARD" userId="73b5704d-da1d-4b70-8e12-6d54d32b01a3" providerId="ADAL" clId="{20AD8B11-130C-4F68-9211-C0E7C90F8BEE}" dt="2023-06-09T09:13:15.354" v="19292" actId="108"/>
          <ac:spMkLst>
            <pc:docMk/>
            <pc:sldMk cId="1760373903" sldId="2147469841"/>
            <ac:spMk id="43" creationId="{19C258AD-9B68-766C-A9E2-E1B4F650AA50}"/>
          </ac:spMkLst>
        </pc:spChg>
        <pc:spChg chg="add mod">
          <ac:chgData name="Paul LEGEARD" userId="73b5704d-da1d-4b70-8e12-6d54d32b01a3" providerId="ADAL" clId="{20AD8B11-130C-4F68-9211-C0E7C90F8BEE}" dt="2023-06-08T12:00:34.214" v="2466" actId="1035"/>
          <ac:spMkLst>
            <pc:docMk/>
            <pc:sldMk cId="1760373903" sldId="2147469841"/>
            <ac:spMk id="43" creationId="{400D9F00-900F-86DC-335F-04AB80FB983B}"/>
          </ac:spMkLst>
        </pc:spChg>
        <pc:spChg chg="add del mod">
          <ac:chgData name="Paul LEGEARD" userId="73b5704d-da1d-4b70-8e12-6d54d32b01a3" providerId="ADAL" clId="{20AD8B11-130C-4F68-9211-C0E7C90F8BEE}" dt="2023-06-08T11:32:32.434" v="2418" actId="478"/>
          <ac:spMkLst>
            <pc:docMk/>
            <pc:sldMk cId="1760373903" sldId="2147469841"/>
            <ac:spMk id="44" creationId="{E9B3F835-ABAC-3D5F-67BB-DBAF02C762CE}"/>
          </ac:spMkLst>
        </pc:spChg>
        <pc:spChg chg="add mod">
          <ac:chgData name="Paul LEGEARD" userId="73b5704d-da1d-4b70-8e12-6d54d32b01a3" providerId="ADAL" clId="{20AD8B11-130C-4F68-9211-C0E7C90F8BEE}" dt="2023-06-08T15:12:15.312" v="10348" actId="113"/>
          <ac:spMkLst>
            <pc:docMk/>
            <pc:sldMk cId="1760373903" sldId="2147469841"/>
            <ac:spMk id="46" creationId="{2B626DA8-3BB7-913D-E7A8-A40502962A8F}"/>
          </ac:spMkLst>
        </pc:spChg>
        <pc:spChg chg="mod">
          <ac:chgData name="Paul LEGEARD" userId="73b5704d-da1d-4b70-8e12-6d54d32b01a3" providerId="ADAL" clId="{20AD8B11-130C-4F68-9211-C0E7C90F8BEE}" dt="2023-06-09T09:15:19.280" v="19322" actId="18245"/>
          <ac:spMkLst>
            <pc:docMk/>
            <pc:sldMk cId="1760373903" sldId="2147469841"/>
            <ac:spMk id="46" creationId="{4801A84B-A922-C4EE-B2ED-E76B526AD194}"/>
          </ac:spMkLst>
        </pc:spChg>
        <pc:spChg chg="del mod">
          <ac:chgData name="Paul LEGEARD" userId="73b5704d-da1d-4b70-8e12-6d54d32b01a3" providerId="ADAL" clId="{20AD8B11-130C-4F68-9211-C0E7C90F8BEE}" dt="2023-06-12T06:11:52.286" v="21425" actId="478"/>
          <ac:spMkLst>
            <pc:docMk/>
            <pc:sldMk cId="1760373903" sldId="2147469841"/>
            <ac:spMk id="47" creationId="{37D7DD5C-49BB-4EFD-28DD-7EB4F15D79B3}"/>
          </ac:spMkLst>
        </pc:spChg>
        <pc:spChg chg="add del mod">
          <ac:chgData name="Paul LEGEARD" userId="73b5704d-da1d-4b70-8e12-6d54d32b01a3" providerId="ADAL" clId="{20AD8B11-130C-4F68-9211-C0E7C90F8BEE}" dt="2023-06-08T13:17:45.225" v="3570" actId="478"/>
          <ac:spMkLst>
            <pc:docMk/>
            <pc:sldMk cId="1760373903" sldId="2147469841"/>
            <ac:spMk id="47" creationId="{FD1EFD0B-9FA1-207A-76EA-521DD0D7EFF3}"/>
          </ac:spMkLst>
        </pc:spChg>
        <pc:spChg chg="mod">
          <ac:chgData name="Paul LEGEARD" userId="73b5704d-da1d-4b70-8e12-6d54d32b01a3" providerId="ADAL" clId="{20AD8B11-130C-4F68-9211-C0E7C90F8BEE}" dt="2023-06-09T09:15:19.280" v="19322" actId="18245"/>
          <ac:spMkLst>
            <pc:docMk/>
            <pc:sldMk cId="1760373903" sldId="2147469841"/>
            <ac:spMk id="48" creationId="{DDAD380A-F8B5-0D80-345A-E40F5CE59716}"/>
          </ac:spMkLst>
        </pc:spChg>
        <pc:spChg chg="del mod">
          <ac:chgData name="Paul LEGEARD" userId="73b5704d-da1d-4b70-8e12-6d54d32b01a3" providerId="ADAL" clId="{20AD8B11-130C-4F68-9211-C0E7C90F8BEE}" dt="2023-06-12T06:11:52.286" v="21425" actId="478"/>
          <ac:spMkLst>
            <pc:docMk/>
            <pc:sldMk cId="1760373903" sldId="2147469841"/>
            <ac:spMk id="49" creationId="{0AE6CBB6-2137-E62E-F792-6B2D9347A7DE}"/>
          </ac:spMkLst>
        </pc:spChg>
        <pc:spChg chg="mod">
          <ac:chgData name="Paul LEGEARD" userId="73b5704d-da1d-4b70-8e12-6d54d32b01a3" providerId="ADAL" clId="{20AD8B11-130C-4F68-9211-C0E7C90F8BEE}" dt="2023-06-09T09:15:19.280" v="19322" actId="18245"/>
          <ac:spMkLst>
            <pc:docMk/>
            <pc:sldMk cId="1760373903" sldId="2147469841"/>
            <ac:spMk id="50" creationId="{3F3765AF-D5DF-3301-03E3-A6F32C6C3760}"/>
          </ac:spMkLst>
        </pc:spChg>
        <pc:spChg chg="del mod">
          <ac:chgData name="Paul LEGEARD" userId="73b5704d-da1d-4b70-8e12-6d54d32b01a3" providerId="ADAL" clId="{20AD8B11-130C-4F68-9211-C0E7C90F8BEE}" dt="2023-06-12T06:11:52.286" v="21425" actId="478"/>
          <ac:spMkLst>
            <pc:docMk/>
            <pc:sldMk cId="1760373903" sldId="2147469841"/>
            <ac:spMk id="51" creationId="{66EFE3B5-3823-2CA2-C5AE-0AC580F55F28}"/>
          </ac:spMkLst>
        </pc:spChg>
        <pc:spChg chg="mod">
          <ac:chgData name="Paul LEGEARD" userId="73b5704d-da1d-4b70-8e12-6d54d32b01a3" providerId="ADAL" clId="{20AD8B11-130C-4F68-9211-C0E7C90F8BEE}" dt="2023-06-09T09:15:19.280" v="19322" actId="18245"/>
          <ac:spMkLst>
            <pc:docMk/>
            <pc:sldMk cId="1760373903" sldId="2147469841"/>
            <ac:spMk id="52" creationId="{4FAB63BE-889C-F33E-ECFD-E930D0CBC4E3}"/>
          </ac:spMkLst>
        </pc:spChg>
        <pc:spChg chg="add mod">
          <ac:chgData name="Paul LEGEARD" userId="73b5704d-da1d-4b70-8e12-6d54d32b01a3" providerId="ADAL" clId="{20AD8B11-130C-4F68-9211-C0E7C90F8BEE}" dt="2023-06-09T09:16:14.520" v="19356" actId="1038"/>
          <ac:spMkLst>
            <pc:docMk/>
            <pc:sldMk cId="1760373903" sldId="2147469841"/>
            <ac:spMk id="53" creationId="{C1D1030F-C4C3-5EAA-29D6-860A2598701D}"/>
          </ac:spMkLst>
        </pc:spChg>
        <pc:spChg chg="add mod">
          <ac:chgData name="Paul LEGEARD" userId="73b5704d-da1d-4b70-8e12-6d54d32b01a3" providerId="ADAL" clId="{20AD8B11-130C-4F68-9211-C0E7C90F8BEE}" dt="2023-06-09T09:16:22.599" v="19373" actId="207"/>
          <ac:spMkLst>
            <pc:docMk/>
            <pc:sldMk cId="1760373903" sldId="2147469841"/>
            <ac:spMk id="54" creationId="{5A30E0B8-1B01-1F81-0F23-B8FD6F486C79}"/>
          </ac:spMkLst>
        </pc:spChg>
        <pc:spChg chg="add del mod">
          <ac:chgData name="Paul LEGEARD" userId="73b5704d-da1d-4b70-8e12-6d54d32b01a3" providerId="ADAL" clId="{20AD8B11-130C-4F68-9211-C0E7C90F8BEE}" dt="2023-06-12T09:07:57.858" v="24980" actId="478"/>
          <ac:spMkLst>
            <pc:docMk/>
            <pc:sldMk cId="1760373903" sldId="2147469841"/>
            <ac:spMk id="55" creationId="{6E9A8ACA-69F5-CF06-D012-E96A91A38750}"/>
          </ac:spMkLst>
        </pc:spChg>
        <pc:grpChg chg="mod ord">
          <ac:chgData name="Paul LEGEARD" userId="73b5704d-da1d-4b70-8e12-6d54d32b01a3" providerId="ADAL" clId="{20AD8B11-130C-4F68-9211-C0E7C90F8BEE}" dt="2023-06-12T06:11:58.489" v="21426" actId="167"/>
          <ac:grpSpMkLst>
            <pc:docMk/>
            <pc:sldMk cId="1760373903" sldId="2147469841"/>
            <ac:grpSpMk id="45" creationId="{658B2607-C4C0-058C-EBAE-6C7B64A45293}"/>
          </ac:grpSpMkLst>
        </pc:grpChg>
        <pc:graphicFrameChg chg="del mod">
          <ac:chgData name="Paul LEGEARD" userId="73b5704d-da1d-4b70-8e12-6d54d32b01a3" providerId="ADAL" clId="{20AD8B11-130C-4F68-9211-C0E7C90F8BEE}" dt="2023-06-09T09:06:17.632" v="19100" actId="478"/>
          <ac:graphicFrameMkLst>
            <pc:docMk/>
            <pc:sldMk cId="1760373903" sldId="2147469841"/>
            <ac:graphicFrameMk id="2" creationId="{E51D1F7B-6CFC-4317-84D4-8A3D0668FC86}"/>
          </ac:graphicFrameMkLst>
        </pc:graphicFrameChg>
        <pc:graphicFrameChg chg="mod ord modGraphic">
          <ac:chgData name="Paul LEGEARD" userId="73b5704d-da1d-4b70-8e12-6d54d32b01a3" providerId="ADAL" clId="{20AD8B11-130C-4F68-9211-C0E7C90F8BEE}" dt="2023-06-09T09:16:28.440" v="19382" actId="1038"/>
          <ac:graphicFrameMkLst>
            <pc:docMk/>
            <pc:sldMk cId="1760373903" sldId="2147469841"/>
            <ac:graphicFrameMk id="22" creationId="{FF5A5D32-3B52-48DD-BBBF-6218995AEB3B}"/>
          </ac:graphicFrameMkLst>
        </pc:graphicFrameChg>
        <pc:graphicFrameChg chg="add mod modGraphic">
          <ac:chgData name="Paul LEGEARD" userId="73b5704d-da1d-4b70-8e12-6d54d32b01a3" providerId="ADAL" clId="{20AD8B11-130C-4F68-9211-C0E7C90F8BEE}" dt="2023-06-09T07:31:46.179" v="16895" actId="20577"/>
          <ac:graphicFrameMkLst>
            <pc:docMk/>
            <pc:sldMk cId="1760373903" sldId="2147469841"/>
            <ac:graphicFrameMk id="39" creationId="{D8C7AB8B-28B9-3A46-57B1-D9686F30BAEA}"/>
          </ac:graphicFrameMkLst>
        </pc:graphicFrameChg>
        <pc:graphicFrameChg chg="add del mod ord modGraphic">
          <ac:chgData name="Paul LEGEARD" userId="73b5704d-da1d-4b70-8e12-6d54d32b01a3" providerId="ADAL" clId="{20AD8B11-130C-4F68-9211-C0E7C90F8BEE}" dt="2023-06-09T09:15:19.280" v="19322" actId="18245"/>
          <ac:graphicFrameMkLst>
            <pc:docMk/>
            <pc:sldMk cId="1760373903" sldId="2147469841"/>
            <ac:graphicFrameMk id="44" creationId="{76631EF4-7DD6-3BB5-4783-05C7C8583E42}"/>
          </ac:graphicFrameMkLst>
        </pc:graphicFrameChg>
        <pc:picChg chg="add del mod">
          <ac:chgData name="Paul LEGEARD" userId="73b5704d-da1d-4b70-8e12-6d54d32b01a3" providerId="ADAL" clId="{20AD8B11-130C-4F68-9211-C0E7C90F8BEE}" dt="2023-06-09T09:01:11.841" v="18972" actId="478"/>
          <ac:picMkLst>
            <pc:docMk/>
            <pc:sldMk cId="1760373903" sldId="2147469841"/>
            <ac:picMk id="5" creationId="{A5C992AF-BB71-32CD-0E19-E727659A39D8}"/>
          </ac:picMkLst>
        </pc:picChg>
        <pc:picChg chg="add del mod ord">
          <ac:chgData name="Paul LEGEARD" userId="73b5704d-da1d-4b70-8e12-6d54d32b01a3" providerId="ADAL" clId="{20AD8B11-130C-4F68-9211-C0E7C90F8BEE}" dt="2023-06-09T09:16:38.732" v="19384" actId="478"/>
          <ac:picMkLst>
            <pc:docMk/>
            <pc:sldMk cId="1760373903" sldId="2147469841"/>
            <ac:picMk id="6" creationId="{9448F522-0DDA-688E-6C5F-74D37DB60CF6}"/>
          </ac:picMkLst>
        </pc:picChg>
        <pc:picChg chg="add mod">
          <ac:chgData name="Paul LEGEARD" userId="73b5704d-da1d-4b70-8e12-6d54d32b01a3" providerId="ADAL" clId="{20AD8B11-130C-4F68-9211-C0E7C90F8BEE}" dt="2023-06-09T09:16:28.440" v="19382" actId="1038"/>
          <ac:picMkLst>
            <pc:docMk/>
            <pc:sldMk cId="1760373903" sldId="2147469841"/>
            <ac:picMk id="11" creationId="{DEF63936-4D7F-57A1-C5DD-4630107E8DB0}"/>
          </ac:picMkLst>
        </pc:picChg>
        <pc:picChg chg="add mod">
          <ac:chgData name="Paul LEGEARD" userId="73b5704d-da1d-4b70-8e12-6d54d32b01a3" providerId="ADAL" clId="{20AD8B11-130C-4F68-9211-C0E7C90F8BEE}" dt="2023-06-09T09:16:28.440" v="19382" actId="1038"/>
          <ac:picMkLst>
            <pc:docMk/>
            <pc:sldMk cId="1760373903" sldId="2147469841"/>
            <ac:picMk id="23" creationId="{03314102-F6AA-2859-4BAD-89E1975AC338}"/>
          </ac:picMkLst>
        </pc:picChg>
        <pc:picChg chg="add mod">
          <ac:chgData name="Paul LEGEARD" userId="73b5704d-da1d-4b70-8e12-6d54d32b01a3" providerId="ADAL" clId="{20AD8B11-130C-4F68-9211-C0E7C90F8BEE}" dt="2023-06-09T09:16:28.440" v="19382" actId="1038"/>
          <ac:picMkLst>
            <pc:docMk/>
            <pc:sldMk cId="1760373903" sldId="2147469841"/>
            <ac:picMk id="26" creationId="{5FBFD3AA-057C-8FE8-BAD5-F3E5F42DD58B}"/>
          </ac:picMkLst>
        </pc:picChg>
        <pc:picChg chg="add mod">
          <ac:chgData name="Paul LEGEARD" userId="73b5704d-da1d-4b70-8e12-6d54d32b01a3" providerId="ADAL" clId="{20AD8B11-130C-4F68-9211-C0E7C90F8BEE}" dt="2023-06-08T11:25:15.739" v="2089" actId="554"/>
          <ac:picMkLst>
            <pc:docMk/>
            <pc:sldMk cId="1760373903" sldId="2147469841"/>
            <ac:picMk id="27" creationId="{C733ACDE-448C-173C-D092-3DF47AC5A911}"/>
          </ac:picMkLst>
        </pc:picChg>
        <pc:picChg chg="add mod ord">
          <ac:chgData name="Paul LEGEARD" userId="73b5704d-da1d-4b70-8e12-6d54d32b01a3" providerId="ADAL" clId="{20AD8B11-130C-4F68-9211-C0E7C90F8BEE}" dt="2023-06-08T11:27:25.298" v="2120" actId="166"/>
          <ac:picMkLst>
            <pc:docMk/>
            <pc:sldMk cId="1760373903" sldId="2147469841"/>
            <ac:picMk id="29" creationId="{FA6B84E7-AF47-CCA4-5722-C8B32A84A2E5}"/>
          </ac:picMkLst>
        </pc:picChg>
        <pc:picChg chg="add del mod">
          <ac:chgData name="Paul LEGEARD" userId="73b5704d-da1d-4b70-8e12-6d54d32b01a3" providerId="ADAL" clId="{20AD8B11-130C-4F68-9211-C0E7C90F8BEE}" dt="2023-06-08T11:32:43.402" v="2438" actId="478"/>
          <ac:picMkLst>
            <pc:docMk/>
            <pc:sldMk cId="1760373903" sldId="2147469841"/>
            <ac:picMk id="38" creationId="{9A577CFC-122B-140C-EE60-600C21A8E494}"/>
          </ac:picMkLst>
        </pc:picChg>
        <pc:picChg chg="add mod">
          <ac:chgData name="Paul LEGEARD" userId="73b5704d-da1d-4b70-8e12-6d54d32b01a3" providerId="ADAL" clId="{20AD8B11-130C-4F68-9211-C0E7C90F8BEE}" dt="2023-06-08T12:00:34.214" v="2466" actId="1035"/>
          <ac:picMkLst>
            <pc:docMk/>
            <pc:sldMk cId="1760373903" sldId="2147469841"/>
            <ac:picMk id="40" creationId="{C51D75F5-4DDE-F5F0-81E6-1DEFA34F31C0}"/>
          </ac:picMkLst>
        </pc:picChg>
        <pc:picChg chg="add mod">
          <ac:chgData name="Paul LEGEARD" userId="73b5704d-da1d-4b70-8e12-6d54d32b01a3" providerId="ADAL" clId="{20AD8B11-130C-4F68-9211-C0E7C90F8BEE}" dt="2023-06-08T12:00:34.214" v="2466" actId="1035"/>
          <ac:picMkLst>
            <pc:docMk/>
            <pc:sldMk cId="1760373903" sldId="2147469841"/>
            <ac:picMk id="41" creationId="{15D736C2-E729-D6BA-3B76-52062802A551}"/>
          </ac:picMkLst>
        </pc:picChg>
        <pc:picChg chg="add mod">
          <ac:chgData name="Paul LEGEARD" userId="73b5704d-da1d-4b70-8e12-6d54d32b01a3" providerId="ADAL" clId="{20AD8B11-130C-4F68-9211-C0E7C90F8BEE}" dt="2023-06-08T12:00:34.214" v="2466" actId="1035"/>
          <ac:picMkLst>
            <pc:docMk/>
            <pc:sldMk cId="1760373903" sldId="2147469841"/>
            <ac:picMk id="42" creationId="{347BBDBB-9955-8239-F42B-179B90FCE4B7}"/>
          </ac:picMkLst>
        </pc:picChg>
        <pc:picChg chg="add mod ord">
          <ac:chgData name="Paul LEGEARD" userId="73b5704d-da1d-4b70-8e12-6d54d32b01a3" providerId="ADAL" clId="{20AD8B11-130C-4F68-9211-C0E7C90F8BEE}" dt="2023-06-08T13:19:07.356" v="3873" actId="1076"/>
          <ac:picMkLst>
            <pc:docMk/>
            <pc:sldMk cId="1760373903" sldId="2147469841"/>
            <ac:picMk id="45" creationId="{53EF7CD6-A7C3-B9AF-B112-499F8ADBD17A}"/>
          </ac:picMkLst>
        </pc:picChg>
        <pc:picChg chg="add mod">
          <ac:chgData name="Paul LEGEARD" userId="73b5704d-da1d-4b70-8e12-6d54d32b01a3" providerId="ADAL" clId="{20AD8B11-130C-4F68-9211-C0E7C90F8BEE}" dt="2023-06-09T09:16:43.163" v="19389" actId="1035"/>
          <ac:picMkLst>
            <pc:docMk/>
            <pc:sldMk cId="1760373903" sldId="2147469841"/>
            <ac:picMk id="56" creationId="{1B7C0757-4572-180F-4404-895F3211022A}"/>
          </ac:picMkLst>
        </pc:picChg>
      </pc:sldChg>
      <pc:sldChg chg="add del">
        <pc:chgData name="Paul LEGEARD" userId="73b5704d-da1d-4b70-8e12-6d54d32b01a3" providerId="ADAL" clId="{20AD8B11-130C-4F68-9211-C0E7C90F8BEE}" dt="2023-06-08T13:32:37.288" v="4049" actId="2696"/>
        <pc:sldMkLst>
          <pc:docMk/>
          <pc:sldMk cId="12710396" sldId="2147469843"/>
        </pc:sldMkLst>
      </pc:sldChg>
      <pc:sldChg chg="add del ord modNotesTx">
        <pc:chgData name="Paul LEGEARD" userId="73b5704d-da1d-4b70-8e12-6d54d32b01a3" providerId="ADAL" clId="{20AD8B11-130C-4F68-9211-C0E7C90F8BEE}" dt="2023-06-09T09:54:06.473" v="21146" actId="47"/>
        <pc:sldMkLst>
          <pc:docMk/>
          <pc:sldMk cId="1748526257" sldId="2147469843"/>
        </pc:sldMkLst>
      </pc:sldChg>
      <pc:sldChg chg="add del">
        <pc:chgData name="Paul LEGEARD" userId="73b5704d-da1d-4b70-8e12-6d54d32b01a3" providerId="ADAL" clId="{20AD8B11-130C-4F68-9211-C0E7C90F8BEE}" dt="2023-06-08T14:28:32.843" v="8607" actId="47"/>
        <pc:sldMkLst>
          <pc:docMk/>
          <pc:sldMk cId="2148481625" sldId="2147469843"/>
        </pc:sldMkLst>
      </pc:sldChg>
      <pc:sldChg chg="delSp modSp add mod">
        <pc:chgData name="Paul LEGEARD" userId="73b5704d-da1d-4b70-8e12-6d54d32b01a3" providerId="ADAL" clId="{20AD8B11-130C-4F68-9211-C0E7C90F8BEE}" dt="2023-06-09T09:11:57.359" v="19242" actId="1076"/>
        <pc:sldMkLst>
          <pc:docMk/>
          <pc:sldMk cId="2262956167" sldId="2147469844"/>
        </pc:sldMkLst>
        <pc:spChg chg="del">
          <ac:chgData name="Paul LEGEARD" userId="73b5704d-da1d-4b70-8e12-6d54d32b01a3" providerId="ADAL" clId="{20AD8B11-130C-4F68-9211-C0E7C90F8BEE}" dt="2023-06-09T08:32:16.964" v="18815" actId="478"/>
          <ac:spMkLst>
            <pc:docMk/>
            <pc:sldMk cId="2262956167" sldId="2147469844"/>
            <ac:spMk id="3" creationId="{E07A262A-B7A1-3F9C-4BDC-B5EAA677F020}"/>
          </ac:spMkLst>
        </pc:spChg>
        <pc:spChg chg="mod">
          <ac:chgData name="Paul LEGEARD" userId="73b5704d-da1d-4b70-8e12-6d54d32b01a3" providerId="ADAL" clId="{20AD8B11-130C-4F68-9211-C0E7C90F8BEE}" dt="2023-06-09T08:32:29.903" v="18866" actId="20577"/>
          <ac:spMkLst>
            <pc:docMk/>
            <pc:sldMk cId="2262956167" sldId="2147469844"/>
            <ac:spMk id="4" creationId="{52AFB3F8-88A7-4D69-8A52-45D00774625C}"/>
          </ac:spMkLst>
        </pc:spChg>
        <pc:spChg chg="del">
          <ac:chgData name="Paul LEGEARD" userId="73b5704d-da1d-4b70-8e12-6d54d32b01a3" providerId="ADAL" clId="{20AD8B11-130C-4F68-9211-C0E7C90F8BEE}" dt="2023-06-09T08:32:16.325" v="18814" actId="478"/>
          <ac:spMkLst>
            <pc:docMk/>
            <pc:sldMk cId="2262956167" sldId="2147469844"/>
            <ac:spMk id="11" creationId="{36570248-188F-5A58-D713-64286703C66A}"/>
          </ac:spMkLst>
        </pc:spChg>
        <pc:graphicFrameChg chg="mod">
          <ac:chgData name="Paul LEGEARD" userId="73b5704d-da1d-4b70-8e12-6d54d32b01a3" providerId="ADAL" clId="{20AD8B11-130C-4F68-9211-C0E7C90F8BEE}" dt="2023-06-09T09:11:57.359" v="19242" actId="1076"/>
          <ac:graphicFrameMkLst>
            <pc:docMk/>
            <pc:sldMk cId="2262956167" sldId="2147469844"/>
            <ac:graphicFrameMk id="10" creationId="{C6B30C97-CBAA-3C98-4F2A-BAEF0F990C49}"/>
          </ac:graphicFrameMkLst>
        </pc:graphicFrameChg>
      </pc:sldChg>
      <pc:sldChg chg="modSp del mod ord">
        <pc:chgData name="Paul LEGEARD" userId="73b5704d-da1d-4b70-8e12-6d54d32b01a3" providerId="ADAL" clId="{20AD8B11-130C-4F68-9211-C0E7C90F8BEE}" dt="2023-06-08T13:07:25.298" v="2750" actId="47"/>
        <pc:sldMkLst>
          <pc:docMk/>
          <pc:sldMk cId="3084881790" sldId="2147469844"/>
        </pc:sldMkLst>
        <pc:graphicFrameChg chg="modGraphic">
          <ac:chgData name="Paul LEGEARD" userId="73b5704d-da1d-4b70-8e12-6d54d32b01a3" providerId="ADAL" clId="{20AD8B11-130C-4F68-9211-C0E7C90F8BEE}" dt="2023-06-08T11:31:49.192" v="2389" actId="14734"/>
          <ac:graphicFrameMkLst>
            <pc:docMk/>
            <pc:sldMk cId="3084881790" sldId="2147469844"/>
            <ac:graphicFrameMk id="10" creationId="{C6B30C97-CBAA-3C98-4F2A-BAEF0F990C49}"/>
          </ac:graphicFrameMkLst>
        </pc:graphicFrameChg>
      </pc:sldChg>
      <pc:sldChg chg="del">
        <pc:chgData name="Paul LEGEARD" userId="73b5704d-da1d-4b70-8e12-6d54d32b01a3" providerId="ADAL" clId="{20AD8B11-130C-4F68-9211-C0E7C90F8BEE}" dt="2023-06-08T14:29:23.813" v="8661" actId="47"/>
        <pc:sldMkLst>
          <pc:docMk/>
          <pc:sldMk cId="895213724" sldId="2147469845"/>
        </pc:sldMkLst>
      </pc:sldChg>
      <pc:sldChg chg="del">
        <pc:chgData name="Paul LEGEARD" userId="73b5704d-da1d-4b70-8e12-6d54d32b01a3" providerId="ADAL" clId="{20AD8B11-130C-4F68-9211-C0E7C90F8BEE}" dt="2023-06-08T14:08:41.126" v="6770" actId="2696"/>
        <pc:sldMkLst>
          <pc:docMk/>
          <pc:sldMk cId="97446653" sldId="2147469847"/>
        </pc:sldMkLst>
      </pc:sldChg>
      <pc:sldChg chg="add del">
        <pc:chgData name="Paul LEGEARD" userId="73b5704d-da1d-4b70-8e12-6d54d32b01a3" providerId="ADAL" clId="{20AD8B11-130C-4F68-9211-C0E7C90F8BEE}" dt="2023-06-08T14:28:20.848" v="8605" actId="47"/>
        <pc:sldMkLst>
          <pc:docMk/>
          <pc:sldMk cId="2125794644" sldId="2147469847"/>
        </pc:sldMkLst>
      </pc:sldChg>
      <pc:sldChg chg="del">
        <pc:chgData name="Paul LEGEARD" userId="73b5704d-da1d-4b70-8e12-6d54d32b01a3" providerId="ADAL" clId="{20AD8B11-130C-4F68-9211-C0E7C90F8BEE}" dt="2023-06-08T15:36:03.359" v="12358" actId="47"/>
        <pc:sldMkLst>
          <pc:docMk/>
          <pc:sldMk cId="2883938312" sldId="2147469849"/>
        </pc:sldMkLst>
      </pc:sldChg>
      <pc:sldChg chg="delSp del mod modCm">
        <pc:chgData name="Paul LEGEARD" userId="73b5704d-da1d-4b70-8e12-6d54d32b01a3" providerId="ADAL" clId="{20AD8B11-130C-4F68-9211-C0E7C90F8BEE}" dt="2023-06-08T15:36:03.359" v="12358" actId="47"/>
        <pc:sldMkLst>
          <pc:docMk/>
          <pc:sldMk cId="167709760" sldId="2147469854"/>
        </pc:sldMkLst>
        <pc:graphicFrameChg chg="del">
          <ac:chgData name="Paul LEGEARD" userId="73b5704d-da1d-4b70-8e12-6d54d32b01a3" providerId="ADAL" clId="{20AD8B11-130C-4F68-9211-C0E7C90F8BEE}" dt="2023-06-08T15:34:37.748" v="12238" actId="21"/>
          <ac:graphicFrameMkLst>
            <pc:docMk/>
            <pc:sldMk cId="167709760" sldId="2147469854"/>
            <ac:graphicFrameMk id="12" creationId="{D4948660-649F-503B-01D9-DF4449A5566C}"/>
          </ac:graphicFrameMkLst>
        </pc:graphicFrameChg>
      </pc:sldChg>
      <pc:sldChg chg="del">
        <pc:chgData name="Paul LEGEARD" userId="73b5704d-da1d-4b70-8e12-6d54d32b01a3" providerId="ADAL" clId="{20AD8B11-130C-4F68-9211-C0E7C90F8BEE}" dt="2023-06-08T15:36:03.359" v="12358" actId="47"/>
        <pc:sldMkLst>
          <pc:docMk/>
          <pc:sldMk cId="580911753" sldId="2147469860"/>
        </pc:sldMkLst>
      </pc:sldChg>
      <pc:sldChg chg="del">
        <pc:chgData name="Paul LEGEARD" userId="73b5704d-da1d-4b70-8e12-6d54d32b01a3" providerId="ADAL" clId="{20AD8B11-130C-4F68-9211-C0E7C90F8BEE}" dt="2023-06-08T13:31:41.484" v="3948" actId="2696"/>
        <pc:sldMkLst>
          <pc:docMk/>
          <pc:sldMk cId="2468326204" sldId="2147469863"/>
        </pc:sldMkLst>
      </pc:sldChg>
      <pc:sldChg chg="add del ord">
        <pc:chgData name="Paul LEGEARD" userId="73b5704d-da1d-4b70-8e12-6d54d32b01a3" providerId="ADAL" clId="{20AD8B11-130C-4F68-9211-C0E7C90F8BEE}" dt="2023-06-08T15:14:05.760" v="10460" actId="47"/>
        <pc:sldMkLst>
          <pc:docMk/>
          <pc:sldMk cId="2526758495" sldId="2147469863"/>
        </pc:sldMkLst>
      </pc:sldChg>
      <pc:sldChg chg="del">
        <pc:chgData name="Paul LEGEARD" userId="73b5704d-da1d-4b70-8e12-6d54d32b01a3" providerId="ADAL" clId="{20AD8B11-130C-4F68-9211-C0E7C90F8BEE}" dt="2023-06-08T15:36:03.359" v="12358" actId="47"/>
        <pc:sldMkLst>
          <pc:docMk/>
          <pc:sldMk cId="337012790" sldId="2147469872"/>
        </pc:sldMkLst>
      </pc:sldChg>
      <pc:sldChg chg="del">
        <pc:chgData name="Paul LEGEARD" userId="73b5704d-da1d-4b70-8e12-6d54d32b01a3" providerId="ADAL" clId="{20AD8B11-130C-4F68-9211-C0E7C90F8BEE}" dt="2023-06-08T14:33:34.852" v="9023" actId="47"/>
        <pc:sldMkLst>
          <pc:docMk/>
          <pc:sldMk cId="2279472351" sldId="2147469873"/>
        </pc:sldMkLst>
      </pc:sldChg>
      <pc:sldChg chg="addSp delSp modSp del mod ord modNotesTx">
        <pc:chgData name="Paul LEGEARD" userId="73b5704d-da1d-4b70-8e12-6d54d32b01a3" providerId="ADAL" clId="{20AD8B11-130C-4F68-9211-C0E7C90F8BEE}" dt="2023-06-20T14:27:17.979" v="29893" actId="47"/>
        <pc:sldMkLst>
          <pc:docMk/>
          <pc:sldMk cId="3151543047" sldId="2147469874"/>
        </pc:sldMkLst>
        <pc:spChg chg="add mod">
          <ac:chgData name="Paul LEGEARD" userId="73b5704d-da1d-4b70-8e12-6d54d32b01a3" providerId="ADAL" clId="{20AD8B11-130C-4F68-9211-C0E7C90F8BEE}" dt="2023-06-09T07:29:10.564" v="16889" actId="6549"/>
          <ac:spMkLst>
            <pc:docMk/>
            <pc:sldMk cId="3151543047" sldId="2147469874"/>
            <ac:spMk id="2" creationId="{77D8A34C-AD0F-07D1-D97B-F999B0AA6E95}"/>
          </ac:spMkLst>
        </pc:spChg>
        <pc:spChg chg="add mod">
          <ac:chgData name="Paul LEGEARD" userId="73b5704d-da1d-4b70-8e12-6d54d32b01a3" providerId="ADAL" clId="{20AD8B11-130C-4F68-9211-C0E7C90F8BEE}" dt="2023-06-09T07:27:15.557" v="16787" actId="14100"/>
          <ac:spMkLst>
            <pc:docMk/>
            <pc:sldMk cId="3151543047" sldId="2147469874"/>
            <ac:spMk id="3" creationId="{93ADA718-20E5-764D-8AF3-50F634388ECF}"/>
          </ac:spMkLst>
        </pc:spChg>
        <pc:spChg chg="add mod">
          <ac:chgData name="Paul LEGEARD" userId="73b5704d-da1d-4b70-8e12-6d54d32b01a3" providerId="ADAL" clId="{20AD8B11-130C-4F68-9211-C0E7C90F8BEE}" dt="2023-06-09T07:27:21.277" v="16821" actId="1037"/>
          <ac:spMkLst>
            <pc:docMk/>
            <pc:sldMk cId="3151543047" sldId="2147469874"/>
            <ac:spMk id="8" creationId="{89A39007-AA4F-6FC0-0F67-B3034C4AA797}"/>
          </ac:spMkLst>
        </pc:spChg>
        <pc:spChg chg="add mod">
          <ac:chgData name="Paul LEGEARD" userId="73b5704d-da1d-4b70-8e12-6d54d32b01a3" providerId="ADAL" clId="{20AD8B11-130C-4F68-9211-C0E7C90F8BEE}" dt="2023-06-09T07:27:21.277" v="16821" actId="1037"/>
          <ac:spMkLst>
            <pc:docMk/>
            <pc:sldMk cId="3151543047" sldId="2147469874"/>
            <ac:spMk id="9" creationId="{79FE0BDF-92F0-FA56-674C-620E9842114E}"/>
          </ac:spMkLst>
        </pc:spChg>
        <pc:spChg chg="mod">
          <ac:chgData name="Paul LEGEARD" userId="73b5704d-da1d-4b70-8e12-6d54d32b01a3" providerId="ADAL" clId="{20AD8B11-130C-4F68-9211-C0E7C90F8BEE}" dt="2023-06-08T11:09:33.671" v="1177" actId="21"/>
          <ac:spMkLst>
            <pc:docMk/>
            <pc:sldMk cId="3151543047" sldId="2147469874"/>
            <ac:spMk id="10" creationId="{8358D74C-4804-E26A-A663-A72EC1B44D29}"/>
          </ac:spMkLst>
        </pc:spChg>
        <pc:spChg chg="add mod">
          <ac:chgData name="Paul LEGEARD" userId="73b5704d-da1d-4b70-8e12-6d54d32b01a3" providerId="ADAL" clId="{20AD8B11-130C-4F68-9211-C0E7C90F8BEE}" dt="2023-06-09T07:27:21.277" v="16821" actId="1037"/>
          <ac:spMkLst>
            <pc:docMk/>
            <pc:sldMk cId="3151543047" sldId="2147469874"/>
            <ac:spMk id="11" creationId="{5BFAC0C4-83B5-EB20-E7B6-69B27EFFF4E1}"/>
          </ac:spMkLst>
        </pc:spChg>
        <pc:spChg chg="add mod">
          <ac:chgData name="Paul LEGEARD" userId="73b5704d-da1d-4b70-8e12-6d54d32b01a3" providerId="ADAL" clId="{20AD8B11-130C-4F68-9211-C0E7C90F8BEE}" dt="2023-06-09T07:28:43.546" v="16845" actId="1038"/>
          <ac:spMkLst>
            <pc:docMk/>
            <pc:sldMk cId="3151543047" sldId="2147469874"/>
            <ac:spMk id="12" creationId="{FAAAE5D1-9B14-B7C3-6A45-9630B880FB83}"/>
          </ac:spMkLst>
        </pc:spChg>
        <pc:spChg chg="add mod">
          <ac:chgData name="Paul LEGEARD" userId="73b5704d-da1d-4b70-8e12-6d54d32b01a3" providerId="ADAL" clId="{20AD8B11-130C-4F68-9211-C0E7C90F8BEE}" dt="2023-06-09T07:27:21.277" v="16821" actId="1037"/>
          <ac:spMkLst>
            <pc:docMk/>
            <pc:sldMk cId="3151543047" sldId="2147469874"/>
            <ac:spMk id="13" creationId="{22B4A8D4-5B45-3F3B-0898-5A7EB701E926}"/>
          </ac:spMkLst>
        </pc:spChg>
        <pc:spChg chg="add mod">
          <ac:chgData name="Paul LEGEARD" userId="73b5704d-da1d-4b70-8e12-6d54d32b01a3" providerId="ADAL" clId="{20AD8B11-130C-4F68-9211-C0E7C90F8BEE}" dt="2023-06-09T07:27:21.277" v="16821" actId="1037"/>
          <ac:spMkLst>
            <pc:docMk/>
            <pc:sldMk cId="3151543047" sldId="2147469874"/>
            <ac:spMk id="14" creationId="{735D8BF5-081F-A15C-64E3-6298482CFF16}"/>
          </ac:spMkLst>
        </pc:spChg>
        <pc:spChg chg="mod">
          <ac:chgData name="Paul LEGEARD" userId="73b5704d-da1d-4b70-8e12-6d54d32b01a3" providerId="ADAL" clId="{20AD8B11-130C-4F68-9211-C0E7C90F8BEE}" dt="2023-06-09T07:22:20.624" v="16592" actId="1036"/>
          <ac:spMkLst>
            <pc:docMk/>
            <pc:sldMk cId="3151543047" sldId="2147469874"/>
            <ac:spMk id="16" creationId="{CD4FA003-12D1-CCAE-E5C9-8D5DA0116B40}"/>
          </ac:spMkLst>
        </pc:spChg>
        <pc:spChg chg="add mod">
          <ac:chgData name="Paul LEGEARD" userId="73b5704d-da1d-4b70-8e12-6d54d32b01a3" providerId="ADAL" clId="{20AD8B11-130C-4F68-9211-C0E7C90F8BEE}" dt="2023-06-09T07:27:21.277" v="16821" actId="1037"/>
          <ac:spMkLst>
            <pc:docMk/>
            <pc:sldMk cId="3151543047" sldId="2147469874"/>
            <ac:spMk id="18" creationId="{3409023F-AB03-FFB5-8002-3ABF83C8F8CC}"/>
          </ac:spMkLst>
        </pc:spChg>
        <pc:spChg chg="add mod">
          <ac:chgData name="Paul LEGEARD" userId="73b5704d-da1d-4b70-8e12-6d54d32b01a3" providerId="ADAL" clId="{20AD8B11-130C-4F68-9211-C0E7C90F8BEE}" dt="2023-06-09T07:27:21.277" v="16821" actId="1037"/>
          <ac:spMkLst>
            <pc:docMk/>
            <pc:sldMk cId="3151543047" sldId="2147469874"/>
            <ac:spMk id="19" creationId="{97015374-9970-5BF3-6BCD-E181360AD568}"/>
          </ac:spMkLst>
        </pc:spChg>
        <pc:spChg chg="add mod">
          <ac:chgData name="Paul LEGEARD" userId="73b5704d-da1d-4b70-8e12-6d54d32b01a3" providerId="ADAL" clId="{20AD8B11-130C-4F68-9211-C0E7C90F8BEE}" dt="2023-06-09T07:27:21.277" v="16821" actId="1037"/>
          <ac:spMkLst>
            <pc:docMk/>
            <pc:sldMk cId="3151543047" sldId="2147469874"/>
            <ac:spMk id="20" creationId="{91D53948-801D-74B6-CD82-2D563A3466B2}"/>
          </ac:spMkLst>
        </pc:spChg>
        <pc:spChg chg="add mod">
          <ac:chgData name="Paul LEGEARD" userId="73b5704d-da1d-4b70-8e12-6d54d32b01a3" providerId="ADAL" clId="{20AD8B11-130C-4F68-9211-C0E7C90F8BEE}" dt="2023-06-09T07:27:21.277" v="16821" actId="1037"/>
          <ac:spMkLst>
            <pc:docMk/>
            <pc:sldMk cId="3151543047" sldId="2147469874"/>
            <ac:spMk id="21" creationId="{84606F47-6D61-1558-165C-700FA2062777}"/>
          </ac:spMkLst>
        </pc:spChg>
        <pc:spChg chg="add del mod">
          <ac:chgData name="Paul LEGEARD" userId="73b5704d-da1d-4b70-8e12-6d54d32b01a3" providerId="ADAL" clId="{20AD8B11-130C-4F68-9211-C0E7C90F8BEE}" dt="2023-06-08T08:58:25.209" v="479"/>
          <ac:spMkLst>
            <pc:docMk/>
            <pc:sldMk cId="3151543047" sldId="2147469874"/>
            <ac:spMk id="22" creationId="{550C754F-76EB-31F4-E066-6FBAD2F1950B}"/>
          </ac:spMkLst>
        </pc:spChg>
        <pc:spChg chg="add mod">
          <ac:chgData name="Paul LEGEARD" userId="73b5704d-da1d-4b70-8e12-6d54d32b01a3" providerId="ADAL" clId="{20AD8B11-130C-4F68-9211-C0E7C90F8BEE}" dt="2023-06-09T07:27:25.446" v="16822" actId="14100"/>
          <ac:spMkLst>
            <pc:docMk/>
            <pc:sldMk cId="3151543047" sldId="2147469874"/>
            <ac:spMk id="23" creationId="{990C8C2F-A3A2-5843-757A-B2C0933946F9}"/>
          </ac:spMkLst>
        </pc:spChg>
        <pc:spChg chg="add mod">
          <ac:chgData name="Paul LEGEARD" userId="73b5704d-da1d-4b70-8e12-6d54d32b01a3" providerId="ADAL" clId="{20AD8B11-130C-4F68-9211-C0E7C90F8BEE}" dt="2023-06-09T07:27:21.277" v="16821" actId="1037"/>
          <ac:spMkLst>
            <pc:docMk/>
            <pc:sldMk cId="3151543047" sldId="2147469874"/>
            <ac:spMk id="24" creationId="{496AD641-58AF-92CA-334F-20A67958625F}"/>
          </ac:spMkLst>
        </pc:spChg>
        <pc:spChg chg="add mod">
          <ac:chgData name="Paul LEGEARD" userId="73b5704d-da1d-4b70-8e12-6d54d32b01a3" providerId="ADAL" clId="{20AD8B11-130C-4F68-9211-C0E7C90F8BEE}" dt="2023-06-09T07:22:17.447" v="16589" actId="1036"/>
          <ac:spMkLst>
            <pc:docMk/>
            <pc:sldMk cId="3151543047" sldId="2147469874"/>
            <ac:spMk id="25" creationId="{8E42CE21-BE9F-86F7-07C0-337C01E2660D}"/>
          </ac:spMkLst>
        </pc:spChg>
        <pc:spChg chg="add mod">
          <ac:chgData name="Paul LEGEARD" userId="73b5704d-da1d-4b70-8e12-6d54d32b01a3" providerId="ADAL" clId="{20AD8B11-130C-4F68-9211-C0E7C90F8BEE}" dt="2023-06-08T11:05:08.129" v="1074" actId="164"/>
          <ac:spMkLst>
            <pc:docMk/>
            <pc:sldMk cId="3151543047" sldId="2147469874"/>
            <ac:spMk id="26" creationId="{6B9F99E1-8F4F-4A90-7EEB-928B43CB7B98}"/>
          </ac:spMkLst>
        </pc:spChg>
        <pc:spChg chg="add mod">
          <ac:chgData name="Paul LEGEARD" userId="73b5704d-da1d-4b70-8e12-6d54d32b01a3" providerId="ADAL" clId="{20AD8B11-130C-4F68-9211-C0E7C90F8BEE}" dt="2023-06-08T11:05:08.129" v="1074" actId="164"/>
          <ac:spMkLst>
            <pc:docMk/>
            <pc:sldMk cId="3151543047" sldId="2147469874"/>
            <ac:spMk id="27" creationId="{52B81D13-94CD-845D-39B6-0C4A928FF4F7}"/>
          </ac:spMkLst>
        </pc:spChg>
        <pc:spChg chg="add mod">
          <ac:chgData name="Paul LEGEARD" userId="73b5704d-da1d-4b70-8e12-6d54d32b01a3" providerId="ADAL" clId="{20AD8B11-130C-4F68-9211-C0E7C90F8BEE}" dt="2023-06-08T11:05:08.129" v="1074" actId="164"/>
          <ac:spMkLst>
            <pc:docMk/>
            <pc:sldMk cId="3151543047" sldId="2147469874"/>
            <ac:spMk id="28" creationId="{D798BAD1-1231-8B4F-4DA9-FECED766B9C3}"/>
          </ac:spMkLst>
        </pc:spChg>
        <pc:spChg chg="add mod">
          <ac:chgData name="Paul LEGEARD" userId="73b5704d-da1d-4b70-8e12-6d54d32b01a3" providerId="ADAL" clId="{20AD8B11-130C-4F68-9211-C0E7C90F8BEE}" dt="2023-06-08T11:05:14.830" v="1075" actId="164"/>
          <ac:spMkLst>
            <pc:docMk/>
            <pc:sldMk cId="3151543047" sldId="2147469874"/>
            <ac:spMk id="29" creationId="{48310D71-A536-4D4F-7F28-311EC8E6AF3C}"/>
          </ac:spMkLst>
        </pc:spChg>
        <pc:spChg chg="add mod">
          <ac:chgData name="Paul LEGEARD" userId="73b5704d-da1d-4b70-8e12-6d54d32b01a3" providerId="ADAL" clId="{20AD8B11-130C-4F68-9211-C0E7C90F8BEE}" dt="2023-06-08T11:05:14.830" v="1075" actId="164"/>
          <ac:spMkLst>
            <pc:docMk/>
            <pc:sldMk cId="3151543047" sldId="2147469874"/>
            <ac:spMk id="30" creationId="{7CB90DB8-04A7-6D72-A56A-92CB9835A220}"/>
          </ac:spMkLst>
        </pc:spChg>
        <pc:spChg chg="add mod">
          <ac:chgData name="Paul LEGEARD" userId="73b5704d-da1d-4b70-8e12-6d54d32b01a3" providerId="ADAL" clId="{20AD8B11-130C-4F68-9211-C0E7C90F8BEE}" dt="2023-06-08T11:05:14.830" v="1075" actId="164"/>
          <ac:spMkLst>
            <pc:docMk/>
            <pc:sldMk cId="3151543047" sldId="2147469874"/>
            <ac:spMk id="31" creationId="{D8296725-297B-A37A-AE54-FE1F74B9A4F6}"/>
          </ac:spMkLst>
        </pc:spChg>
        <pc:spChg chg="add del mod">
          <ac:chgData name="Paul LEGEARD" userId="73b5704d-da1d-4b70-8e12-6d54d32b01a3" providerId="ADAL" clId="{20AD8B11-130C-4F68-9211-C0E7C90F8BEE}" dt="2023-06-08T11:04:05.386" v="971"/>
          <ac:spMkLst>
            <pc:docMk/>
            <pc:sldMk cId="3151543047" sldId="2147469874"/>
            <ac:spMk id="32" creationId="{1071ECF5-42DF-F655-19F1-DF034E52F02B}"/>
          </ac:spMkLst>
        </pc:spChg>
        <pc:spChg chg="add mod">
          <ac:chgData name="Paul LEGEARD" userId="73b5704d-da1d-4b70-8e12-6d54d32b01a3" providerId="ADAL" clId="{20AD8B11-130C-4F68-9211-C0E7C90F8BEE}" dt="2023-06-09T09:05:11.966" v="19053" actId="1036"/>
          <ac:spMkLst>
            <pc:docMk/>
            <pc:sldMk cId="3151543047" sldId="2147469874"/>
            <ac:spMk id="33" creationId="{85F16104-257D-AD36-B7EE-9B79787C7377}"/>
          </ac:spMkLst>
        </pc:spChg>
        <pc:spChg chg="add mod">
          <ac:chgData name="Paul LEGEARD" userId="73b5704d-da1d-4b70-8e12-6d54d32b01a3" providerId="ADAL" clId="{20AD8B11-130C-4F68-9211-C0E7C90F8BEE}" dt="2023-06-08T11:05:19.260" v="1076" actId="164"/>
          <ac:spMkLst>
            <pc:docMk/>
            <pc:sldMk cId="3151543047" sldId="2147469874"/>
            <ac:spMk id="34" creationId="{4CFAB4C8-4169-8FCF-05A8-7D8F0DF009CA}"/>
          </ac:spMkLst>
        </pc:spChg>
        <pc:spChg chg="add mod">
          <ac:chgData name="Paul LEGEARD" userId="73b5704d-da1d-4b70-8e12-6d54d32b01a3" providerId="ADAL" clId="{20AD8B11-130C-4F68-9211-C0E7C90F8BEE}" dt="2023-06-08T11:05:19.260" v="1076" actId="164"/>
          <ac:spMkLst>
            <pc:docMk/>
            <pc:sldMk cId="3151543047" sldId="2147469874"/>
            <ac:spMk id="35" creationId="{CEAA9E52-D54C-8980-6F1B-2F68A2BFE491}"/>
          </ac:spMkLst>
        </pc:spChg>
        <pc:spChg chg="add mod">
          <ac:chgData name="Paul LEGEARD" userId="73b5704d-da1d-4b70-8e12-6d54d32b01a3" providerId="ADAL" clId="{20AD8B11-130C-4F68-9211-C0E7C90F8BEE}" dt="2023-06-08T11:05:19.260" v="1076" actId="164"/>
          <ac:spMkLst>
            <pc:docMk/>
            <pc:sldMk cId="3151543047" sldId="2147469874"/>
            <ac:spMk id="36" creationId="{8936E0AF-A753-16C1-1F81-E51E3DD9224C}"/>
          </ac:spMkLst>
        </pc:spChg>
        <pc:spChg chg="add mod">
          <ac:chgData name="Paul LEGEARD" userId="73b5704d-da1d-4b70-8e12-6d54d32b01a3" providerId="ADAL" clId="{20AD8B11-130C-4F68-9211-C0E7C90F8BEE}" dt="2023-06-09T08:13:04.876" v="18073" actId="1036"/>
          <ac:spMkLst>
            <pc:docMk/>
            <pc:sldMk cId="3151543047" sldId="2147469874"/>
            <ac:spMk id="37" creationId="{3F70C861-F714-009B-5A8C-A6F7C205C3A9}"/>
          </ac:spMkLst>
        </pc:spChg>
        <pc:spChg chg="add mod">
          <ac:chgData name="Paul LEGEARD" userId="73b5704d-da1d-4b70-8e12-6d54d32b01a3" providerId="ADAL" clId="{20AD8B11-130C-4F68-9211-C0E7C90F8BEE}" dt="2023-06-09T09:05:38.721" v="19076" actId="1076"/>
          <ac:spMkLst>
            <pc:docMk/>
            <pc:sldMk cId="3151543047" sldId="2147469874"/>
            <ac:spMk id="44" creationId="{1E967DCB-2265-DED1-D06E-07AA0A8410ED}"/>
          </ac:spMkLst>
        </pc:spChg>
        <pc:spChg chg="add mod">
          <ac:chgData name="Paul LEGEARD" userId="73b5704d-da1d-4b70-8e12-6d54d32b01a3" providerId="ADAL" clId="{20AD8B11-130C-4F68-9211-C0E7C90F8BEE}" dt="2023-06-09T09:05:51.880" v="19090" actId="20577"/>
          <ac:spMkLst>
            <pc:docMk/>
            <pc:sldMk cId="3151543047" sldId="2147469874"/>
            <ac:spMk id="46" creationId="{88C46F7B-C672-AF60-E15F-9473C2202D09}"/>
          </ac:spMkLst>
        </pc:spChg>
        <pc:spChg chg="add mod">
          <ac:chgData name="Paul LEGEARD" userId="73b5704d-da1d-4b70-8e12-6d54d32b01a3" providerId="ADAL" clId="{20AD8B11-130C-4F68-9211-C0E7C90F8BEE}" dt="2023-06-09T09:58:15.489" v="21414" actId="1076"/>
          <ac:spMkLst>
            <pc:docMk/>
            <pc:sldMk cId="3151543047" sldId="2147469874"/>
            <ac:spMk id="47" creationId="{FFAFD1BF-14D3-78AD-FE1D-0C7475C874A5}"/>
          </ac:spMkLst>
        </pc:spChg>
        <pc:spChg chg="add del mod">
          <ac:chgData name="Paul LEGEARD" userId="73b5704d-da1d-4b70-8e12-6d54d32b01a3" providerId="ADAL" clId="{20AD8B11-130C-4F68-9211-C0E7C90F8BEE}" dt="2023-06-09T09:58:17.082" v="21416"/>
          <ac:spMkLst>
            <pc:docMk/>
            <pc:sldMk cId="3151543047" sldId="2147469874"/>
            <ac:spMk id="48" creationId="{08871791-932D-B115-A026-8E0EF9DD8A4E}"/>
          </ac:spMkLst>
        </pc:spChg>
        <pc:spChg chg="add mod">
          <ac:chgData name="Paul LEGEARD" userId="73b5704d-da1d-4b70-8e12-6d54d32b01a3" providerId="ADAL" clId="{20AD8B11-130C-4F68-9211-C0E7C90F8BEE}" dt="2023-06-09T09:58:22.812" v="21420" actId="20577"/>
          <ac:spMkLst>
            <pc:docMk/>
            <pc:sldMk cId="3151543047" sldId="2147469874"/>
            <ac:spMk id="49" creationId="{8269E17D-FF9D-FA53-15C1-6A48879F0E93}"/>
          </ac:spMkLst>
        </pc:spChg>
        <pc:spChg chg="add del mod">
          <ac:chgData name="Paul LEGEARD" userId="73b5704d-da1d-4b70-8e12-6d54d32b01a3" providerId="ADAL" clId="{20AD8B11-130C-4F68-9211-C0E7C90F8BEE}" dt="2023-06-09T09:58:26.228" v="21422" actId="478"/>
          <ac:spMkLst>
            <pc:docMk/>
            <pc:sldMk cId="3151543047" sldId="2147469874"/>
            <ac:spMk id="50" creationId="{EB05A8C8-2258-A8F0-4565-15F8BF92491D}"/>
          </ac:spMkLst>
        </pc:spChg>
        <pc:spChg chg="mod">
          <ac:chgData name="Paul LEGEARD" userId="73b5704d-da1d-4b70-8e12-6d54d32b01a3" providerId="ADAL" clId="{20AD8B11-130C-4F68-9211-C0E7C90F8BEE}" dt="2023-06-08T08:49:47.891" v="131" actId="14100"/>
          <ac:spMkLst>
            <pc:docMk/>
            <pc:sldMk cId="3151543047" sldId="2147469874"/>
            <ac:spMk id="79" creationId="{9007893F-DE3F-4277-8B72-135CF4773651}"/>
          </ac:spMkLst>
        </pc:spChg>
        <pc:spChg chg="del">
          <ac:chgData name="Paul LEGEARD" userId="73b5704d-da1d-4b70-8e12-6d54d32b01a3" providerId="ADAL" clId="{20AD8B11-130C-4F68-9211-C0E7C90F8BEE}" dt="2023-06-08T08:50:37.509" v="139" actId="478"/>
          <ac:spMkLst>
            <pc:docMk/>
            <pc:sldMk cId="3151543047" sldId="2147469874"/>
            <ac:spMk id="122" creationId="{4348A7B7-4222-6ED8-8891-854942BBADC4}"/>
          </ac:spMkLst>
        </pc:spChg>
        <pc:spChg chg="del">
          <ac:chgData name="Paul LEGEARD" userId="73b5704d-da1d-4b70-8e12-6d54d32b01a3" providerId="ADAL" clId="{20AD8B11-130C-4F68-9211-C0E7C90F8BEE}" dt="2023-06-08T08:50:37.509" v="139" actId="478"/>
          <ac:spMkLst>
            <pc:docMk/>
            <pc:sldMk cId="3151543047" sldId="2147469874"/>
            <ac:spMk id="123" creationId="{8E9B3292-349A-82A7-5138-2C3728C77E5E}"/>
          </ac:spMkLst>
        </pc:spChg>
        <pc:spChg chg="del">
          <ac:chgData name="Paul LEGEARD" userId="73b5704d-da1d-4b70-8e12-6d54d32b01a3" providerId="ADAL" clId="{20AD8B11-130C-4F68-9211-C0E7C90F8BEE}" dt="2023-06-08T08:50:37.509" v="139" actId="478"/>
          <ac:spMkLst>
            <pc:docMk/>
            <pc:sldMk cId="3151543047" sldId="2147469874"/>
            <ac:spMk id="128" creationId="{5578AF89-95F6-C1E9-E3E3-51D64DB169DB}"/>
          </ac:spMkLst>
        </pc:spChg>
        <pc:spChg chg="del">
          <ac:chgData name="Paul LEGEARD" userId="73b5704d-da1d-4b70-8e12-6d54d32b01a3" providerId="ADAL" clId="{20AD8B11-130C-4F68-9211-C0E7C90F8BEE}" dt="2023-06-08T08:50:37.509" v="139" actId="478"/>
          <ac:spMkLst>
            <pc:docMk/>
            <pc:sldMk cId="3151543047" sldId="2147469874"/>
            <ac:spMk id="129" creationId="{C469909C-3692-6B4A-963A-5D3E9A41390C}"/>
          </ac:spMkLst>
        </pc:spChg>
        <pc:spChg chg="mod">
          <ac:chgData name="Paul LEGEARD" userId="73b5704d-da1d-4b70-8e12-6d54d32b01a3" providerId="ADAL" clId="{20AD8B11-130C-4F68-9211-C0E7C90F8BEE}" dt="2023-06-09T07:22:20.624" v="16592" actId="1036"/>
          <ac:spMkLst>
            <pc:docMk/>
            <pc:sldMk cId="3151543047" sldId="2147469874"/>
            <ac:spMk id="130" creationId="{7A03EAB2-5095-8D56-B52D-F776F03E726E}"/>
          </ac:spMkLst>
        </pc:spChg>
        <pc:spChg chg="mod">
          <ac:chgData name="Paul LEGEARD" userId="73b5704d-da1d-4b70-8e12-6d54d32b01a3" providerId="ADAL" clId="{20AD8B11-130C-4F68-9211-C0E7C90F8BEE}" dt="2023-06-09T09:05:20.397" v="19058" actId="14100"/>
          <ac:spMkLst>
            <pc:docMk/>
            <pc:sldMk cId="3151543047" sldId="2147469874"/>
            <ac:spMk id="132" creationId="{0E5EF14A-AD9A-55F3-9388-667CCB1AEF21}"/>
          </ac:spMkLst>
        </pc:spChg>
        <pc:spChg chg="mod">
          <ac:chgData name="Paul LEGEARD" userId="73b5704d-da1d-4b70-8e12-6d54d32b01a3" providerId="ADAL" clId="{20AD8B11-130C-4F68-9211-C0E7C90F8BEE}" dt="2023-06-09T09:05:18.123" v="19057" actId="1076"/>
          <ac:spMkLst>
            <pc:docMk/>
            <pc:sldMk cId="3151543047" sldId="2147469874"/>
            <ac:spMk id="135" creationId="{2E970DC8-90F1-FFE3-06E3-1B9D5C172430}"/>
          </ac:spMkLst>
        </pc:spChg>
        <pc:spChg chg="del">
          <ac:chgData name="Paul LEGEARD" userId="73b5704d-da1d-4b70-8e12-6d54d32b01a3" providerId="ADAL" clId="{20AD8B11-130C-4F68-9211-C0E7C90F8BEE}" dt="2023-06-08T09:01:13.830" v="713" actId="478"/>
          <ac:spMkLst>
            <pc:docMk/>
            <pc:sldMk cId="3151543047" sldId="2147469874"/>
            <ac:spMk id="144" creationId="{9C2FA239-682A-D155-4715-76D132EC8731}"/>
          </ac:spMkLst>
        </pc:spChg>
        <pc:spChg chg="del">
          <ac:chgData name="Paul LEGEARD" userId="73b5704d-da1d-4b70-8e12-6d54d32b01a3" providerId="ADAL" clId="{20AD8B11-130C-4F68-9211-C0E7C90F8BEE}" dt="2023-06-08T09:01:13.830" v="713" actId="478"/>
          <ac:spMkLst>
            <pc:docMk/>
            <pc:sldMk cId="3151543047" sldId="2147469874"/>
            <ac:spMk id="145" creationId="{0D355ED4-4F14-AD25-21F2-235D1D52DE19}"/>
          </ac:spMkLst>
        </pc:spChg>
        <pc:spChg chg="del">
          <ac:chgData name="Paul LEGEARD" userId="73b5704d-da1d-4b70-8e12-6d54d32b01a3" providerId="ADAL" clId="{20AD8B11-130C-4F68-9211-C0E7C90F8BEE}" dt="2023-06-08T09:01:13.830" v="713" actId="478"/>
          <ac:spMkLst>
            <pc:docMk/>
            <pc:sldMk cId="3151543047" sldId="2147469874"/>
            <ac:spMk id="146" creationId="{9101ED89-6787-2AFB-E0E7-C2870532620F}"/>
          </ac:spMkLst>
        </pc:spChg>
        <pc:spChg chg="del">
          <ac:chgData name="Paul LEGEARD" userId="73b5704d-da1d-4b70-8e12-6d54d32b01a3" providerId="ADAL" clId="{20AD8B11-130C-4F68-9211-C0E7C90F8BEE}" dt="2023-06-08T09:01:13.830" v="713" actId="478"/>
          <ac:spMkLst>
            <pc:docMk/>
            <pc:sldMk cId="3151543047" sldId="2147469874"/>
            <ac:spMk id="150" creationId="{837C3C24-9321-EEE6-59E6-929C13864DE9}"/>
          </ac:spMkLst>
        </pc:spChg>
        <pc:spChg chg="del">
          <ac:chgData name="Paul LEGEARD" userId="73b5704d-da1d-4b70-8e12-6d54d32b01a3" providerId="ADAL" clId="{20AD8B11-130C-4F68-9211-C0E7C90F8BEE}" dt="2023-06-08T09:01:13.830" v="713" actId="478"/>
          <ac:spMkLst>
            <pc:docMk/>
            <pc:sldMk cId="3151543047" sldId="2147469874"/>
            <ac:spMk id="151" creationId="{C2F24A3B-1A44-D3B5-60E7-F6776EEAE402}"/>
          </ac:spMkLst>
        </pc:spChg>
        <pc:spChg chg="del">
          <ac:chgData name="Paul LEGEARD" userId="73b5704d-da1d-4b70-8e12-6d54d32b01a3" providerId="ADAL" clId="{20AD8B11-130C-4F68-9211-C0E7C90F8BEE}" dt="2023-06-08T09:01:13.830" v="713" actId="478"/>
          <ac:spMkLst>
            <pc:docMk/>
            <pc:sldMk cId="3151543047" sldId="2147469874"/>
            <ac:spMk id="152" creationId="{AC7C8715-E157-E49E-FFA8-39949E4EEFC8}"/>
          </ac:spMkLst>
        </pc:spChg>
        <pc:spChg chg="mod">
          <ac:chgData name="Paul LEGEARD" userId="73b5704d-da1d-4b70-8e12-6d54d32b01a3" providerId="ADAL" clId="{20AD8B11-130C-4F68-9211-C0E7C90F8BEE}" dt="2023-06-08T11:05:01.849" v="1073" actId="164"/>
          <ac:spMkLst>
            <pc:docMk/>
            <pc:sldMk cId="3151543047" sldId="2147469874"/>
            <ac:spMk id="153" creationId="{1E0A981D-53E7-2576-99F6-0AE0A6FA0BB8}"/>
          </ac:spMkLst>
        </pc:spChg>
        <pc:spChg chg="mod">
          <ac:chgData name="Paul LEGEARD" userId="73b5704d-da1d-4b70-8e12-6d54d32b01a3" providerId="ADAL" clId="{20AD8B11-130C-4F68-9211-C0E7C90F8BEE}" dt="2023-06-08T11:05:01.849" v="1073" actId="164"/>
          <ac:spMkLst>
            <pc:docMk/>
            <pc:sldMk cId="3151543047" sldId="2147469874"/>
            <ac:spMk id="154" creationId="{9D66838B-9DDB-442C-0269-48790A49B424}"/>
          </ac:spMkLst>
        </pc:spChg>
        <pc:spChg chg="mod">
          <ac:chgData name="Paul LEGEARD" userId="73b5704d-da1d-4b70-8e12-6d54d32b01a3" providerId="ADAL" clId="{20AD8B11-130C-4F68-9211-C0E7C90F8BEE}" dt="2023-06-09T09:58:00.236" v="21395" actId="20577"/>
          <ac:spMkLst>
            <pc:docMk/>
            <pc:sldMk cId="3151543047" sldId="2147469874"/>
            <ac:spMk id="155" creationId="{A6190615-B14A-D8D8-35E7-6B995D93F036}"/>
          </ac:spMkLst>
        </pc:spChg>
        <pc:spChg chg="mod">
          <ac:chgData name="Paul LEGEARD" userId="73b5704d-da1d-4b70-8e12-6d54d32b01a3" providerId="ADAL" clId="{20AD8B11-130C-4F68-9211-C0E7C90F8BEE}" dt="2023-06-09T09:05:11.966" v="19053" actId="1036"/>
          <ac:spMkLst>
            <pc:docMk/>
            <pc:sldMk cId="3151543047" sldId="2147469874"/>
            <ac:spMk id="156" creationId="{10A8D75D-73B9-6740-1790-EDBC966A5C18}"/>
          </ac:spMkLst>
        </pc:spChg>
        <pc:spChg chg="del">
          <ac:chgData name="Paul LEGEARD" userId="73b5704d-da1d-4b70-8e12-6d54d32b01a3" providerId="ADAL" clId="{20AD8B11-130C-4F68-9211-C0E7C90F8BEE}" dt="2023-06-08T09:01:13.830" v="713" actId="478"/>
          <ac:spMkLst>
            <pc:docMk/>
            <pc:sldMk cId="3151543047" sldId="2147469874"/>
            <ac:spMk id="157" creationId="{CE73CCA2-B334-009A-B499-E3AE78958ECC}"/>
          </ac:spMkLst>
        </pc:spChg>
        <pc:grpChg chg="add mod">
          <ac:chgData name="Paul LEGEARD" userId="73b5704d-da1d-4b70-8e12-6d54d32b01a3" providerId="ADAL" clId="{20AD8B11-130C-4F68-9211-C0E7C90F8BEE}" dt="2023-06-09T09:05:11.966" v="19053" actId="1036"/>
          <ac:grpSpMkLst>
            <pc:docMk/>
            <pc:sldMk cId="3151543047" sldId="2147469874"/>
            <ac:grpSpMk id="39" creationId="{5035A8E9-D3BD-EE8A-49D1-280244404E50}"/>
          </ac:grpSpMkLst>
        </pc:grpChg>
        <pc:grpChg chg="add mod">
          <ac:chgData name="Paul LEGEARD" userId="73b5704d-da1d-4b70-8e12-6d54d32b01a3" providerId="ADAL" clId="{20AD8B11-130C-4F68-9211-C0E7C90F8BEE}" dt="2023-06-09T09:05:11.966" v="19053" actId="1036"/>
          <ac:grpSpMkLst>
            <pc:docMk/>
            <pc:sldMk cId="3151543047" sldId="2147469874"/>
            <ac:grpSpMk id="40" creationId="{694A0649-7007-5667-C9A0-84056CF8E6DC}"/>
          </ac:grpSpMkLst>
        </pc:grpChg>
        <pc:grpChg chg="add mod">
          <ac:chgData name="Paul LEGEARD" userId="73b5704d-da1d-4b70-8e12-6d54d32b01a3" providerId="ADAL" clId="{20AD8B11-130C-4F68-9211-C0E7C90F8BEE}" dt="2023-06-09T09:05:11.966" v="19053" actId="1036"/>
          <ac:grpSpMkLst>
            <pc:docMk/>
            <pc:sldMk cId="3151543047" sldId="2147469874"/>
            <ac:grpSpMk id="41" creationId="{604FE3CD-4952-5409-F5CC-88FD21E61984}"/>
          </ac:grpSpMkLst>
        </pc:grpChg>
        <pc:grpChg chg="add mod">
          <ac:chgData name="Paul LEGEARD" userId="73b5704d-da1d-4b70-8e12-6d54d32b01a3" providerId="ADAL" clId="{20AD8B11-130C-4F68-9211-C0E7C90F8BEE}" dt="2023-06-09T09:05:14.788" v="19056" actId="1036"/>
          <ac:grpSpMkLst>
            <pc:docMk/>
            <pc:sldMk cId="3151543047" sldId="2147469874"/>
            <ac:grpSpMk id="42" creationId="{CAACC4AA-8A85-8EB2-E22F-11C27F01DA3C}"/>
          </ac:grpSpMkLst>
        </pc:grpChg>
        <pc:picChg chg="add mod">
          <ac:chgData name="Paul LEGEARD" userId="73b5704d-da1d-4b70-8e12-6d54d32b01a3" providerId="ADAL" clId="{20AD8B11-130C-4F68-9211-C0E7C90F8BEE}" dt="2023-06-09T07:28:43.546" v="16845" actId="1038"/>
          <ac:picMkLst>
            <pc:docMk/>
            <pc:sldMk cId="3151543047" sldId="2147469874"/>
            <ac:picMk id="4" creationId="{05DF792A-8CA8-0C06-7BCA-69D57CEE02DF}"/>
          </ac:picMkLst>
        </pc:picChg>
        <pc:picChg chg="add mod">
          <ac:chgData name="Paul LEGEARD" userId="73b5704d-da1d-4b70-8e12-6d54d32b01a3" providerId="ADAL" clId="{20AD8B11-130C-4F68-9211-C0E7C90F8BEE}" dt="2023-06-09T07:27:21.277" v="16821" actId="1037"/>
          <ac:picMkLst>
            <pc:docMk/>
            <pc:sldMk cId="3151543047" sldId="2147469874"/>
            <ac:picMk id="5" creationId="{611BEB46-7FB6-8674-FA39-A6AF4FF71664}"/>
          </ac:picMkLst>
        </pc:picChg>
        <pc:picChg chg="add mod">
          <ac:chgData name="Paul LEGEARD" userId="73b5704d-da1d-4b70-8e12-6d54d32b01a3" providerId="ADAL" clId="{20AD8B11-130C-4F68-9211-C0E7C90F8BEE}" dt="2023-06-09T07:27:21.277" v="16821" actId="1037"/>
          <ac:picMkLst>
            <pc:docMk/>
            <pc:sldMk cId="3151543047" sldId="2147469874"/>
            <ac:picMk id="6" creationId="{257DE536-6435-F07D-803A-360D3EC34443}"/>
          </ac:picMkLst>
        </pc:picChg>
        <pc:picChg chg="add mod">
          <ac:chgData name="Paul LEGEARD" userId="73b5704d-da1d-4b70-8e12-6d54d32b01a3" providerId="ADAL" clId="{20AD8B11-130C-4F68-9211-C0E7C90F8BEE}" dt="2023-06-09T07:27:21.277" v="16821" actId="1037"/>
          <ac:picMkLst>
            <pc:docMk/>
            <pc:sldMk cId="3151543047" sldId="2147469874"/>
            <ac:picMk id="7" creationId="{1C14A8FF-7B92-6150-10A3-B2795949EA9B}"/>
          </ac:picMkLst>
        </pc:picChg>
        <pc:picChg chg="add mod">
          <ac:chgData name="Paul LEGEARD" userId="73b5704d-da1d-4b70-8e12-6d54d32b01a3" providerId="ADAL" clId="{20AD8B11-130C-4F68-9211-C0E7C90F8BEE}" dt="2023-06-09T07:27:21.277" v="16821" actId="1037"/>
          <ac:picMkLst>
            <pc:docMk/>
            <pc:sldMk cId="3151543047" sldId="2147469874"/>
            <ac:picMk id="15" creationId="{09C3F587-9751-CCB0-0CD3-3EB1E7ECBA60}"/>
          </ac:picMkLst>
        </pc:picChg>
        <pc:picChg chg="add mod">
          <ac:chgData name="Paul LEGEARD" userId="73b5704d-da1d-4b70-8e12-6d54d32b01a3" providerId="ADAL" clId="{20AD8B11-130C-4F68-9211-C0E7C90F8BEE}" dt="2023-06-09T07:27:21.277" v="16821" actId="1037"/>
          <ac:picMkLst>
            <pc:docMk/>
            <pc:sldMk cId="3151543047" sldId="2147469874"/>
            <ac:picMk id="17" creationId="{EF9847B9-A517-008C-5C5E-A2BC3E541EAC}"/>
          </ac:picMkLst>
        </pc:picChg>
        <pc:picChg chg="del">
          <ac:chgData name="Paul LEGEARD" userId="73b5704d-da1d-4b70-8e12-6d54d32b01a3" providerId="ADAL" clId="{20AD8B11-130C-4F68-9211-C0E7C90F8BEE}" dt="2023-06-08T08:50:37.509" v="139" actId="478"/>
          <ac:picMkLst>
            <pc:docMk/>
            <pc:sldMk cId="3151543047" sldId="2147469874"/>
            <ac:picMk id="38" creationId="{415F66AD-5048-141C-0CBA-559DAB479BB1}"/>
          </ac:picMkLst>
        </pc:picChg>
        <pc:picChg chg="del">
          <ac:chgData name="Paul LEGEARD" userId="73b5704d-da1d-4b70-8e12-6d54d32b01a3" providerId="ADAL" clId="{20AD8B11-130C-4F68-9211-C0E7C90F8BEE}" dt="2023-06-08T08:50:37.509" v="139" actId="478"/>
          <ac:picMkLst>
            <pc:docMk/>
            <pc:sldMk cId="3151543047" sldId="2147469874"/>
            <ac:picMk id="44" creationId="{4CAD0815-C23E-FAF9-BF21-AE7BE1829791}"/>
          </ac:picMkLst>
        </pc:picChg>
        <pc:picChg chg="del">
          <ac:chgData name="Paul LEGEARD" userId="73b5704d-da1d-4b70-8e12-6d54d32b01a3" providerId="ADAL" clId="{20AD8B11-130C-4F68-9211-C0E7C90F8BEE}" dt="2023-06-08T08:50:37.509" v="139" actId="478"/>
          <ac:picMkLst>
            <pc:docMk/>
            <pc:sldMk cId="3151543047" sldId="2147469874"/>
            <ac:picMk id="97" creationId="{8F21B6CA-1FE5-3CD5-25A7-ED80C31582F8}"/>
          </ac:picMkLst>
        </pc:picChg>
        <pc:picChg chg="del">
          <ac:chgData name="Paul LEGEARD" userId="73b5704d-da1d-4b70-8e12-6d54d32b01a3" providerId="ADAL" clId="{20AD8B11-130C-4F68-9211-C0E7C90F8BEE}" dt="2023-06-08T08:50:37.509" v="139" actId="478"/>
          <ac:picMkLst>
            <pc:docMk/>
            <pc:sldMk cId="3151543047" sldId="2147469874"/>
            <ac:picMk id="115" creationId="{AC42E854-B6FD-34EC-543D-F9EBB4BFFC08}"/>
          </ac:picMkLst>
        </pc:picChg>
        <pc:picChg chg="del">
          <ac:chgData name="Paul LEGEARD" userId="73b5704d-da1d-4b70-8e12-6d54d32b01a3" providerId="ADAL" clId="{20AD8B11-130C-4F68-9211-C0E7C90F8BEE}" dt="2023-06-08T08:50:37.509" v="139" actId="478"/>
          <ac:picMkLst>
            <pc:docMk/>
            <pc:sldMk cId="3151543047" sldId="2147469874"/>
            <ac:picMk id="119" creationId="{2423DEFE-8D5F-027C-C98D-A55C0894560A}"/>
          </ac:picMkLst>
        </pc:picChg>
        <pc:picChg chg="del">
          <ac:chgData name="Paul LEGEARD" userId="73b5704d-da1d-4b70-8e12-6d54d32b01a3" providerId="ADAL" clId="{20AD8B11-130C-4F68-9211-C0E7C90F8BEE}" dt="2023-06-08T08:50:37.509" v="139" actId="478"/>
          <ac:picMkLst>
            <pc:docMk/>
            <pc:sldMk cId="3151543047" sldId="2147469874"/>
            <ac:picMk id="121" creationId="{DDDF0489-76E1-DD8C-F6C9-165FACEF3A21}"/>
          </ac:picMkLst>
        </pc:picChg>
        <pc:picChg chg="add del">
          <ac:chgData name="Paul LEGEARD" userId="73b5704d-da1d-4b70-8e12-6d54d32b01a3" providerId="ADAL" clId="{20AD8B11-130C-4F68-9211-C0E7C90F8BEE}" dt="2023-06-08T08:52:05.865" v="301"/>
          <ac:picMkLst>
            <pc:docMk/>
            <pc:sldMk cId="3151543047" sldId="2147469874"/>
            <ac:picMk id="1026" creationId="{00E95F39-12EC-077D-6BBF-CE106146C831}"/>
          </ac:picMkLst>
        </pc:picChg>
        <pc:picChg chg="add mod">
          <ac:chgData name="Paul LEGEARD" userId="73b5704d-da1d-4b70-8e12-6d54d32b01a3" providerId="ADAL" clId="{20AD8B11-130C-4F68-9211-C0E7C90F8BEE}" dt="2023-06-09T07:28:45.679" v="16846" actId="1076"/>
          <ac:picMkLst>
            <pc:docMk/>
            <pc:sldMk cId="3151543047" sldId="2147469874"/>
            <ac:picMk id="1026" creationId="{FA49FFBF-D9AA-E2CA-DBDE-1014E1E2EB86}"/>
          </ac:picMkLst>
        </pc:picChg>
        <pc:picChg chg="add del">
          <ac:chgData name="Paul LEGEARD" userId="73b5704d-da1d-4b70-8e12-6d54d32b01a3" providerId="ADAL" clId="{20AD8B11-130C-4F68-9211-C0E7C90F8BEE}" dt="2023-06-08T08:52:05.865" v="301"/>
          <ac:picMkLst>
            <pc:docMk/>
            <pc:sldMk cId="3151543047" sldId="2147469874"/>
            <ac:picMk id="1027" creationId="{5260BA46-D8EB-3B29-B183-E42D2DF9451F}"/>
          </ac:picMkLst>
        </pc:picChg>
        <pc:cxnChg chg="add mod">
          <ac:chgData name="Paul LEGEARD" userId="73b5704d-da1d-4b70-8e12-6d54d32b01a3" providerId="ADAL" clId="{20AD8B11-130C-4F68-9211-C0E7C90F8BEE}" dt="2023-06-09T08:13:20.695" v="18075" actId="208"/>
          <ac:cxnSpMkLst>
            <pc:docMk/>
            <pc:sldMk cId="3151543047" sldId="2147469874"/>
            <ac:cxnSpMk id="32" creationId="{4547ABFA-43AE-C704-9B64-DD90F2605276}"/>
          </ac:cxnSpMkLst>
        </pc:cxnChg>
        <pc:cxnChg chg="add mod">
          <ac:chgData name="Paul LEGEARD" userId="73b5704d-da1d-4b70-8e12-6d54d32b01a3" providerId="ADAL" clId="{20AD8B11-130C-4F68-9211-C0E7C90F8BEE}" dt="2023-06-09T08:17:28.480" v="18080" actId="208"/>
          <ac:cxnSpMkLst>
            <pc:docMk/>
            <pc:sldMk cId="3151543047" sldId="2147469874"/>
            <ac:cxnSpMk id="43" creationId="{71559AE3-35B0-CFFD-C5DF-156B574FE92E}"/>
          </ac:cxnSpMkLst>
        </pc:cxnChg>
        <pc:cxnChg chg="add mod">
          <ac:chgData name="Paul LEGEARD" userId="73b5704d-da1d-4b70-8e12-6d54d32b01a3" providerId="ADAL" clId="{20AD8B11-130C-4F68-9211-C0E7C90F8BEE}" dt="2023-06-09T09:05:56.964" v="19091" actId="208"/>
          <ac:cxnSpMkLst>
            <pc:docMk/>
            <pc:sldMk cId="3151543047" sldId="2147469874"/>
            <ac:cxnSpMk id="45" creationId="{7126B096-8B7E-D92D-016B-75299711F589}"/>
          </ac:cxnSpMkLst>
        </pc:cxnChg>
      </pc:sldChg>
      <pc:sldChg chg="del">
        <pc:chgData name="Paul LEGEARD" userId="73b5704d-da1d-4b70-8e12-6d54d32b01a3" providerId="ADAL" clId="{20AD8B11-130C-4F68-9211-C0E7C90F8BEE}" dt="2023-06-08T15:36:03.359" v="12358" actId="47"/>
        <pc:sldMkLst>
          <pc:docMk/>
          <pc:sldMk cId="1866467994" sldId="2147469879"/>
        </pc:sldMkLst>
      </pc:sldChg>
      <pc:sldChg chg="del">
        <pc:chgData name="Paul LEGEARD" userId="73b5704d-da1d-4b70-8e12-6d54d32b01a3" providerId="ADAL" clId="{20AD8B11-130C-4F68-9211-C0E7C90F8BEE}" dt="2023-06-08T14:29:35.119" v="8667" actId="47"/>
        <pc:sldMkLst>
          <pc:docMk/>
          <pc:sldMk cId="3168541585" sldId="2147469880"/>
        </pc:sldMkLst>
      </pc:sldChg>
      <pc:sldChg chg="del">
        <pc:chgData name="Paul LEGEARD" userId="73b5704d-da1d-4b70-8e12-6d54d32b01a3" providerId="ADAL" clId="{20AD8B11-130C-4F68-9211-C0E7C90F8BEE}" dt="2023-06-08T15:36:03.359" v="12358" actId="47"/>
        <pc:sldMkLst>
          <pc:docMk/>
          <pc:sldMk cId="3497689514" sldId="2147469882"/>
        </pc:sldMkLst>
      </pc:sldChg>
      <pc:sldChg chg="del">
        <pc:chgData name="Paul LEGEARD" userId="73b5704d-da1d-4b70-8e12-6d54d32b01a3" providerId="ADAL" clId="{20AD8B11-130C-4F68-9211-C0E7C90F8BEE}" dt="2023-06-08T15:36:03.359" v="12358" actId="47"/>
        <pc:sldMkLst>
          <pc:docMk/>
          <pc:sldMk cId="3504001298" sldId="2147469883"/>
        </pc:sldMkLst>
      </pc:sldChg>
      <pc:sldChg chg="del">
        <pc:chgData name="Paul LEGEARD" userId="73b5704d-da1d-4b70-8e12-6d54d32b01a3" providerId="ADAL" clId="{20AD8B11-130C-4F68-9211-C0E7C90F8BEE}" dt="2023-06-08T15:36:03.359" v="12358" actId="47"/>
        <pc:sldMkLst>
          <pc:docMk/>
          <pc:sldMk cId="746696022" sldId="2147469885"/>
        </pc:sldMkLst>
      </pc:sldChg>
      <pc:sldChg chg="addSp delSp modSp mod ord">
        <pc:chgData name="Paul LEGEARD" userId="73b5704d-da1d-4b70-8e12-6d54d32b01a3" providerId="ADAL" clId="{20AD8B11-130C-4F68-9211-C0E7C90F8BEE}" dt="2023-06-08T16:26:49.293" v="15344"/>
        <pc:sldMkLst>
          <pc:docMk/>
          <pc:sldMk cId="2845898111" sldId="2147469886"/>
        </pc:sldMkLst>
        <pc:spChg chg="del">
          <ac:chgData name="Paul LEGEARD" userId="73b5704d-da1d-4b70-8e12-6d54d32b01a3" providerId="ADAL" clId="{20AD8B11-130C-4F68-9211-C0E7C90F8BEE}" dt="2023-06-08T13:02:34.942" v="2636" actId="478"/>
          <ac:spMkLst>
            <pc:docMk/>
            <pc:sldMk cId="2845898111" sldId="2147469886"/>
            <ac:spMk id="2" creationId="{E4E7DEE7-98D2-3941-D383-C48447CA3A2B}"/>
          </ac:spMkLst>
        </pc:spChg>
        <pc:spChg chg="mod">
          <ac:chgData name="Paul LEGEARD" userId="73b5704d-da1d-4b70-8e12-6d54d32b01a3" providerId="ADAL" clId="{20AD8B11-130C-4F68-9211-C0E7C90F8BEE}" dt="2023-06-08T16:13:07.692" v="14480" actId="20577"/>
          <ac:spMkLst>
            <pc:docMk/>
            <pc:sldMk cId="2845898111" sldId="2147469886"/>
            <ac:spMk id="4" creationId="{A9E90669-ADF1-0205-02F9-4BC20DC5190D}"/>
          </ac:spMkLst>
        </pc:spChg>
        <pc:spChg chg="del mod">
          <ac:chgData name="Paul LEGEARD" userId="73b5704d-da1d-4b70-8e12-6d54d32b01a3" providerId="ADAL" clId="{20AD8B11-130C-4F68-9211-C0E7C90F8BEE}" dt="2023-06-08T13:16:06.519" v="3228" actId="478"/>
          <ac:spMkLst>
            <pc:docMk/>
            <pc:sldMk cId="2845898111" sldId="2147469886"/>
            <ac:spMk id="5" creationId="{54F725CE-647B-6F53-095A-0C7BD1BA4B3E}"/>
          </ac:spMkLst>
        </pc:spChg>
        <pc:spChg chg="del mod">
          <ac:chgData name="Paul LEGEARD" userId="73b5704d-da1d-4b70-8e12-6d54d32b01a3" providerId="ADAL" clId="{20AD8B11-130C-4F68-9211-C0E7C90F8BEE}" dt="2023-06-08T13:16:06.519" v="3228" actId="478"/>
          <ac:spMkLst>
            <pc:docMk/>
            <pc:sldMk cId="2845898111" sldId="2147469886"/>
            <ac:spMk id="6" creationId="{5203C02C-82D5-5E76-BB78-EA220012359A}"/>
          </ac:spMkLst>
        </pc:spChg>
        <pc:spChg chg="del">
          <ac:chgData name="Paul LEGEARD" userId="73b5704d-da1d-4b70-8e12-6d54d32b01a3" providerId="ADAL" clId="{20AD8B11-130C-4F68-9211-C0E7C90F8BEE}" dt="2023-06-08T13:02:34.942" v="2636" actId="478"/>
          <ac:spMkLst>
            <pc:docMk/>
            <pc:sldMk cId="2845898111" sldId="2147469886"/>
            <ac:spMk id="9" creationId="{47524A90-D340-53EA-2DAF-A595DA0A932F}"/>
          </ac:spMkLst>
        </pc:spChg>
        <pc:spChg chg="del">
          <ac:chgData name="Paul LEGEARD" userId="73b5704d-da1d-4b70-8e12-6d54d32b01a3" providerId="ADAL" clId="{20AD8B11-130C-4F68-9211-C0E7C90F8BEE}" dt="2023-06-08T13:02:32.491" v="2635" actId="478"/>
          <ac:spMkLst>
            <pc:docMk/>
            <pc:sldMk cId="2845898111" sldId="2147469886"/>
            <ac:spMk id="10" creationId="{C99D3972-5559-786B-27EF-3CF3782BC7A1}"/>
          </ac:spMkLst>
        </pc:spChg>
        <pc:spChg chg="add del mod">
          <ac:chgData name="Paul LEGEARD" userId="73b5704d-da1d-4b70-8e12-6d54d32b01a3" providerId="ADAL" clId="{20AD8B11-130C-4F68-9211-C0E7C90F8BEE}" dt="2023-06-08T13:13:16.010" v="2998"/>
          <ac:spMkLst>
            <pc:docMk/>
            <pc:sldMk cId="2845898111" sldId="2147469886"/>
            <ac:spMk id="15" creationId="{C0E1E533-03F1-060B-0D59-3E89FA68B086}"/>
          </ac:spMkLst>
        </pc:spChg>
        <pc:spChg chg="add mod">
          <ac:chgData name="Paul LEGEARD" userId="73b5704d-da1d-4b70-8e12-6d54d32b01a3" providerId="ADAL" clId="{20AD8B11-130C-4F68-9211-C0E7C90F8BEE}" dt="2023-06-08T13:16:04.411" v="3227" actId="1036"/>
          <ac:spMkLst>
            <pc:docMk/>
            <pc:sldMk cId="2845898111" sldId="2147469886"/>
            <ac:spMk id="17" creationId="{A90494EA-D75D-B8C4-9CC5-587C58E0A5FC}"/>
          </ac:spMkLst>
        </pc:spChg>
        <pc:spChg chg="add mod">
          <ac:chgData name="Paul LEGEARD" userId="73b5704d-da1d-4b70-8e12-6d54d32b01a3" providerId="ADAL" clId="{20AD8B11-130C-4F68-9211-C0E7C90F8BEE}" dt="2023-06-08T13:16:04.411" v="3227" actId="1036"/>
          <ac:spMkLst>
            <pc:docMk/>
            <pc:sldMk cId="2845898111" sldId="2147469886"/>
            <ac:spMk id="18" creationId="{3C202BFE-7ED8-5B43-B278-0D37550BB105}"/>
          </ac:spMkLst>
        </pc:spChg>
        <pc:spChg chg="add mod">
          <ac:chgData name="Paul LEGEARD" userId="73b5704d-da1d-4b70-8e12-6d54d32b01a3" providerId="ADAL" clId="{20AD8B11-130C-4F68-9211-C0E7C90F8BEE}" dt="2023-06-08T16:13:31.706" v="14595" actId="20577"/>
          <ac:spMkLst>
            <pc:docMk/>
            <pc:sldMk cId="2845898111" sldId="2147469886"/>
            <ac:spMk id="20" creationId="{EE9C5CA9-E467-A543-F854-564F10277C5A}"/>
          </ac:spMkLst>
        </pc:spChg>
        <pc:spChg chg="add mod">
          <ac:chgData name="Paul LEGEARD" userId="73b5704d-da1d-4b70-8e12-6d54d32b01a3" providerId="ADAL" clId="{20AD8B11-130C-4F68-9211-C0E7C90F8BEE}" dt="2023-06-08T13:16:40.776" v="3273" actId="1036"/>
          <ac:spMkLst>
            <pc:docMk/>
            <pc:sldMk cId="2845898111" sldId="2147469886"/>
            <ac:spMk id="21" creationId="{B278B416-4BDE-6EB6-B836-125C4CB6874B}"/>
          </ac:spMkLst>
        </pc:spChg>
        <pc:graphicFrameChg chg="mod modGraphic">
          <ac:chgData name="Paul LEGEARD" userId="73b5704d-da1d-4b70-8e12-6d54d32b01a3" providerId="ADAL" clId="{20AD8B11-130C-4F68-9211-C0E7C90F8BEE}" dt="2023-06-08T13:16:31.137" v="3247" actId="1036"/>
          <ac:graphicFrameMkLst>
            <pc:docMk/>
            <pc:sldMk cId="2845898111" sldId="2147469886"/>
            <ac:graphicFrameMk id="3" creationId="{815BA094-A92D-6DCB-CEDF-3CC883305288}"/>
          </ac:graphicFrameMkLst>
        </pc:graphicFrameChg>
        <pc:graphicFrameChg chg="del">
          <ac:chgData name="Paul LEGEARD" userId="73b5704d-da1d-4b70-8e12-6d54d32b01a3" providerId="ADAL" clId="{20AD8B11-130C-4F68-9211-C0E7C90F8BEE}" dt="2023-06-08T13:06:40.076" v="2732" actId="478"/>
          <ac:graphicFrameMkLst>
            <pc:docMk/>
            <pc:sldMk cId="2845898111" sldId="2147469886"/>
            <ac:graphicFrameMk id="7" creationId="{6D92C9FF-0E73-04C1-3553-5277B5F7DCF3}"/>
          </ac:graphicFrameMkLst>
        </pc:graphicFrameChg>
        <pc:graphicFrameChg chg="add del mod">
          <ac:chgData name="Paul LEGEARD" userId="73b5704d-da1d-4b70-8e12-6d54d32b01a3" providerId="ADAL" clId="{20AD8B11-130C-4F68-9211-C0E7C90F8BEE}" dt="2023-06-08T13:11:14.898" v="2919"/>
          <ac:graphicFrameMkLst>
            <pc:docMk/>
            <pc:sldMk cId="2845898111" sldId="2147469886"/>
            <ac:graphicFrameMk id="11" creationId="{B5218E23-11B8-BAC6-E3BC-B423F251D08A}"/>
          </ac:graphicFrameMkLst>
        </pc:graphicFrameChg>
        <pc:graphicFrameChg chg="add mod modGraphic">
          <ac:chgData name="Paul LEGEARD" userId="73b5704d-da1d-4b70-8e12-6d54d32b01a3" providerId="ADAL" clId="{20AD8B11-130C-4F68-9211-C0E7C90F8BEE}" dt="2023-06-08T13:16:31.137" v="3247" actId="1036"/>
          <ac:graphicFrameMkLst>
            <pc:docMk/>
            <pc:sldMk cId="2845898111" sldId="2147469886"/>
            <ac:graphicFrameMk id="12" creationId="{0335D06E-512F-40EB-4D88-D85397C86A0D}"/>
          </ac:graphicFrameMkLst>
        </pc:graphicFrameChg>
        <pc:graphicFrameChg chg="add mod modGraphic">
          <ac:chgData name="Paul LEGEARD" userId="73b5704d-da1d-4b70-8e12-6d54d32b01a3" providerId="ADAL" clId="{20AD8B11-130C-4F68-9211-C0E7C90F8BEE}" dt="2023-06-08T13:16:31.137" v="3247" actId="1036"/>
          <ac:graphicFrameMkLst>
            <pc:docMk/>
            <pc:sldMk cId="2845898111" sldId="2147469886"/>
            <ac:graphicFrameMk id="13" creationId="{1E8CCEA4-5ECB-D5E1-D3DC-DB15CE291278}"/>
          </ac:graphicFrameMkLst>
        </pc:graphicFrameChg>
        <pc:picChg chg="add del">
          <ac:chgData name="Paul LEGEARD" userId="73b5704d-da1d-4b70-8e12-6d54d32b01a3" providerId="ADAL" clId="{20AD8B11-130C-4F68-9211-C0E7C90F8BEE}" dt="2023-06-08T13:06:45.437" v="2736" actId="21"/>
          <ac:picMkLst>
            <pc:docMk/>
            <pc:sldMk cId="2845898111" sldId="2147469886"/>
            <ac:picMk id="8" creationId="{E94C557F-0858-B157-9DE1-7E5365D57F0E}"/>
          </ac:picMkLst>
        </pc:picChg>
        <pc:picChg chg="add del mod">
          <ac:chgData name="Paul LEGEARD" userId="73b5704d-da1d-4b70-8e12-6d54d32b01a3" providerId="ADAL" clId="{20AD8B11-130C-4F68-9211-C0E7C90F8BEE}" dt="2023-06-08T13:13:21.639" v="2999" actId="478"/>
          <ac:picMkLst>
            <pc:docMk/>
            <pc:sldMk cId="2845898111" sldId="2147469886"/>
            <ac:picMk id="14" creationId="{3BD8B56D-E517-2385-F682-888FB23070E3}"/>
          </ac:picMkLst>
        </pc:picChg>
        <pc:picChg chg="add del mod">
          <ac:chgData name="Paul LEGEARD" userId="73b5704d-da1d-4b70-8e12-6d54d32b01a3" providerId="ADAL" clId="{20AD8B11-130C-4F68-9211-C0E7C90F8BEE}" dt="2023-06-08T13:13:16.010" v="2998"/>
          <ac:picMkLst>
            <pc:docMk/>
            <pc:sldMk cId="2845898111" sldId="2147469886"/>
            <ac:picMk id="16" creationId="{9149F9E4-B0F2-2C6A-1BEE-B4E74F9CF1D5}"/>
          </ac:picMkLst>
        </pc:picChg>
        <pc:picChg chg="add mod">
          <ac:chgData name="Paul LEGEARD" userId="73b5704d-da1d-4b70-8e12-6d54d32b01a3" providerId="ADAL" clId="{20AD8B11-130C-4F68-9211-C0E7C90F8BEE}" dt="2023-06-08T13:16:07.921" v="3229" actId="1076"/>
          <ac:picMkLst>
            <pc:docMk/>
            <pc:sldMk cId="2845898111" sldId="2147469886"/>
            <ac:picMk id="19" creationId="{6BB92B80-66EA-51E7-9648-0FBFD3BE6A76}"/>
          </ac:picMkLst>
        </pc:picChg>
        <pc:picChg chg="del">
          <ac:chgData name="Paul LEGEARD" userId="73b5704d-da1d-4b70-8e12-6d54d32b01a3" providerId="ADAL" clId="{20AD8B11-130C-4F68-9211-C0E7C90F8BEE}" dt="2023-06-08T13:02:34.942" v="2636" actId="478"/>
          <ac:picMkLst>
            <pc:docMk/>
            <pc:sldMk cId="2845898111" sldId="2147469886"/>
            <ac:picMk id="1026" creationId="{DC4C680A-2468-6BCE-456C-2F79AB2E7D0D}"/>
          </ac:picMkLst>
        </pc:picChg>
      </pc:sldChg>
      <pc:sldChg chg="del">
        <pc:chgData name="Paul LEGEARD" userId="73b5704d-da1d-4b70-8e12-6d54d32b01a3" providerId="ADAL" clId="{20AD8B11-130C-4F68-9211-C0E7C90F8BEE}" dt="2023-06-08T15:36:03.359" v="12358" actId="47"/>
        <pc:sldMkLst>
          <pc:docMk/>
          <pc:sldMk cId="1474748993" sldId="2147469892"/>
        </pc:sldMkLst>
      </pc:sldChg>
      <pc:sldChg chg="del">
        <pc:chgData name="Paul LEGEARD" userId="73b5704d-da1d-4b70-8e12-6d54d32b01a3" providerId="ADAL" clId="{20AD8B11-130C-4F68-9211-C0E7C90F8BEE}" dt="2023-06-08T15:36:03.359" v="12358" actId="47"/>
        <pc:sldMkLst>
          <pc:docMk/>
          <pc:sldMk cId="1483734172" sldId="2147469896"/>
        </pc:sldMkLst>
      </pc:sldChg>
      <pc:sldChg chg="modSp add del mod">
        <pc:chgData name="Paul LEGEARD" userId="73b5704d-da1d-4b70-8e12-6d54d32b01a3" providerId="ADAL" clId="{20AD8B11-130C-4F68-9211-C0E7C90F8BEE}" dt="2023-06-08T16:24:36.018" v="15257" actId="207"/>
        <pc:sldMkLst>
          <pc:docMk/>
          <pc:sldMk cId="2598858083" sldId="2147469914"/>
        </pc:sldMkLst>
        <pc:spChg chg="mod">
          <ac:chgData name="Paul LEGEARD" userId="73b5704d-da1d-4b70-8e12-6d54d32b01a3" providerId="ADAL" clId="{20AD8B11-130C-4F68-9211-C0E7C90F8BEE}" dt="2023-06-08T16:23:46.398" v="15230" actId="20577"/>
          <ac:spMkLst>
            <pc:docMk/>
            <pc:sldMk cId="2598858083" sldId="2147469914"/>
            <ac:spMk id="2" creationId="{3C131473-12C2-2655-EA22-EA8A82BD6539}"/>
          </ac:spMkLst>
        </pc:spChg>
        <pc:spChg chg="mod">
          <ac:chgData name="Paul LEGEARD" userId="73b5704d-da1d-4b70-8e12-6d54d32b01a3" providerId="ADAL" clId="{20AD8B11-130C-4F68-9211-C0E7C90F8BEE}" dt="2023-06-08T16:24:25.973" v="15254" actId="20577"/>
          <ac:spMkLst>
            <pc:docMk/>
            <pc:sldMk cId="2598858083" sldId="2147469914"/>
            <ac:spMk id="4" creationId="{97C2D21C-BBB0-936D-C6F2-03212FA3A48E}"/>
          </ac:spMkLst>
        </pc:spChg>
        <pc:graphicFrameChg chg="mod modGraphic">
          <ac:chgData name="Paul LEGEARD" userId="73b5704d-da1d-4b70-8e12-6d54d32b01a3" providerId="ADAL" clId="{20AD8B11-130C-4F68-9211-C0E7C90F8BEE}" dt="2023-06-08T16:24:36.018" v="15257" actId="207"/>
          <ac:graphicFrameMkLst>
            <pc:docMk/>
            <pc:sldMk cId="2598858083" sldId="2147469914"/>
            <ac:graphicFrameMk id="3" creationId="{EE41C264-BFF6-299D-24CD-E81842B6CECA}"/>
          </ac:graphicFrameMkLst>
        </pc:graphicFrameChg>
      </pc:sldChg>
      <pc:sldChg chg="modSp add del">
        <pc:chgData name="Paul LEGEARD" userId="73b5704d-da1d-4b70-8e12-6d54d32b01a3" providerId="ADAL" clId="{20AD8B11-130C-4F68-9211-C0E7C90F8BEE}" dt="2023-06-08T16:26:10.034" v="15339" actId="47"/>
        <pc:sldMkLst>
          <pc:docMk/>
          <pc:sldMk cId="1263689602" sldId="2147469935"/>
        </pc:sldMkLst>
        <pc:graphicFrameChg chg="mod">
          <ac:chgData name="Paul LEGEARD" userId="73b5704d-da1d-4b70-8e12-6d54d32b01a3" providerId="ADAL" clId="{20AD8B11-130C-4F68-9211-C0E7C90F8BEE}" dt="2023-06-08T16:25:27.821" v="15263" actId="120"/>
          <ac:graphicFrameMkLst>
            <pc:docMk/>
            <pc:sldMk cId="1263689602" sldId="2147469935"/>
            <ac:graphicFrameMk id="4" creationId="{A2E9D582-EC5E-43AA-757B-AB81C6EF2E4E}"/>
          </ac:graphicFrameMkLst>
        </pc:graphicFrameChg>
      </pc:sldChg>
      <pc:sldChg chg="del">
        <pc:chgData name="Paul LEGEARD" userId="73b5704d-da1d-4b70-8e12-6d54d32b01a3" providerId="ADAL" clId="{20AD8B11-130C-4F68-9211-C0E7C90F8BEE}" dt="2023-06-08T15:36:03.359" v="12358" actId="47"/>
        <pc:sldMkLst>
          <pc:docMk/>
          <pc:sldMk cId="2911073086" sldId="2147469936"/>
        </pc:sldMkLst>
      </pc:sldChg>
      <pc:sldChg chg="modSp del mod">
        <pc:chgData name="Paul LEGEARD" userId="73b5704d-da1d-4b70-8e12-6d54d32b01a3" providerId="ADAL" clId="{20AD8B11-130C-4F68-9211-C0E7C90F8BEE}" dt="2023-06-08T15:36:03.359" v="12358" actId="47"/>
        <pc:sldMkLst>
          <pc:docMk/>
          <pc:sldMk cId="4137036792" sldId="2147469937"/>
        </pc:sldMkLst>
        <pc:graphicFrameChg chg="mod">
          <ac:chgData name="Paul LEGEARD" userId="73b5704d-da1d-4b70-8e12-6d54d32b01a3" providerId="ADAL" clId="{20AD8B11-130C-4F68-9211-C0E7C90F8BEE}" dt="2023-06-08T11:07:32.626" v="1151" actId="1036"/>
          <ac:graphicFrameMkLst>
            <pc:docMk/>
            <pc:sldMk cId="4137036792" sldId="2147469937"/>
            <ac:graphicFrameMk id="3" creationId="{09938FEB-555C-9208-EB72-97D034577B97}"/>
          </ac:graphicFrameMkLst>
        </pc:graphicFrameChg>
        <pc:graphicFrameChg chg="mod">
          <ac:chgData name="Paul LEGEARD" userId="73b5704d-da1d-4b70-8e12-6d54d32b01a3" providerId="ADAL" clId="{20AD8B11-130C-4F68-9211-C0E7C90F8BEE}" dt="2023-06-08T11:07:31.106" v="1150" actId="20577"/>
          <ac:graphicFrameMkLst>
            <pc:docMk/>
            <pc:sldMk cId="4137036792" sldId="2147469937"/>
            <ac:graphicFrameMk id="9" creationId="{A7A4F7F6-8B79-5744-DF7A-7832286E458B}"/>
          </ac:graphicFrameMkLst>
        </pc:graphicFrameChg>
      </pc:sldChg>
      <pc:sldChg chg="add del ord">
        <pc:chgData name="Paul LEGEARD" userId="73b5704d-da1d-4b70-8e12-6d54d32b01a3" providerId="ADAL" clId="{20AD8B11-130C-4F68-9211-C0E7C90F8BEE}" dt="2023-06-08T16:32:15.050" v="15767" actId="47"/>
        <pc:sldMkLst>
          <pc:docMk/>
          <pc:sldMk cId="1277252004" sldId="2147469938"/>
        </pc:sldMkLst>
      </pc:sldChg>
      <pc:sldChg chg="del">
        <pc:chgData name="Paul LEGEARD" userId="73b5704d-da1d-4b70-8e12-6d54d32b01a3" providerId="ADAL" clId="{20AD8B11-130C-4F68-9211-C0E7C90F8BEE}" dt="2023-06-08T14:29:34.209" v="8666" actId="47"/>
        <pc:sldMkLst>
          <pc:docMk/>
          <pc:sldMk cId="3447046164" sldId="2147471253"/>
        </pc:sldMkLst>
      </pc:sldChg>
      <pc:sldChg chg="modSp mod ord">
        <pc:chgData name="Paul LEGEARD" userId="73b5704d-da1d-4b70-8e12-6d54d32b01a3" providerId="ADAL" clId="{20AD8B11-130C-4F68-9211-C0E7C90F8BEE}" dt="2023-06-08T13:11:36.515" v="2974" actId="20577"/>
        <pc:sldMkLst>
          <pc:docMk/>
          <pc:sldMk cId="1362949440" sldId="2147471256"/>
        </pc:sldMkLst>
        <pc:spChg chg="mod">
          <ac:chgData name="Paul LEGEARD" userId="73b5704d-da1d-4b70-8e12-6d54d32b01a3" providerId="ADAL" clId="{20AD8B11-130C-4F68-9211-C0E7C90F8BEE}" dt="2023-06-08T13:11:36.515" v="2974" actId="20577"/>
          <ac:spMkLst>
            <pc:docMk/>
            <pc:sldMk cId="1362949440" sldId="2147471256"/>
            <ac:spMk id="4" creationId="{52AFB3F8-88A7-4D69-8A52-45D00774625C}"/>
          </ac:spMkLst>
        </pc:spChg>
      </pc:sldChg>
      <pc:sldChg chg="del">
        <pc:chgData name="Paul LEGEARD" userId="73b5704d-da1d-4b70-8e12-6d54d32b01a3" providerId="ADAL" clId="{20AD8B11-130C-4F68-9211-C0E7C90F8BEE}" dt="2023-06-08T11:14:37.839" v="1536" actId="47"/>
        <pc:sldMkLst>
          <pc:docMk/>
          <pc:sldMk cId="2868073232" sldId="2147471257"/>
        </pc:sldMkLst>
      </pc:sldChg>
      <pc:sldChg chg="del">
        <pc:chgData name="Paul LEGEARD" userId="73b5704d-da1d-4b70-8e12-6d54d32b01a3" providerId="ADAL" clId="{20AD8B11-130C-4F68-9211-C0E7C90F8BEE}" dt="2023-06-08T14:29:18.786" v="8656" actId="47"/>
        <pc:sldMkLst>
          <pc:docMk/>
          <pc:sldMk cId="3159908514" sldId="2147471259"/>
        </pc:sldMkLst>
      </pc:sldChg>
      <pc:sldChg chg="del">
        <pc:chgData name="Paul LEGEARD" userId="73b5704d-da1d-4b70-8e12-6d54d32b01a3" providerId="ADAL" clId="{20AD8B11-130C-4F68-9211-C0E7C90F8BEE}" dt="2023-06-08T14:29:19.272" v="8657" actId="47"/>
        <pc:sldMkLst>
          <pc:docMk/>
          <pc:sldMk cId="484923472" sldId="2147471260"/>
        </pc:sldMkLst>
      </pc:sldChg>
      <pc:sldChg chg="del">
        <pc:chgData name="Paul LEGEARD" userId="73b5704d-da1d-4b70-8e12-6d54d32b01a3" providerId="ADAL" clId="{20AD8B11-130C-4F68-9211-C0E7C90F8BEE}" dt="2023-06-08T14:29:37.243" v="8668" actId="47"/>
        <pc:sldMkLst>
          <pc:docMk/>
          <pc:sldMk cId="478606570" sldId="2147471261"/>
        </pc:sldMkLst>
      </pc:sldChg>
      <pc:sldChg chg="del">
        <pc:chgData name="Paul LEGEARD" userId="73b5704d-da1d-4b70-8e12-6d54d32b01a3" providerId="ADAL" clId="{20AD8B11-130C-4F68-9211-C0E7C90F8BEE}" dt="2023-06-08T14:29:40.344" v="8669" actId="47"/>
        <pc:sldMkLst>
          <pc:docMk/>
          <pc:sldMk cId="3169786814" sldId="2147471262"/>
        </pc:sldMkLst>
      </pc:sldChg>
      <pc:sldChg chg="del">
        <pc:chgData name="Paul LEGEARD" userId="73b5704d-da1d-4b70-8e12-6d54d32b01a3" providerId="ADAL" clId="{20AD8B11-130C-4F68-9211-C0E7C90F8BEE}" dt="2023-06-08T14:29:42.357" v="8670" actId="47"/>
        <pc:sldMkLst>
          <pc:docMk/>
          <pc:sldMk cId="3816995396" sldId="2147471263"/>
        </pc:sldMkLst>
      </pc:sldChg>
      <pc:sldChg chg="addSp delSp modSp add del mod ord modNotesTx">
        <pc:chgData name="Paul LEGEARD" userId="73b5704d-da1d-4b70-8e12-6d54d32b01a3" providerId="ADAL" clId="{20AD8B11-130C-4F68-9211-C0E7C90F8BEE}" dt="2023-06-09T08:19:44.190" v="18184" actId="47"/>
        <pc:sldMkLst>
          <pc:docMk/>
          <pc:sldMk cId="4236519743" sldId="2147471264"/>
        </pc:sldMkLst>
        <pc:spChg chg="add del mod">
          <ac:chgData name="Paul LEGEARD" userId="73b5704d-da1d-4b70-8e12-6d54d32b01a3" providerId="ADAL" clId="{20AD8B11-130C-4F68-9211-C0E7C90F8BEE}" dt="2023-06-08T13:50:24.776" v="5512" actId="478"/>
          <ac:spMkLst>
            <pc:docMk/>
            <pc:sldMk cId="4236519743" sldId="2147471264"/>
            <ac:spMk id="3" creationId="{7FE4BE07-806C-B173-29C5-B378B0DF7E7C}"/>
          </ac:spMkLst>
        </pc:spChg>
        <pc:spChg chg="mod">
          <ac:chgData name="Paul LEGEARD" userId="73b5704d-da1d-4b70-8e12-6d54d32b01a3" providerId="ADAL" clId="{20AD8B11-130C-4F68-9211-C0E7C90F8BEE}" dt="2023-06-09T07:40:44.130" v="17538" actId="20577"/>
          <ac:spMkLst>
            <pc:docMk/>
            <pc:sldMk cId="4236519743" sldId="2147471264"/>
            <ac:spMk id="4" creationId="{52AFB3F8-88A7-4D69-8A52-45D00774625C}"/>
          </ac:spMkLst>
        </pc:spChg>
        <pc:spChg chg="add mod">
          <ac:chgData name="Paul LEGEARD" userId="73b5704d-da1d-4b70-8e12-6d54d32b01a3" providerId="ADAL" clId="{20AD8B11-130C-4F68-9211-C0E7C90F8BEE}" dt="2023-06-08T15:12:46.530" v="10349" actId="1076"/>
          <ac:spMkLst>
            <pc:docMk/>
            <pc:sldMk cId="4236519743" sldId="2147471264"/>
            <ac:spMk id="5" creationId="{4F47CF54-CC45-F180-CE2D-602DBA4A0C6C}"/>
          </ac:spMkLst>
        </pc:spChg>
        <pc:spChg chg="del">
          <ac:chgData name="Paul LEGEARD" userId="73b5704d-da1d-4b70-8e12-6d54d32b01a3" providerId="ADAL" clId="{20AD8B11-130C-4F68-9211-C0E7C90F8BEE}" dt="2023-06-08T11:14:07.150" v="1531" actId="478"/>
          <ac:spMkLst>
            <pc:docMk/>
            <pc:sldMk cId="4236519743" sldId="2147471264"/>
            <ac:spMk id="6" creationId="{E7190827-7C3A-673B-8F59-F9E933EBA669}"/>
          </ac:spMkLst>
        </pc:spChg>
        <pc:spChg chg="del">
          <ac:chgData name="Paul LEGEARD" userId="73b5704d-da1d-4b70-8e12-6d54d32b01a3" providerId="ADAL" clId="{20AD8B11-130C-4F68-9211-C0E7C90F8BEE}" dt="2023-06-08T11:14:07.150" v="1531" actId="478"/>
          <ac:spMkLst>
            <pc:docMk/>
            <pc:sldMk cId="4236519743" sldId="2147471264"/>
            <ac:spMk id="7" creationId="{6A221B2A-47B6-4B7D-3E40-ACE7A800F594}"/>
          </ac:spMkLst>
        </pc:spChg>
        <pc:spChg chg="del">
          <ac:chgData name="Paul LEGEARD" userId="73b5704d-da1d-4b70-8e12-6d54d32b01a3" providerId="ADAL" clId="{20AD8B11-130C-4F68-9211-C0E7C90F8BEE}" dt="2023-06-08T11:14:07.150" v="1531" actId="478"/>
          <ac:spMkLst>
            <pc:docMk/>
            <pc:sldMk cId="4236519743" sldId="2147471264"/>
            <ac:spMk id="9" creationId="{AA32C707-753B-A840-F272-44486757DF75}"/>
          </ac:spMkLst>
        </pc:spChg>
        <pc:spChg chg="del">
          <ac:chgData name="Paul LEGEARD" userId="73b5704d-da1d-4b70-8e12-6d54d32b01a3" providerId="ADAL" clId="{20AD8B11-130C-4F68-9211-C0E7C90F8BEE}" dt="2023-06-08T11:14:07.150" v="1531" actId="478"/>
          <ac:spMkLst>
            <pc:docMk/>
            <pc:sldMk cId="4236519743" sldId="2147471264"/>
            <ac:spMk id="10" creationId="{953E5994-523B-62CF-8D9F-2AE1D854940C}"/>
          </ac:spMkLst>
        </pc:spChg>
        <pc:spChg chg="del">
          <ac:chgData name="Paul LEGEARD" userId="73b5704d-da1d-4b70-8e12-6d54d32b01a3" providerId="ADAL" clId="{20AD8B11-130C-4F68-9211-C0E7C90F8BEE}" dt="2023-06-08T11:14:03.662" v="1530" actId="478"/>
          <ac:spMkLst>
            <pc:docMk/>
            <pc:sldMk cId="4236519743" sldId="2147471264"/>
            <ac:spMk id="11" creationId="{0A7AD846-2AD5-9070-D477-49FE9F78CFD4}"/>
          </ac:spMkLst>
        </pc:spChg>
        <pc:spChg chg="add del mod">
          <ac:chgData name="Paul LEGEARD" userId="73b5704d-da1d-4b70-8e12-6d54d32b01a3" providerId="ADAL" clId="{20AD8B11-130C-4F68-9211-C0E7C90F8BEE}" dt="2023-06-08T14:04:23.235" v="6465" actId="478"/>
          <ac:spMkLst>
            <pc:docMk/>
            <pc:sldMk cId="4236519743" sldId="2147471264"/>
            <ac:spMk id="12" creationId="{FA27BF0D-353B-DD28-A2CA-0D2C0183C021}"/>
          </ac:spMkLst>
        </pc:spChg>
        <pc:spChg chg="add del mod">
          <ac:chgData name="Paul LEGEARD" userId="73b5704d-da1d-4b70-8e12-6d54d32b01a3" providerId="ADAL" clId="{20AD8B11-130C-4F68-9211-C0E7C90F8BEE}" dt="2023-06-08T14:04:16.568" v="6461" actId="478"/>
          <ac:spMkLst>
            <pc:docMk/>
            <pc:sldMk cId="4236519743" sldId="2147471264"/>
            <ac:spMk id="14" creationId="{F0AD6812-1539-6FF0-5A52-93C2419FB98A}"/>
          </ac:spMkLst>
        </pc:spChg>
        <pc:spChg chg="add del mod">
          <ac:chgData name="Paul LEGEARD" userId="73b5704d-da1d-4b70-8e12-6d54d32b01a3" providerId="ADAL" clId="{20AD8B11-130C-4F68-9211-C0E7C90F8BEE}" dt="2023-06-08T14:04:17.589" v="6462" actId="478"/>
          <ac:spMkLst>
            <pc:docMk/>
            <pc:sldMk cId="4236519743" sldId="2147471264"/>
            <ac:spMk id="15" creationId="{16353B0C-E978-A86A-06A1-EBD4434ED9BD}"/>
          </ac:spMkLst>
        </pc:spChg>
        <pc:spChg chg="add del mod">
          <ac:chgData name="Paul LEGEARD" userId="73b5704d-da1d-4b70-8e12-6d54d32b01a3" providerId="ADAL" clId="{20AD8B11-130C-4F68-9211-C0E7C90F8BEE}" dt="2023-06-08T14:04:19.432" v="6463" actId="478"/>
          <ac:spMkLst>
            <pc:docMk/>
            <pc:sldMk cId="4236519743" sldId="2147471264"/>
            <ac:spMk id="16" creationId="{082FA7C7-CD74-AD1B-F6F2-D801286A4A0E}"/>
          </ac:spMkLst>
        </pc:spChg>
        <pc:spChg chg="add del mod">
          <ac:chgData name="Paul LEGEARD" userId="73b5704d-da1d-4b70-8e12-6d54d32b01a3" providerId="ADAL" clId="{20AD8B11-130C-4F68-9211-C0E7C90F8BEE}" dt="2023-06-08T14:03:52.932" v="6452" actId="478"/>
          <ac:spMkLst>
            <pc:docMk/>
            <pc:sldMk cId="4236519743" sldId="2147471264"/>
            <ac:spMk id="18" creationId="{5029D032-1538-C13B-1E23-2B94C959BC55}"/>
          </ac:spMkLst>
        </pc:spChg>
        <pc:spChg chg="add del mod">
          <ac:chgData name="Paul LEGEARD" userId="73b5704d-da1d-4b70-8e12-6d54d32b01a3" providerId="ADAL" clId="{20AD8B11-130C-4F68-9211-C0E7C90F8BEE}" dt="2023-06-08T13:39:28.596" v="4520" actId="478"/>
          <ac:spMkLst>
            <pc:docMk/>
            <pc:sldMk cId="4236519743" sldId="2147471264"/>
            <ac:spMk id="20" creationId="{E52F7B9D-6BC3-00A1-AAA0-DB63D576672C}"/>
          </ac:spMkLst>
        </pc:spChg>
        <pc:spChg chg="add del mod">
          <ac:chgData name="Paul LEGEARD" userId="73b5704d-da1d-4b70-8e12-6d54d32b01a3" providerId="ADAL" clId="{20AD8B11-130C-4F68-9211-C0E7C90F8BEE}" dt="2023-06-08T13:39:28.596" v="4520" actId="478"/>
          <ac:spMkLst>
            <pc:docMk/>
            <pc:sldMk cId="4236519743" sldId="2147471264"/>
            <ac:spMk id="21" creationId="{EE72BEAE-4F0B-42EA-AC77-3A63B2E72980}"/>
          </ac:spMkLst>
        </pc:spChg>
        <pc:spChg chg="add del mod">
          <ac:chgData name="Paul LEGEARD" userId="73b5704d-da1d-4b70-8e12-6d54d32b01a3" providerId="ADAL" clId="{20AD8B11-130C-4F68-9211-C0E7C90F8BEE}" dt="2023-06-08T14:04:16.568" v="6461" actId="478"/>
          <ac:spMkLst>
            <pc:docMk/>
            <pc:sldMk cId="4236519743" sldId="2147471264"/>
            <ac:spMk id="22" creationId="{24F0FDE8-454F-D373-B437-E91798109F90}"/>
          </ac:spMkLst>
        </pc:spChg>
        <pc:spChg chg="add del mod">
          <ac:chgData name="Paul LEGEARD" userId="73b5704d-da1d-4b70-8e12-6d54d32b01a3" providerId="ADAL" clId="{20AD8B11-130C-4F68-9211-C0E7C90F8BEE}" dt="2023-06-08T14:04:17.589" v="6462" actId="478"/>
          <ac:spMkLst>
            <pc:docMk/>
            <pc:sldMk cId="4236519743" sldId="2147471264"/>
            <ac:spMk id="23" creationId="{3B361317-120F-BD02-3F6A-54A2091F27C3}"/>
          </ac:spMkLst>
        </pc:spChg>
        <pc:spChg chg="add del mod">
          <ac:chgData name="Paul LEGEARD" userId="73b5704d-da1d-4b70-8e12-6d54d32b01a3" providerId="ADAL" clId="{20AD8B11-130C-4F68-9211-C0E7C90F8BEE}" dt="2023-06-08T14:04:22.120" v="6464" actId="478"/>
          <ac:spMkLst>
            <pc:docMk/>
            <pc:sldMk cId="4236519743" sldId="2147471264"/>
            <ac:spMk id="24" creationId="{E80A9383-FAB1-F35C-EDEB-CA33232EA585}"/>
          </ac:spMkLst>
        </pc:spChg>
        <pc:spChg chg="add del mod">
          <ac:chgData name="Paul LEGEARD" userId="73b5704d-da1d-4b70-8e12-6d54d32b01a3" providerId="ADAL" clId="{20AD8B11-130C-4F68-9211-C0E7C90F8BEE}" dt="2023-06-08T14:04:22.120" v="6464" actId="478"/>
          <ac:spMkLst>
            <pc:docMk/>
            <pc:sldMk cId="4236519743" sldId="2147471264"/>
            <ac:spMk id="25" creationId="{B4E7FF89-A251-E077-FD10-5AE0AC25A5D2}"/>
          </ac:spMkLst>
        </pc:spChg>
        <pc:spChg chg="add del mod">
          <ac:chgData name="Paul LEGEARD" userId="73b5704d-da1d-4b70-8e12-6d54d32b01a3" providerId="ADAL" clId="{20AD8B11-130C-4F68-9211-C0E7C90F8BEE}" dt="2023-06-08T14:04:24.131" v="6466" actId="478"/>
          <ac:spMkLst>
            <pc:docMk/>
            <pc:sldMk cId="4236519743" sldId="2147471264"/>
            <ac:spMk id="26" creationId="{C490D7B0-A2AD-828A-96CC-D64E0D5398BA}"/>
          </ac:spMkLst>
        </pc:spChg>
        <pc:spChg chg="add mod">
          <ac:chgData name="Paul LEGEARD" userId="73b5704d-da1d-4b70-8e12-6d54d32b01a3" providerId="ADAL" clId="{20AD8B11-130C-4F68-9211-C0E7C90F8BEE}" dt="2023-06-08T15:12:46.530" v="10349" actId="1076"/>
          <ac:spMkLst>
            <pc:docMk/>
            <pc:sldMk cId="4236519743" sldId="2147471264"/>
            <ac:spMk id="31" creationId="{F18053AC-8254-F9BE-730C-5FFBC7151F83}"/>
          </ac:spMkLst>
        </pc:spChg>
        <pc:spChg chg="add del mod">
          <ac:chgData name="Paul LEGEARD" userId="73b5704d-da1d-4b70-8e12-6d54d32b01a3" providerId="ADAL" clId="{20AD8B11-130C-4F68-9211-C0E7C90F8BEE}" dt="2023-06-08T14:02:49.452" v="6334"/>
          <ac:spMkLst>
            <pc:docMk/>
            <pc:sldMk cId="4236519743" sldId="2147471264"/>
            <ac:spMk id="32" creationId="{E467E06C-CD03-48EB-6C95-C8AEEF6F4E91}"/>
          </ac:spMkLst>
        </pc:spChg>
        <pc:spChg chg="add mod">
          <ac:chgData name="Paul LEGEARD" userId="73b5704d-da1d-4b70-8e12-6d54d32b01a3" providerId="ADAL" clId="{20AD8B11-130C-4F68-9211-C0E7C90F8BEE}" dt="2023-06-08T15:12:46.530" v="10349" actId="1076"/>
          <ac:spMkLst>
            <pc:docMk/>
            <pc:sldMk cId="4236519743" sldId="2147471264"/>
            <ac:spMk id="33" creationId="{58107C33-23A8-0BA6-D16C-F87D1F716FB7}"/>
          </ac:spMkLst>
        </pc:spChg>
        <pc:spChg chg="add mod">
          <ac:chgData name="Paul LEGEARD" userId="73b5704d-da1d-4b70-8e12-6d54d32b01a3" providerId="ADAL" clId="{20AD8B11-130C-4F68-9211-C0E7C90F8BEE}" dt="2023-06-08T15:12:46.530" v="10349" actId="1076"/>
          <ac:spMkLst>
            <pc:docMk/>
            <pc:sldMk cId="4236519743" sldId="2147471264"/>
            <ac:spMk id="35" creationId="{13CFC449-3225-BD1B-F6D4-FEA1C3A0A5B3}"/>
          </ac:spMkLst>
        </pc:spChg>
        <pc:spChg chg="add del mod">
          <ac:chgData name="Paul LEGEARD" userId="73b5704d-da1d-4b70-8e12-6d54d32b01a3" providerId="ADAL" clId="{20AD8B11-130C-4F68-9211-C0E7C90F8BEE}" dt="2023-06-08T15:22:02.686" v="10997" actId="478"/>
          <ac:spMkLst>
            <pc:docMk/>
            <pc:sldMk cId="4236519743" sldId="2147471264"/>
            <ac:spMk id="37" creationId="{1A574E69-B042-6B5E-54AB-F48447EAE168}"/>
          </ac:spMkLst>
        </pc:spChg>
        <pc:spChg chg="add mod">
          <ac:chgData name="Paul LEGEARD" userId="73b5704d-da1d-4b70-8e12-6d54d32b01a3" providerId="ADAL" clId="{20AD8B11-130C-4F68-9211-C0E7C90F8BEE}" dt="2023-06-08T15:12:46.530" v="10349" actId="1076"/>
          <ac:spMkLst>
            <pc:docMk/>
            <pc:sldMk cId="4236519743" sldId="2147471264"/>
            <ac:spMk id="38" creationId="{4C5CA4DF-573B-A4DA-18E3-8553B2FA904D}"/>
          </ac:spMkLst>
        </pc:spChg>
        <pc:spChg chg="add del mod">
          <ac:chgData name="Paul LEGEARD" userId="73b5704d-da1d-4b70-8e12-6d54d32b01a3" providerId="ADAL" clId="{20AD8B11-130C-4F68-9211-C0E7C90F8BEE}" dt="2023-06-08T14:56:27.864" v="9696" actId="478"/>
          <ac:spMkLst>
            <pc:docMk/>
            <pc:sldMk cId="4236519743" sldId="2147471264"/>
            <ac:spMk id="39" creationId="{DFD66643-112D-F3DC-714B-B93B0760AB9E}"/>
          </ac:spMkLst>
        </pc:spChg>
        <pc:spChg chg="add del mod">
          <ac:chgData name="Paul LEGEARD" userId="73b5704d-da1d-4b70-8e12-6d54d32b01a3" providerId="ADAL" clId="{20AD8B11-130C-4F68-9211-C0E7C90F8BEE}" dt="2023-06-08T14:10:25.043" v="6797" actId="478"/>
          <ac:spMkLst>
            <pc:docMk/>
            <pc:sldMk cId="4236519743" sldId="2147471264"/>
            <ac:spMk id="42" creationId="{16F0F230-22E6-DFE0-89B7-548D12C7B36A}"/>
          </ac:spMkLst>
        </pc:spChg>
        <pc:spChg chg="add del mod">
          <ac:chgData name="Paul LEGEARD" userId="73b5704d-da1d-4b70-8e12-6d54d32b01a3" providerId="ADAL" clId="{20AD8B11-130C-4F68-9211-C0E7C90F8BEE}" dt="2023-06-08T14:45:01.860" v="9635" actId="478"/>
          <ac:spMkLst>
            <pc:docMk/>
            <pc:sldMk cId="4236519743" sldId="2147471264"/>
            <ac:spMk id="43" creationId="{49AFA8E6-D9D0-B998-2868-F9DB2CFDA039}"/>
          </ac:spMkLst>
        </pc:spChg>
        <pc:spChg chg="add del mod">
          <ac:chgData name="Paul LEGEARD" userId="73b5704d-da1d-4b70-8e12-6d54d32b01a3" providerId="ADAL" clId="{20AD8B11-130C-4F68-9211-C0E7C90F8BEE}" dt="2023-06-08T14:12:13.782" v="6948" actId="478"/>
          <ac:spMkLst>
            <pc:docMk/>
            <pc:sldMk cId="4236519743" sldId="2147471264"/>
            <ac:spMk id="44" creationId="{C34AF172-3BDF-118A-7A06-F1D8EA1E4EA9}"/>
          </ac:spMkLst>
        </pc:spChg>
        <pc:spChg chg="add del mod">
          <ac:chgData name="Paul LEGEARD" userId="73b5704d-da1d-4b70-8e12-6d54d32b01a3" providerId="ADAL" clId="{20AD8B11-130C-4F68-9211-C0E7C90F8BEE}" dt="2023-06-08T14:09:21.661" v="6783"/>
          <ac:spMkLst>
            <pc:docMk/>
            <pc:sldMk cId="4236519743" sldId="2147471264"/>
            <ac:spMk id="45" creationId="{F971A505-4AE5-096F-E448-F82AA3DB6CA6}"/>
          </ac:spMkLst>
        </pc:spChg>
        <pc:spChg chg="add del mod">
          <ac:chgData name="Paul LEGEARD" userId="73b5704d-da1d-4b70-8e12-6d54d32b01a3" providerId="ADAL" clId="{20AD8B11-130C-4F68-9211-C0E7C90F8BEE}" dt="2023-06-08T14:22:07.739" v="8098"/>
          <ac:spMkLst>
            <pc:docMk/>
            <pc:sldMk cId="4236519743" sldId="2147471264"/>
            <ac:spMk id="47" creationId="{94B60329-9D2A-FBF9-E84F-E2DF704059A6}"/>
          </ac:spMkLst>
        </pc:spChg>
        <pc:spChg chg="add del mod">
          <ac:chgData name="Paul LEGEARD" userId="73b5704d-da1d-4b70-8e12-6d54d32b01a3" providerId="ADAL" clId="{20AD8B11-130C-4F68-9211-C0E7C90F8BEE}" dt="2023-06-08T14:22:07.739" v="8100"/>
          <ac:spMkLst>
            <pc:docMk/>
            <pc:sldMk cId="4236519743" sldId="2147471264"/>
            <ac:spMk id="48" creationId="{1C8A8279-CC6A-C362-47E8-D25F270C7266}"/>
          </ac:spMkLst>
        </pc:spChg>
        <pc:spChg chg="add del mod">
          <ac:chgData name="Paul LEGEARD" userId="73b5704d-da1d-4b70-8e12-6d54d32b01a3" providerId="ADAL" clId="{20AD8B11-130C-4F68-9211-C0E7C90F8BEE}" dt="2023-06-08T14:26:36.038" v="8531" actId="478"/>
          <ac:spMkLst>
            <pc:docMk/>
            <pc:sldMk cId="4236519743" sldId="2147471264"/>
            <ac:spMk id="49" creationId="{6CC323A3-058D-82C6-1A66-5488E811DF8B}"/>
          </ac:spMkLst>
        </pc:spChg>
        <pc:spChg chg="add del mod">
          <ac:chgData name="Paul LEGEARD" userId="73b5704d-da1d-4b70-8e12-6d54d32b01a3" providerId="ADAL" clId="{20AD8B11-130C-4F68-9211-C0E7C90F8BEE}" dt="2023-06-08T14:26:36.038" v="8531" actId="478"/>
          <ac:spMkLst>
            <pc:docMk/>
            <pc:sldMk cId="4236519743" sldId="2147471264"/>
            <ac:spMk id="50" creationId="{E4D1666A-FB15-727B-915E-4C1CE30A05A3}"/>
          </ac:spMkLst>
        </pc:spChg>
        <pc:spChg chg="add del mod">
          <ac:chgData name="Paul LEGEARD" userId="73b5704d-da1d-4b70-8e12-6d54d32b01a3" providerId="ADAL" clId="{20AD8B11-130C-4F68-9211-C0E7C90F8BEE}" dt="2023-06-08T14:26:36.038" v="8531" actId="478"/>
          <ac:spMkLst>
            <pc:docMk/>
            <pc:sldMk cId="4236519743" sldId="2147471264"/>
            <ac:spMk id="51" creationId="{0CF5FE11-0C66-9B20-1F73-3FC923FEC594}"/>
          </ac:spMkLst>
        </pc:spChg>
        <pc:spChg chg="add del mod">
          <ac:chgData name="Paul LEGEARD" userId="73b5704d-da1d-4b70-8e12-6d54d32b01a3" providerId="ADAL" clId="{20AD8B11-130C-4F68-9211-C0E7C90F8BEE}" dt="2023-06-08T14:26:36.038" v="8531" actId="478"/>
          <ac:spMkLst>
            <pc:docMk/>
            <pc:sldMk cId="4236519743" sldId="2147471264"/>
            <ac:spMk id="52" creationId="{EA043A44-FB17-5513-EDA7-9F1ED29E2FB9}"/>
          </ac:spMkLst>
        </pc:spChg>
        <pc:spChg chg="add del mod">
          <ac:chgData name="Paul LEGEARD" userId="73b5704d-da1d-4b70-8e12-6d54d32b01a3" providerId="ADAL" clId="{20AD8B11-130C-4F68-9211-C0E7C90F8BEE}" dt="2023-06-08T14:39:28.796" v="9302" actId="478"/>
          <ac:spMkLst>
            <pc:docMk/>
            <pc:sldMk cId="4236519743" sldId="2147471264"/>
            <ac:spMk id="53" creationId="{BD95DB11-AAC6-EC5D-6A7E-FC85067378CF}"/>
          </ac:spMkLst>
        </pc:spChg>
        <pc:spChg chg="add del mod">
          <ac:chgData name="Paul LEGEARD" userId="73b5704d-da1d-4b70-8e12-6d54d32b01a3" providerId="ADAL" clId="{20AD8B11-130C-4F68-9211-C0E7C90F8BEE}" dt="2023-06-08T14:56:09.652" v="9693" actId="478"/>
          <ac:spMkLst>
            <pc:docMk/>
            <pc:sldMk cId="4236519743" sldId="2147471264"/>
            <ac:spMk id="57" creationId="{2B355A58-BF7E-F2AC-18E1-53B92C11CF29}"/>
          </ac:spMkLst>
        </pc:spChg>
        <pc:spChg chg="add del mod">
          <ac:chgData name="Paul LEGEARD" userId="73b5704d-da1d-4b70-8e12-6d54d32b01a3" providerId="ADAL" clId="{20AD8B11-130C-4F68-9211-C0E7C90F8BEE}" dt="2023-06-08T14:56:09.652" v="9693" actId="478"/>
          <ac:spMkLst>
            <pc:docMk/>
            <pc:sldMk cId="4236519743" sldId="2147471264"/>
            <ac:spMk id="58" creationId="{AE8AC025-8614-8106-4139-E17DFE42E563}"/>
          </ac:spMkLst>
        </pc:spChg>
        <pc:spChg chg="add del mod">
          <ac:chgData name="Paul LEGEARD" userId="73b5704d-da1d-4b70-8e12-6d54d32b01a3" providerId="ADAL" clId="{20AD8B11-130C-4F68-9211-C0E7C90F8BEE}" dt="2023-06-08T15:00:24.413" v="9921" actId="478"/>
          <ac:spMkLst>
            <pc:docMk/>
            <pc:sldMk cId="4236519743" sldId="2147471264"/>
            <ac:spMk id="61" creationId="{9A3E83CE-D683-96C4-B831-73B97C237D13}"/>
          </ac:spMkLst>
        </pc:spChg>
        <pc:spChg chg="add del mod">
          <ac:chgData name="Paul LEGEARD" userId="73b5704d-da1d-4b70-8e12-6d54d32b01a3" providerId="ADAL" clId="{20AD8B11-130C-4F68-9211-C0E7C90F8BEE}" dt="2023-06-08T15:22:01.225" v="10996" actId="478"/>
          <ac:spMkLst>
            <pc:docMk/>
            <pc:sldMk cId="4236519743" sldId="2147471264"/>
            <ac:spMk id="62" creationId="{E1408329-856E-3071-0F30-94EF8A6DCC6F}"/>
          </ac:spMkLst>
        </pc:spChg>
        <pc:spChg chg="add mod ord">
          <ac:chgData name="Paul LEGEARD" userId="73b5704d-da1d-4b70-8e12-6d54d32b01a3" providerId="ADAL" clId="{20AD8B11-130C-4F68-9211-C0E7C90F8BEE}" dt="2023-06-08T15:25:31.932" v="11274" actId="14100"/>
          <ac:spMkLst>
            <pc:docMk/>
            <pc:sldMk cId="4236519743" sldId="2147471264"/>
            <ac:spMk id="63" creationId="{A67A3625-94AF-0175-809D-EE929D98A1F9}"/>
          </ac:spMkLst>
        </pc:spChg>
        <pc:spChg chg="add del mod">
          <ac:chgData name="Paul LEGEARD" userId="73b5704d-da1d-4b70-8e12-6d54d32b01a3" providerId="ADAL" clId="{20AD8B11-130C-4F68-9211-C0E7C90F8BEE}" dt="2023-06-08T15:17:11.435" v="10706" actId="478"/>
          <ac:spMkLst>
            <pc:docMk/>
            <pc:sldMk cId="4236519743" sldId="2147471264"/>
            <ac:spMk id="64" creationId="{2C0844A1-DAB1-3864-1D67-EC8D879CDFC8}"/>
          </ac:spMkLst>
        </pc:spChg>
        <pc:spChg chg="add mod">
          <ac:chgData name="Paul LEGEARD" userId="73b5704d-da1d-4b70-8e12-6d54d32b01a3" providerId="ADAL" clId="{20AD8B11-130C-4F68-9211-C0E7C90F8BEE}" dt="2023-06-08T15:23:41.187" v="11178" actId="1076"/>
          <ac:spMkLst>
            <pc:docMk/>
            <pc:sldMk cId="4236519743" sldId="2147471264"/>
            <ac:spMk id="65" creationId="{F470B8AE-ECD3-0CC6-AEC4-3B5A1DC60E22}"/>
          </ac:spMkLst>
        </pc:spChg>
        <pc:spChg chg="add del mod ord">
          <ac:chgData name="Paul LEGEARD" userId="73b5704d-da1d-4b70-8e12-6d54d32b01a3" providerId="ADAL" clId="{20AD8B11-130C-4F68-9211-C0E7C90F8BEE}" dt="2023-06-08T15:16:18.995" v="10679" actId="478"/>
          <ac:spMkLst>
            <pc:docMk/>
            <pc:sldMk cId="4236519743" sldId="2147471264"/>
            <ac:spMk id="66" creationId="{C11A9F6D-979F-EE93-DDEE-52E2781C6F42}"/>
          </ac:spMkLst>
        </pc:spChg>
        <pc:spChg chg="add mod">
          <ac:chgData name="Paul LEGEARD" userId="73b5704d-da1d-4b70-8e12-6d54d32b01a3" providerId="ADAL" clId="{20AD8B11-130C-4F68-9211-C0E7C90F8BEE}" dt="2023-06-08T15:20:16.185" v="10802" actId="20577"/>
          <ac:spMkLst>
            <pc:docMk/>
            <pc:sldMk cId="4236519743" sldId="2147471264"/>
            <ac:spMk id="68" creationId="{B7FCE9C1-4BCC-82DE-283A-A2260E908F1A}"/>
          </ac:spMkLst>
        </pc:spChg>
        <pc:spChg chg="add mod">
          <ac:chgData name="Paul LEGEARD" userId="73b5704d-da1d-4b70-8e12-6d54d32b01a3" providerId="ADAL" clId="{20AD8B11-130C-4F68-9211-C0E7C90F8BEE}" dt="2023-06-08T15:22:15.480" v="11000" actId="164"/>
          <ac:spMkLst>
            <pc:docMk/>
            <pc:sldMk cId="4236519743" sldId="2147471264"/>
            <ac:spMk id="69" creationId="{F4205C45-DCC4-6E10-B107-B935499C9EF7}"/>
          </ac:spMkLst>
        </pc:spChg>
        <pc:spChg chg="add del mod ord">
          <ac:chgData name="Paul LEGEARD" userId="73b5704d-da1d-4b70-8e12-6d54d32b01a3" providerId="ADAL" clId="{20AD8B11-130C-4F68-9211-C0E7C90F8BEE}" dt="2023-06-08T15:22:02.686" v="10997" actId="478"/>
          <ac:spMkLst>
            <pc:docMk/>
            <pc:sldMk cId="4236519743" sldId="2147471264"/>
            <ac:spMk id="70" creationId="{E3E0DF36-3F37-7980-EF81-59428A435877}"/>
          </ac:spMkLst>
        </pc:spChg>
        <pc:spChg chg="add del mod">
          <ac:chgData name="Paul LEGEARD" userId="73b5704d-da1d-4b70-8e12-6d54d32b01a3" providerId="ADAL" clId="{20AD8B11-130C-4F68-9211-C0E7C90F8BEE}" dt="2023-06-08T15:18:24.179" v="10723" actId="478"/>
          <ac:spMkLst>
            <pc:docMk/>
            <pc:sldMk cId="4236519743" sldId="2147471264"/>
            <ac:spMk id="76" creationId="{A5D0D40C-AC8B-E748-15CE-8A3F60E7083D}"/>
          </ac:spMkLst>
        </pc:spChg>
        <pc:spChg chg="add mod topLvl">
          <ac:chgData name="Paul LEGEARD" userId="73b5704d-da1d-4b70-8e12-6d54d32b01a3" providerId="ADAL" clId="{20AD8B11-130C-4F68-9211-C0E7C90F8BEE}" dt="2023-06-08T15:24:12.845" v="11184" actId="14100"/>
          <ac:spMkLst>
            <pc:docMk/>
            <pc:sldMk cId="4236519743" sldId="2147471264"/>
            <ac:spMk id="77" creationId="{DF2FE499-BB75-93A2-17DA-C4BAE5EAE974}"/>
          </ac:spMkLst>
        </pc:spChg>
        <pc:grpChg chg="add mod">
          <ac:chgData name="Paul LEGEARD" userId="73b5704d-da1d-4b70-8e12-6d54d32b01a3" providerId="ADAL" clId="{20AD8B11-130C-4F68-9211-C0E7C90F8BEE}" dt="2023-06-08T15:24:08.378" v="11183" actId="554"/>
          <ac:grpSpMkLst>
            <pc:docMk/>
            <pc:sldMk cId="4236519743" sldId="2147471264"/>
            <ac:grpSpMk id="82" creationId="{267616E6-B24D-A407-4089-4A19EE3261BB}"/>
          </ac:grpSpMkLst>
        </pc:grpChg>
        <pc:grpChg chg="add del mod">
          <ac:chgData name="Paul LEGEARD" userId="73b5704d-da1d-4b70-8e12-6d54d32b01a3" providerId="ADAL" clId="{20AD8B11-130C-4F68-9211-C0E7C90F8BEE}" dt="2023-06-08T15:23:48.792" v="11179" actId="165"/>
          <ac:grpSpMkLst>
            <pc:docMk/>
            <pc:sldMk cId="4236519743" sldId="2147471264"/>
            <ac:grpSpMk id="83" creationId="{032DD3E7-B849-47E7-1B4F-456FD79E75BC}"/>
          </ac:grpSpMkLst>
        </pc:grpChg>
        <pc:grpChg chg="add mod">
          <ac:chgData name="Paul LEGEARD" userId="73b5704d-da1d-4b70-8e12-6d54d32b01a3" providerId="ADAL" clId="{20AD8B11-130C-4F68-9211-C0E7C90F8BEE}" dt="2023-06-08T15:24:08.378" v="11183" actId="554"/>
          <ac:grpSpMkLst>
            <pc:docMk/>
            <pc:sldMk cId="4236519743" sldId="2147471264"/>
            <ac:grpSpMk id="85" creationId="{9C9AEE61-3829-FB42-EC12-26A0FA22C808}"/>
          </ac:grpSpMkLst>
        </pc:grpChg>
        <pc:graphicFrameChg chg="add mod modGraphic">
          <ac:chgData name="Paul LEGEARD" userId="73b5704d-da1d-4b70-8e12-6d54d32b01a3" providerId="ADAL" clId="{20AD8B11-130C-4F68-9211-C0E7C90F8BEE}" dt="2023-06-08T15:25:28.028" v="11273" actId="113"/>
          <ac:graphicFrameMkLst>
            <pc:docMk/>
            <pc:sldMk cId="4236519743" sldId="2147471264"/>
            <ac:graphicFrameMk id="55" creationId="{36CDA96F-8EB3-629C-2FE6-7F67DDF7423D}"/>
          </ac:graphicFrameMkLst>
        </pc:graphicFrameChg>
        <pc:picChg chg="add del mod">
          <ac:chgData name="Paul LEGEARD" userId="73b5704d-da1d-4b70-8e12-6d54d32b01a3" providerId="ADAL" clId="{20AD8B11-130C-4F68-9211-C0E7C90F8BEE}" dt="2023-06-08T13:50:25.248" v="5513" actId="478"/>
          <ac:picMkLst>
            <pc:docMk/>
            <pc:sldMk cId="4236519743" sldId="2147471264"/>
            <ac:picMk id="2" creationId="{EE867344-0838-6539-2ECB-D876F599DCC3}"/>
          </ac:picMkLst>
        </pc:picChg>
        <pc:picChg chg="add mod ord">
          <ac:chgData name="Paul LEGEARD" userId="73b5704d-da1d-4b70-8e12-6d54d32b01a3" providerId="ADAL" clId="{20AD8B11-130C-4F68-9211-C0E7C90F8BEE}" dt="2023-06-08T15:12:46.530" v="10349" actId="1076"/>
          <ac:picMkLst>
            <pc:docMk/>
            <pc:sldMk cId="4236519743" sldId="2147471264"/>
            <ac:picMk id="13" creationId="{EF490FB7-FC0E-4A3A-DE8F-43B1D37F180E}"/>
          </ac:picMkLst>
        </pc:picChg>
        <pc:picChg chg="add del mod">
          <ac:chgData name="Paul LEGEARD" userId="73b5704d-da1d-4b70-8e12-6d54d32b01a3" providerId="ADAL" clId="{20AD8B11-130C-4F68-9211-C0E7C90F8BEE}" dt="2023-06-08T13:36:56.097" v="4364" actId="478"/>
          <ac:picMkLst>
            <pc:docMk/>
            <pc:sldMk cId="4236519743" sldId="2147471264"/>
            <ac:picMk id="17" creationId="{BA6C1A70-9902-54DC-2B1A-6065AD504F1B}"/>
          </ac:picMkLst>
        </pc:picChg>
        <pc:picChg chg="add mod ord modCrop">
          <ac:chgData name="Paul LEGEARD" userId="73b5704d-da1d-4b70-8e12-6d54d32b01a3" providerId="ADAL" clId="{20AD8B11-130C-4F68-9211-C0E7C90F8BEE}" dt="2023-06-08T15:12:46.530" v="10349" actId="1076"/>
          <ac:picMkLst>
            <pc:docMk/>
            <pc:sldMk cId="4236519743" sldId="2147471264"/>
            <ac:picMk id="19" creationId="{68C178E6-355A-7EB0-AA82-7C865A89936C}"/>
          </ac:picMkLst>
        </pc:picChg>
        <pc:picChg chg="add del mod">
          <ac:chgData name="Paul LEGEARD" userId="73b5704d-da1d-4b70-8e12-6d54d32b01a3" providerId="ADAL" clId="{20AD8B11-130C-4F68-9211-C0E7C90F8BEE}" dt="2023-06-08T14:04:24.131" v="6466" actId="478"/>
          <ac:picMkLst>
            <pc:docMk/>
            <pc:sldMk cId="4236519743" sldId="2147471264"/>
            <ac:picMk id="27" creationId="{07A59AE5-D6E2-4AA2-41CB-6CB8BC15EA7E}"/>
          </ac:picMkLst>
        </pc:picChg>
        <pc:picChg chg="add del mod">
          <ac:chgData name="Paul LEGEARD" userId="73b5704d-da1d-4b70-8e12-6d54d32b01a3" providerId="ADAL" clId="{20AD8B11-130C-4F68-9211-C0E7C90F8BEE}" dt="2023-06-08T14:09:59.875" v="6787" actId="478"/>
          <ac:picMkLst>
            <pc:docMk/>
            <pc:sldMk cId="4236519743" sldId="2147471264"/>
            <ac:picMk id="28" creationId="{F1E10D26-1642-5F7A-3C08-CC297AF68A38}"/>
          </ac:picMkLst>
        </pc:picChg>
        <pc:picChg chg="add del mod">
          <ac:chgData name="Paul LEGEARD" userId="73b5704d-da1d-4b70-8e12-6d54d32b01a3" providerId="ADAL" clId="{20AD8B11-130C-4F68-9211-C0E7C90F8BEE}" dt="2023-06-08T14:03:57.045" v="6454" actId="478"/>
          <ac:picMkLst>
            <pc:docMk/>
            <pc:sldMk cId="4236519743" sldId="2147471264"/>
            <ac:picMk id="29" creationId="{07AE8F72-E525-F08B-B0EC-6C78AD6BDDD3}"/>
          </ac:picMkLst>
        </pc:picChg>
        <pc:picChg chg="add del mod ord">
          <ac:chgData name="Paul LEGEARD" userId="73b5704d-da1d-4b70-8e12-6d54d32b01a3" providerId="ADAL" clId="{20AD8B11-130C-4F68-9211-C0E7C90F8BEE}" dt="2023-06-08T14:12:13.782" v="6948" actId="478"/>
          <ac:picMkLst>
            <pc:docMk/>
            <pc:sldMk cId="4236519743" sldId="2147471264"/>
            <ac:picMk id="30" creationId="{6875CA3E-6B2C-518B-74C5-98A41D64C1BB}"/>
          </ac:picMkLst>
        </pc:picChg>
        <pc:picChg chg="add del mod">
          <ac:chgData name="Paul LEGEARD" userId="73b5704d-da1d-4b70-8e12-6d54d32b01a3" providerId="ADAL" clId="{20AD8B11-130C-4F68-9211-C0E7C90F8BEE}" dt="2023-06-08T14:03:47.872" v="6450" actId="478"/>
          <ac:picMkLst>
            <pc:docMk/>
            <pc:sldMk cId="4236519743" sldId="2147471264"/>
            <ac:picMk id="34" creationId="{19066E08-454F-23F9-B5B2-81EF1DE08C4E}"/>
          </ac:picMkLst>
        </pc:picChg>
        <pc:picChg chg="add del mod">
          <ac:chgData name="Paul LEGEARD" userId="73b5704d-da1d-4b70-8e12-6d54d32b01a3" providerId="ADAL" clId="{20AD8B11-130C-4F68-9211-C0E7C90F8BEE}" dt="2023-06-08T14:39:28.796" v="9302" actId="478"/>
          <ac:picMkLst>
            <pc:docMk/>
            <pc:sldMk cId="4236519743" sldId="2147471264"/>
            <ac:picMk id="54" creationId="{3B394108-BDC3-940C-FE32-2C82578927C2}"/>
          </ac:picMkLst>
        </pc:picChg>
        <pc:picChg chg="add del mod">
          <ac:chgData name="Paul LEGEARD" userId="73b5704d-da1d-4b70-8e12-6d54d32b01a3" providerId="ADAL" clId="{20AD8B11-130C-4F68-9211-C0E7C90F8BEE}" dt="2023-06-08T15:00:01.099" v="9915" actId="21"/>
          <ac:picMkLst>
            <pc:docMk/>
            <pc:sldMk cId="4236519743" sldId="2147471264"/>
            <ac:picMk id="60" creationId="{939B6D9E-2798-2A26-DA07-FF806CFB2FD5}"/>
          </ac:picMkLst>
        </pc:picChg>
        <pc:picChg chg="add mod">
          <ac:chgData name="Paul LEGEARD" userId="73b5704d-da1d-4b70-8e12-6d54d32b01a3" providerId="ADAL" clId="{20AD8B11-130C-4F68-9211-C0E7C90F8BEE}" dt="2023-06-08T15:20:13.426" v="10792" actId="1076"/>
          <ac:picMkLst>
            <pc:docMk/>
            <pc:sldMk cId="4236519743" sldId="2147471264"/>
            <ac:picMk id="67" creationId="{B7C6AB3C-BC0B-1271-7170-FDAF578CC138}"/>
          </ac:picMkLst>
        </pc:picChg>
        <pc:picChg chg="add mod">
          <ac:chgData name="Paul LEGEARD" userId="73b5704d-da1d-4b70-8e12-6d54d32b01a3" providerId="ADAL" clId="{20AD8B11-130C-4F68-9211-C0E7C90F8BEE}" dt="2023-06-08T15:22:15.480" v="11000" actId="164"/>
          <ac:picMkLst>
            <pc:docMk/>
            <pc:sldMk cId="4236519743" sldId="2147471264"/>
            <ac:picMk id="71" creationId="{FEF28A20-EC2C-5201-0AC3-B32A94985235}"/>
          </ac:picMkLst>
        </pc:picChg>
        <pc:picChg chg="add del mod">
          <ac:chgData name="Paul LEGEARD" userId="73b5704d-da1d-4b70-8e12-6d54d32b01a3" providerId="ADAL" clId="{20AD8B11-130C-4F68-9211-C0E7C90F8BEE}" dt="2023-06-08T15:16:57.636" v="10700" actId="478"/>
          <ac:picMkLst>
            <pc:docMk/>
            <pc:sldMk cId="4236519743" sldId="2147471264"/>
            <ac:picMk id="72" creationId="{E03DD54D-9651-F667-25FF-D0A7AB426CFB}"/>
          </ac:picMkLst>
        </pc:picChg>
        <pc:picChg chg="add mod">
          <ac:chgData name="Paul LEGEARD" userId="73b5704d-da1d-4b70-8e12-6d54d32b01a3" providerId="ADAL" clId="{20AD8B11-130C-4F68-9211-C0E7C90F8BEE}" dt="2023-06-08T15:22:15.480" v="11000" actId="164"/>
          <ac:picMkLst>
            <pc:docMk/>
            <pc:sldMk cId="4236519743" sldId="2147471264"/>
            <ac:picMk id="73" creationId="{2F419D09-9C21-7618-4587-406A756922A9}"/>
          </ac:picMkLst>
        </pc:picChg>
        <pc:picChg chg="add mod">
          <ac:chgData name="Paul LEGEARD" userId="73b5704d-da1d-4b70-8e12-6d54d32b01a3" providerId="ADAL" clId="{20AD8B11-130C-4F68-9211-C0E7C90F8BEE}" dt="2023-06-08T15:22:15.480" v="11000" actId="164"/>
          <ac:picMkLst>
            <pc:docMk/>
            <pc:sldMk cId="4236519743" sldId="2147471264"/>
            <ac:picMk id="74" creationId="{009D0FA7-C2B6-12F4-8FFF-EE27FBBDD35E}"/>
          </ac:picMkLst>
        </pc:picChg>
        <pc:picChg chg="add mod topLvl">
          <ac:chgData name="Paul LEGEARD" userId="73b5704d-da1d-4b70-8e12-6d54d32b01a3" providerId="ADAL" clId="{20AD8B11-130C-4F68-9211-C0E7C90F8BEE}" dt="2023-06-08T15:23:59.995" v="11181" actId="164"/>
          <ac:picMkLst>
            <pc:docMk/>
            <pc:sldMk cId="4236519743" sldId="2147471264"/>
            <ac:picMk id="78" creationId="{75080B25-8C21-C414-9B8D-DB0A06C9C292}"/>
          </ac:picMkLst>
        </pc:picChg>
        <pc:picChg chg="add del mod">
          <ac:chgData name="Paul LEGEARD" userId="73b5704d-da1d-4b70-8e12-6d54d32b01a3" providerId="ADAL" clId="{20AD8B11-130C-4F68-9211-C0E7C90F8BEE}" dt="2023-06-08T15:20:42.639" v="10921" actId="478"/>
          <ac:picMkLst>
            <pc:docMk/>
            <pc:sldMk cId="4236519743" sldId="2147471264"/>
            <ac:picMk id="79" creationId="{50F5DD54-6D53-F34D-16D2-34416CAC94E3}"/>
          </ac:picMkLst>
        </pc:picChg>
        <pc:picChg chg="add del mod">
          <ac:chgData name="Paul LEGEARD" userId="73b5704d-da1d-4b70-8e12-6d54d32b01a3" providerId="ADAL" clId="{20AD8B11-130C-4F68-9211-C0E7C90F8BEE}" dt="2023-06-08T15:20:42.639" v="10921" actId="478"/>
          <ac:picMkLst>
            <pc:docMk/>
            <pc:sldMk cId="4236519743" sldId="2147471264"/>
            <ac:picMk id="80" creationId="{2408A1B6-70A0-61BC-AFB2-9B78EDA4B29D}"/>
          </ac:picMkLst>
        </pc:picChg>
        <pc:picChg chg="add mod topLvl">
          <ac:chgData name="Paul LEGEARD" userId="73b5704d-da1d-4b70-8e12-6d54d32b01a3" providerId="ADAL" clId="{20AD8B11-130C-4F68-9211-C0E7C90F8BEE}" dt="2023-06-08T15:23:59.995" v="11181" actId="164"/>
          <ac:picMkLst>
            <pc:docMk/>
            <pc:sldMk cId="4236519743" sldId="2147471264"/>
            <ac:picMk id="81" creationId="{E66471B0-3FDE-8150-5275-9F3A3C8CEFFD}"/>
          </ac:picMkLst>
        </pc:picChg>
        <pc:picChg chg="add mod">
          <ac:chgData name="Paul LEGEARD" userId="73b5704d-da1d-4b70-8e12-6d54d32b01a3" providerId="ADAL" clId="{20AD8B11-130C-4F68-9211-C0E7C90F8BEE}" dt="2023-06-08T15:23:59.995" v="11181" actId="164"/>
          <ac:picMkLst>
            <pc:docMk/>
            <pc:sldMk cId="4236519743" sldId="2147471264"/>
            <ac:picMk id="84" creationId="{8C622C0E-2663-E112-D25A-118F61486467}"/>
          </ac:picMkLst>
        </pc:picChg>
        <pc:cxnChg chg="add del mod">
          <ac:chgData name="Paul LEGEARD" userId="73b5704d-da1d-4b70-8e12-6d54d32b01a3" providerId="ADAL" clId="{20AD8B11-130C-4F68-9211-C0E7C90F8BEE}" dt="2023-06-08T14:45:41.808" v="9650" actId="478"/>
          <ac:cxnSpMkLst>
            <pc:docMk/>
            <pc:sldMk cId="4236519743" sldId="2147471264"/>
            <ac:cxnSpMk id="41" creationId="{9C1E64D7-E42A-8F8B-930E-B313B701B3CA}"/>
          </ac:cxnSpMkLst>
        </pc:cxnChg>
      </pc:sldChg>
      <pc:sldChg chg="addSp delSp modSp add del mod">
        <pc:chgData name="Paul LEGEARD" userId="73b5704d-da1d-4b70-8e12-6d54d32b01a3" providerId="ADAL" clId="{20AD8B11-130C-4F68-9211-C0E7C90F8BEE}" dt="2023-06-08T15:32:30.622" v="11937" actId="47"/>
        <pc:sldMkLst>
          <pc:docMk/>
          <pc:sldMk cId="1856837351" sldId="2147471265"/>
        </pc:sldMkLst>
        <pc:spChg chg="mod">
          <ac:chgData name="Paul LEGEARD" userId="73b5704d-da1d-4b70-8e12-6d54d32b01a3" providerId="ADAL" clId="{20AD8B11-130C-4F68-9211-C0E7C90F8BEE}" dt="2023-06-08T14:42:23.602" v="9531"/>
          <ac:spMkLst>
            <pc:docMk/>
            <pc:sldMk cId="1856837351" sldId="2147471265"/>
            <ac:spMk id="4" creationId="{A9E90669-ADF1-0205-02F9-4BC20DC5190D}"/>
          </ac:spMkLst>
        </pc:spChg>
        <pc:spChg chg="del">
          <ac:chgData name="Paul LEGEARD" userId="73b5704d-da1d-4b70-8e12-6d54d32b01a3" providerId="ADAL" clId="{20AD8B11-130C-4F68-9211-C0E7C90F8BEE}" dt="2023-06-08T14:30:44.779" v="8921" actId="478"/>
          <ac:spMkLst>
            <pc:docMk/>
            <pc:sldMk cId="1856837351" sldId="2147471265"/>
            <ac:spMk id="17" creationId="{A90494EA-D75D-B8C4-9CC5-587C58E0A5FC}"/>
          </ac:spMkLst>
        </pc:spChg>
        <pc:spChg chg="del">
          <ac:chgData name="Paul LEGEARD" userId="73b5704d-da1d-4b70-8e12-6d54d32b01a3" providerId="ADAL" clId="{20AD8B11-130C-4F68-9211-C0E7C90F8BEE}" dt="2023-06-08T14:30:44.779" v="8921" actId="478"/>
          <ac:spMkLst>
            <pc:docMk/>
            <pc:sldMk cId="1856837351" sldId="2147471265"/>
            <ac:spMk id="18" creationId="{3C202BFE-7ED8-5B43-B278-0D37550BB105}"/>
          </ac:spMkLst>
        </pc:spChg>
        <pc:spChg chg="mod">
          <ac:chgData name="Paul LEGEARD" userId="73b5704d-da1d-4b70-8e12-6d54d32b01a3" providerId="ADAL" clId="{20AD8B11-130C-4F68-9211-C0E7C90F8BEE}" dt="2023-06-08T14:30:42.674" v="8920" actId="313"/>
          <ac:spMkLst>
            <pc:docMk/>
            <pc:sldMk cId="1856837351" sldId="2147471265"/>
            <ac:spMk id="20" creationId="{EE9C5CA9-E467-A543-F854-564F10277C5A}"/>
          </ac:spMkLst>
        </pc:spChg>
        <pc:graphicFrameChg chg="add mod modGraphic">
          <ac:chgData name="Paul LEGEARD" userId="73b5704d-da1d-4b70-8e12-6d54d32b01a3" providerId="ADAL" clId="{20AD8B11-130C-4F68-9211-C0E7C90F8BEE}" dt="2023-06-08T14:41:43.611" v="9477" actId="20577"/>
          <ac:graphicFrameMkLst>
            <pc:docMk/>
            <pc:sldMk cId="1856837351" sldId="2147471265"/>
            <ac:graphicFrameMk id="2" creationId="{4BA35031-610B-0F8E-12EF-8D9C8F7347E9}"/>
          </ac:graphicFrameMkLst>
        </pc:graphicFrameChg>
        <pc:graphicFrameChg chg="del">
          <ac:chgData name="Paul LEGEARD" userId="73b5704d-da1d-4b70-8e12-6d54d32b01a3" providerId="ADAL" clId="{20AD8B11-130C-4F68-9211-C0E7C90F8BEE}" dt="2023-06-08T14:30:44.779" v="8921" actId="478"/>
          <ac:graphicFrameMkLst>
            <pc:docMk/>
            <pc:sldMk cId="1856837351" sldId="2147471265"/>
            <ac:graphicFrameMk id="3" creationId="{815BA094-A92D-6DCB-CEDF-3CC883305288}"/>
          </ac:graphicFrameMkLst>
        </pc:graphicFrameChg>
        <pc:graphicFrameChg chg="del">
          <ac:chgData name="Paul LEGEARD" userId="73b5704d-da1d-4b70-8e12-6d54d32b01a3" providerId="ADAL" clId="{20AD8B11-130C-4F68-9211-C0E7C90F8BEE}" dt="2023-06-08T14:30:44.779" v="8921" actId="478"/>
          <ac:graphicFrameMkLst>
            <pc:docMk/>
            <pc:sldMk cId="1856837351" sldId="2147471265"/>
            <ac:graphicFrameMk id="12" creationId="{0335D06E-512F-40EB-4D88-D85397C86A0D}"/>
          </ac:graphicFrameMkLst>
        </pc:graphicFrameChg>
        <pc:graphicFrameChg chg="del">
          <ac:chgData name="Paul LEGEARD" userId="73b5704d-da1d-4b70-8e12-6d54d32b01a3" providerId="ADAL" clId="{20AD8B11-130C-4F68-9211-C0E7C90F8BEE}" dt="2023-06-08T14:30:44.779" v="8921" actId="478"/>
          <ac:graphicFrameMkLst>
            <pc:docMk/>
            <pc:sldMk cId="1856837351" sldId="2147471265"/>
            <ac:graphicFrameMk id="13" creationId="{1E8CCEA4-5ECB-D5E1-D3DC-DB15CE291278}"/>
          </ac:graphicFrameMkLst>
        </pc:graphicFrameChg>
        <pc:picChg chg="del">
          <ac:chgData name="Paul LEGEARD" userId="73b5704d-da1d-4b70-8e12-6d54d32b01a3" providerId="ADAL" clId="{20AD8B11-130C-4F68-9211-C0E7C90F8BEE}" dt="2023-06-08T14:30:44.779" v="8921" actId="478"/>
          <ac:picMkLst>
            <pc:docMk/>
            <pc:sldMk cId="1856837351" sldId="2147471265"/>
            <ac:picMk id="19" creationId="{6BB92B80-66EA-51E7-9648-0FBFD3BE6A76}"/>
          </ac:picMkLst>
        </pc:picChg>
      </pc:sldChg>
      <pc:sldChg chg="addSp delSp modSp add del mod">
        <pc:chgData name="Paul LEGEARD" userId="73b5704d-da1d-4b70-8e12-6d54d32b01a3" providerId="ADAL" clId="{20AD8B11-130C-4F68-9211-C0E7C90F8BEE}" dt="2023-06-08T14:02:52.036" v="6336" actId="47"/>
        <pc:sldMkLst>
          <pc:docMk/>
          <pc:sldMk cId="2710175490" sldId="2147471265"/>
        </pc:sldMkLst>
        <pc:spChg chg="add mod ord">
          <ac:chgData name="Paul LEGEARD" userId="73b5704d-da1d-4b70-8e12-6d54d32b01a3" providerId="ADAL" clId="{20AD8B11-130C-4F68-9211-C0E7C90F8BEE}" dt="2023-06-08T13:58:28.285" v="5865" actId="14100"/>
          <ac:spMkLst>
            <pc:docMk/>
            <pc:sldMk cId="2710175490" sldId="2147471265"/>
            <ac:spMk id="2" creationId="{AA44AD77-4C82-7174-6B11-A5D0DB4C7CEF}"/>
          </ac:spMkLst>
        </pc:spChg>
        <pc:spChg chg="add mod">
          <ac:chgData name="Paul LEGEARD" userId="73b5704d-da1d-4b70-8e12-6d54d32b01a3" providerId="ADAL" clId="{20AD8B11-130C-4F68-9211-C0E7C90F8BEE}" dt="2023-06-08T13:58:47.521" v="5886" actId="1076"/>
          <ac:spMkLst>
            <pc:docMk/>
            <pc:sldMk cId="2710175490" sldId="2147471265"/>
            <ac:spMk id="3" creationId="{78150DCB-0756-830F-EBE6-55466E9247EB}"/>
          </ac:spMkLst>
        </pc:spChg>
        <pc:spChg chg="del">
          <ac:chgData name="Paul LEGEARD" userId="73b5704d-da1d-4b70-8e12-6d54d32b01a3" providerId="ADAL" clId="{20AD8B11-130C-4F68-9211-C0E7C90F8BEE}" dt="2023-06-08T13:57:54.879" v="5855" actId="478"/>
          <ac:spMkLst>
            <pc:docMk/>
            <pc:sldMk cId="2710175490" sldId="2147471265"/>
            <ac:spMk id="5" creationId="{4F47CF54-CC45-F180-CE2D-602DBA4A0C6C}"/>
          </ac:spMkLst>
        </pc:spChg>
        <pc:spChg chg="add mod">
          <ac:chgData name="Paul LEGEARD" userId="73b5704d-da1d-4b70-8e12-6d54d32b01a3" providerId="ADAL" clId="{20AD8B11-130C-4F68-9211-C0E7C90F8BEE}" dt="2023-06-08T13:59:31.748" v="6079" actId="20577"/>
          <ac:spMkLst>
            <pc:docMk/>
            <pc:sldMk cId="2710175490" sldId="2147471265"/>
            <ac:spMk id="6" creationId="{8AA28A3D-1DF3-D449-A31D-9ED9065A4DAC}"/>
          </ac:spMkLst>
        </pc:spChg>
        <pc:spChg chg="del">
          <ac:chgData name="Paul LEGEARD" userId="73b5704d-da1d-4b70-8e12-6d54d32b01a3" providerId="ADAL" clId="{20AD8B11-130C-4F68-9211-C0E7C90F8BEE}" dt="2023-06-08T13:57:54.879" v="5855" actId="478"/>
          <ac:spMkLst>
            <pc:docMk/>
            <pc:sldMk cId="2710175490" sldId="2147471265"/>
            <ac:spMk id="12" creationId="{FA27BF0D-353B-DD28-A2CA-0D2C0183C021}"/>
          </ac:spMkLst>
        </pc:spChg>
        <pc:spChg chg="del">
          <ac:chgData name="Paul LEGEARD" userId="73b5704d-da1d-4b70-8e12-6d54d32b01a3" providerId="ADAL" clId="{20AD8B11-130C-4F68-9211-C0E7C90F8BEE}" dt="2023-06-08T13:57:54.879" v="5855" actId="478"/>
          <ac:spMkLst>
            <pc:docMk/>
            <pc:sldMk cId="2710175490" sldId="2147471265"/>
            <ac:spMk id="14" creationId="{F0AD6812-1539-6FF0-5A52-93C2419FB98A}"/>
          </ac:spMkLst>
        </pc:spChg>
        <pc:spChg chg="del">
          <ac:chgData name="Paul LEGEARD" userId="73b5704d-da1d-4b70-8e12-6d54d32b01a3" providerId="ADAL" clId="{20AD8B11-130C-4F68-9211-C0E7C90F8BEE}" dt="2023-06-08T13:57:54.879" v="5855" actId="478"/>
          <ac:spMkLst>
            <pc:docMk/>
            <pc:sldMk cId="2710175490" sldId="2147471265"/>
            <ac:spMk id="15" creationId="{16353B0C-E978-A86A-06A1-EBD4434ED9BD}"/>
          </ac:spMkLst>
        </pc:spChg>
        <pc:spChg chg="del">
          <ac:chgData name="Paul LEGEARD" userId="73b5704d-da1d-4b70-8e12-6d54d32b01a3" providerId="ADAL" clId="{20AD8B11-130C-4F68-9211-C0E7C90F8BEE}" dt="2023-06-08T13:57:54.879" v="5855" actId="478"/>
          <ac:spMkLst>
            <pc:docMk/>
            <pc:sldMk cId="2710175490" sldId="2147471265"/>
            <ac:spMk id="16" creationId="{082FA7C7-CD74-AD1B-F6F2-D801286A4A0E}"/>
          </ac:spMkLst>
        </pc:spChg>
        <pc:spChg chg="del">
          <ac:chgData name="Paul LEGEARD" userId="73b5704d-da1d-4b70-8e12-6d54d32b01a3" providerId="ADAL" clId="{20AD8B11-130C-4F68-9211-C0E7C90F8BEE}" dt="2023-06-08T13:57:54.879" v="5855" actId="478"/>
          <ac:spMkLst>
            <pc:docMk/>
            <pc:sldMk cId="2710175490" sldId="2147471265"/>
            <ac:spMk id="18" creationId="{5029D032-1538-C13B-1E23-2B94C959BC55}"/>
          </ac:spMkLst>
        </pc:spChg>
        <pc:spChg chg="del">
          <ac:chgData name="Paul LEGEARD" userId="73b5704d-da1d-4b70-8e12-6d54d32b01a3" providerId="ADAL" clId="{20AD8B11-130C-4F68-9211-C0E7C90F8BEE}" dt="2023-06-08T13:57:54.879" v="5855" actId="478"/>
          <ac:spMkLst>
            <pc:docMk/>
            <pc:sldMk cId="2710175490" sldId="2147471265"/>
            <ac:spMk id="22" creationId="{24F0FDE8-454F-D373-B437-E91798109F90}"/>
          </ac:spMkLst>
        </pc:spChg>
        <pc:spChg chg="del">
          <ac:chgData name="Paul LEGEARD" userId="73b5704d-da1d-4b70-8e12-6d54d32b01a3" providerId="ADAL" clId="{20AD8B11-130C-4F68-9211-C0E7C90F8BEE}" dt="2023-06-08T13:57:54.879" v="5855" actId="478"/>
          <ac:spMkLst>
            <pc:docMk/>
            <pc:sldMk cId="2710175490" sldId="2147471265"/>
            <ac:spMk id="23" creationId="{3B361317-120F-BD02-3F6A-54A2091F27C3}"/>
          </ac:spMkLst>
        </pc:spChg>
        <pc:spChg chg="del">
          <ac:chgData name="Paul LEGEARD" userId="73b5704d-da1d-4b70-8e12-6d54d32b01a3" providerId="ADAL" clId="{20AD8B11-130C-4F68-9211-C0E7C90F8BEE}" dt="2023-06-08T13:57:54.879" v="5855" actId="478"/>
          <ac:spMkLst>
            <pc:docMk/>
            <pc:sldMk cId="2710175490" sldId="2147471265"/>
            <ac:spMk id="24" creationId="{E80A9383-FAB1-F35C-EDEB-CA33232EA585}"/>
          </ac:spMkLst>
        </pc:spChg>
        <pc:spChg chg="del">
          <ac:chgData name="Paul LEGEARD" userId="73b5704d-da1d-4b70-8e12-6d54d32b01a3" providerId="ADAL" clId="{20AD8B11-130C-4F68-9211-C0E7C90F8BEE}" dt="2023-06-08T13:57:54.879" v="5855" actId="478"/>
          <ac:spMkLst>
            <pc:docMk/>
            <pc:sldMk cId="2710175490" sldId="2147471265"/>
            <ac:spMk id="25" creationId="{B4E7FF89-A251-E077-FD10-5AE0AC25A5D2}"/>
          </ac:spMkLst>
        </pc:spChg>
        <pc:picChg chg="del">
          <ac:chgData name="Paul LEGEARD" userId="73b5704d-da1d-4b70-8e12-6d54d32b01a3" providerId="ADAL" clId="{20AD8B11-130C-4F68-9211-C0E7C90F8BEE}" dt="2023-06-08T13:57:54.879" v="5855" actId="478"/>
          <ac:picMkLst>
            <pc:docMk/>
            <pc:sldMk cId="2710175490" sldId="2147471265"/>
            <ac:picMk id="13" creationId="{EF490FB7-FC0E-4A3A-DE8F-43B1D37F180E}"/>
          </ac:picMkLst>
        </pc:picChg>
        <pc:picChg chg="del">
          <ac:chgData name="Paul LEGEARD" userId="73b5704d-da1d-4b70-8e12-6d54d32b01a3" providerId="ADAL" clId="{20AD8B11-130C-4F68-9211-C0E7C90F8BEE}" dt="2023-06-08T13:57:54.879" v="5855" actId="478"/>
          <ac:picMkLst>
            <pc:docMk/>
            <pc:sldMk cId="2710175490" sldId="2147471265"/>
            <ac:picMk id="19" creationId="{68C178E6-355A-7EB0-AA82-7C865A89936C}"/>
          </ac:picMkLst>
        </pc:picChg>
        <pc:picChg chg="mod">
          <ac:chgData name="Paul LEGEARD" userId="73b5704d-da1d-4b70-8e12-6d54d32b01a3" providerId="ADAL" clId="{20AD8B11-130C-4F68-9211-C0E7C90F8BEE}" dt="2023-06-08T13:58:51.429" v="5887" actId="1076"/>
          <ac:picMkLst>
            <pc:docMk/>
            <pc:sldMk cId="2710175490" sldId="2147471265"/>
            <ac:picMk id="28" creationId="{F1E10D26-1642-5F7A-3C08-CC297AF68A38}"/>
          </ac:picMkLst>
        </pc:picChg>
        <pc:picChg chg="del">
          <ac:chgData name="Paul LEGEARD" userId="73b5704d-da1d-4b70-8e12-6d54d32b01a3" providerId="ADAL" clId="{20AD8B11-130C-4F68-9211-C0E7C90F8BEE}" dt="2023-06-08T13:57:54.879" v="5855" actId="478"/>
          <ac:picMkLst>
            <pc:docMk/>
            <pc:sldMk cId="2710175490" sldId="2147471265"/>
            <ac:picMk id="29" creationId="{07AE8F72-E525-F08B-B0EC-6C78AD6BDDD3}"/>
          </ac:picMkLst>
        </pc:picChg>
      </pc:sldChg>
      <pc:sldChg chg="add del">
        <pc:chgData name="Paul LEGEARD" userId="73b5704d-da1d-4b70-8e12-6d54d32b01a3" providerId="ADAL" clId="{20AD8B11-130C-4F68-9211-C0E7C90F8BEE}" dt="2023-06-08T14:28:23.530" v="8606" actId="47"/>
        <pc:sldMkLst>
          <pc:docMk/>
          <pc:sldMk cId="811852162" sldId="2147471266"/>
        </pc:sldMkLst>
      </pc:sldChg>
      <pc:sldChg chg="modSp add del mod">
        <pc:chgData name="Paul LEGEARD" userId="73b5704d-da1d-4b70-8e12-6d54d32b01a3" providerId="ADAL" clId="{20AD8B11-130C-4F68-9211-C0E7C90F8BEE}" dt="2023-06-08T15:32:31.752" v="11938" actId="47"/>
        <pc:sldMkLst>
          <pc:docMk/>
          <pc:sldMk cId="3805540070" sldId="2147471266"/>
        </pc:sldMkLst>
        <pc:spChg chg="mod">
          <ac:chgData name="Paul LEGEARD" userId="73b5704d-da1d-4b70-8e12-6d54d32b01a3" providerId="ADAL" clId="{20AD8B11-130C-4F68-9211-C0E7C90F8BEE}" dt="2023-06-08T14:42:21.038" v="9529"/>
          <ac:spMkLst>
            <pc:docMk/>
            <pc:sldMk cId="3805540070" sldId="2147471266"/>
            <ac:spMk id="4" creationId="{A9E90669-ADF1-0205-02F9-4BC20DC5190D}"/>
          </ac:spMkLst>
        </pc:spChg>
      </pc:sldChg>
      <pc:sldChg chg="addSp delSp modSp add mod modCm">
        <pc:chgData name="Paul LEGEARD" userId="73b5704d-da1d-4b70-8e12-6d54d32b01a3" providerId="ADAL" clId="{20AD8B11-130C-4F68-9211-C0E7C90F8BEE}" dt="2023-06-08T16:19:55.810" v="15197" actId="20577"/>
        <pc:sldMkLst>
          <pc:docMk/>
          <pc:sldMk cId="2177110135" sldId="2147471267"/>
        </pc:sldMkLst>
        <pc:spChg chg="del">
          <ac:chgData name="Paul LEGEARD" userId="73b5704d-da1d-4b70-8e12-6d54d32b01a3" providerId="ADAL" clId="{20AD8B11-130C-4F68-9211-C0E7C90F8BEE}" dt="2023-06-08T15:29:23.481" v="11646" actId="478"/>
          <ac:spMkLst>
            <pc:docMk/>
            <pc:sldMk cId="2177110135" sldId="2147471267"/>
            <ac:spMk id="2" creationId="{AA707117-FF09-61AE-9555-0E6B975906A0}"/>
          </ac:spMkLst>
        </pc:spChg>
        <pc:spChg chg="del">
          <ac:chgData name="Paul LEGEARD" userId="73b5704d-da1d-4b70-8e12-6d54d32b01a3" providerId="ADAL" clId="{20AD8B11-130C-4F68-9211-C0E7C90F8BEE}" dt="2023-06-08T14:42:52.546" v="9588" actId="478"/>
          <ac:spMkLst>
            <pc:docMk/>
            <pc:sldMk cId="2177110135" sldId="2147471267"/>
            <ac:spMk id="3" creationId="{C6154FE8-19A4-7B8E-CE13-841D1FD4205C}"/>
          </ac:spMkLst>
        </pc:spChg>
        <pc:spChg chg="del">
          <ac:chgData name="Paul LEGEARD" userId="73b5704d-da1d-4b70-8e12-6d54d32b01a3" providerId="ADAL" clId="{20AD8B11-130C-4F68-9211-C0E7C90F8BEE}" dt="2023-06-08T15:29:29.396" v="11649" actId="478"/>
          <ac:spMkLst>
            <pc:docMk/>
            <pc:sldMk cId="2177110135" sldId="2147471267"/>
            <ac:spMk id="4" creationId="{3350D94B-7FA6-E746-6628-1880561CFA0B}"/>
          </ac:spMkLst>
        </pc:spChg>
        <pc:spChg chg="del">
          <ac:chgData name="Paul LEGEARD" userId="73b5704d-da1d-4b70-8e12-6d54d32b01a3" providerId="ADAL" clId="{20AD8B11-130C-4F68-9211-C0E7C90F8BEE}" dt="2023-06-08T14:42:52.546" v="9588" actId="478"/>
          <ac:spMkLst>
            <pc:docMk/>
            <pc:sldMk cId="2177110135" sldId="2147471267"/>
            <ac:spMk id="5" creationId="{6B543B9F-E89A-801D-539C-A0B24610F91F}"/>
          </ac:spMkLst>
        </pc:spChg>
        <pc:spChg chg="del">
          <ac:chgData name="Paul LEGEARD" userId="73b5704d-da1d-4b70-8e12-6d54d32b01a3" providerId="ADAL" clId="{20AD8B11-130C-4F68-9211-C0E7C90F8BEE}" dt="2023-06-08T14:42:52.546" v="9588" actId="478"/>
          <ac:spMkLst>
            <pc:docMk/>
            <pc:sldMk cId="2177110135" sldId="2147471267"/>
            <ac:spMk id="6" creationId="{494A461F-E0E0-D525-8587-0912F68B2F54}"/>
          </ac:spMkLst>
        </pc:spChg>
        <pc:spChg chg="add del mod">
          <ac:chgData name="Paul LEGEARD" userId="73b5704d-da1d-4b70-8e12-6d54d32b01a3" providerId="ADAL" clId="{20AD8B11-130C-4F68-9211-C0E7C90F8BEE}" dt="2023-06-08T15:29:17.127" v="11644" actId="478"/>
          <ac:spMkLst>
            <pc:docMk/>
            <pc:sldMk cId="2177110135" sldId="2147471267"/>
            <ac:spMk id="9" creationId="{D98080C2-C8F5-B66A-C0C5-9A8EF33884D5}"/>
          </ac:spMkLst>
        </pc:spChg>
        <pc:spChg chg="del">
          <ac:chgData name="Paul LEGEARD" userId="73b5704d-da1d-4b70-8e12-6d54d32b01a3" providerId="ADAL" clId="{20AD8B11-130C-4F68-9211-C0E7C90F8BEE}" dt="2023-06-08T15:29:24.571" v="11647" actId="478"/>
          <ac:spMkLst>
            <pc:docMk/>
            <pc:sldMk cId="2177110135" sldId="2147471267"/>
            <ac:spMk id="10" creationId="{9643954E-7215-DAD3-B05A-F99A95BA96E9}"/>
          </ac:spMkLst>
        </pc:spChg>
        <pc:spChg chg="del">
          <ac:chgData name="Paul LEGEARD" userId="73b5704d-da1d-4b70-8e12-6d54d32b01a3" providerId="ADAL" clId="{20AD8B11-130C-4F68-9211-C0E7C90F8BEE}" dt="2023-06-08T14:42:52.546" v="9588" actId="478"/>
          <ac:spMkLst>
            <pc:docMk/>
            <pc:sldMk cId="2177110135" sldId="2147471267"/>
            <ac:spMk id="11" creationId="{B50EB4F1-B8A6-DC57-093B-313A324FD905}"/>
          </ac:spMkLst>
        </pc:spChg>
        <pc:spChg chg="del">
          <ac:chgData name="Paul LEGEARD" userId="73b5704d-da1d-4b70-8e12-6d54d32b01a3" providerId="ADAL" clId="{20AD8B11-130C-4F68-9211-C0E7C90F8BEE}" dt="2023-06-08T14:42:52.546" v="9588" actId="478"/>
          <ac:spMkLst>
            <pc:docMk/>
            <pc:sldMk cId="2177110135" sldId="2147471267"/>
            <ac:spMk id="12" creationId="{AB56C53F-F78C-C840-EF0B-C43011837D14}"/>
          </ac:spMkLst>
        </pc:spChg>
        <pc:spChg chg="del">
          <ac:chgData name="Paul LEGEARD" userId="73b5704d-da1d-4b70-8e12-6d54d32b01a3" providerId="ADAL" clId="{20AD8B11-130C-4F68-9211-C0E7C90F8BEE}" dt="2023-06-08T15:29:24.571" v="11647" actId="478"/>
          <ac:spMkLst>
            <pc:docMk/>
            <pc:sldMk cId="2177110135" sldId="2147471267"/>
            <ac:spMk id="13" creationId="{3F4EBDEA-F574-1A12-DD22-F0B4A7FE4726}"/>
          </ac:spMkLst>
        </pc:spChg>
        <pc:spChg chg="del">
          <ac:chgData name="Paul LEGEARD" userId="73b5704d-da1d-4b70-8e12-6d54d32b01a3" providerId="ADAL" clId="{20AD8B11-130C-4F68-9211-C0E7C90F8BEE}" dt="2023-06-08T15:29:22.046" v="11645" actId="478"/>
          <ac:spMkLst>
            <pc:docMk/>
            <pc:sldMk cId="2177110135" sldId="2147471267"/>
            <ac:spMk id="14" creationId="{740064F7-1A9E-9F2A-4166-D26674E54198}"/>
          </ac:spMkLst>
        </pc:spChg>
        <pc:spChg chg="del">
          <ac:chgData name="Paul LEGEARD" userId="73b5704d-da1d-4b70-8e12-6d54d32b01a3" providerId="ADAL" clId="{20AD8B11-130C-4F68-9211-C0E7C90F8BEE}" dt="2023-06-08T15:29:22.046" v="11645" actId="478"/>
          <ac:spMkLst>
            <pc:docMk/>
            <pc:sldMk cId="2177110135" sldId="2147471267"/>
            <ac:spMk id="15" creationId="{62B758D9-0F57-54AA-D167-1D4F420D52E7}"/>
          </ac:spMkLst>
        </pc:spChg>
        <pc:spChg chg="add del mod">
          <ac:chgData name="Paul LEGEARD" userId="73b5704d-da1d-4b70-8e12-6d54d32b01a3" providerId="ADAL" clId="{20AD8B11-130C-4F68-9211-C0E7C90F8BEE}" dt="2023-06-08T15:36:19.021" v="12360" actId="478"/>
          <ac:spMkLst>
            <pc:docMk/>
            <pc:sldMk cId="2177110135" sldId="2147471267"/>
            <ac:spMk id="16" creationId="{02A4ED85-7581-D81A-73C0-12D3FC777055}"/>
          </ac:spMkLst>
        </pc:spChg>
        <pc:spChg chg="del">
          <ac:chgData name="Paul LEGEARD" userId="73b5704d-da1d-4b70-8e12-6d54d32b01a3" providerId="ADAL" clId="{20AD8B11-130C-4F68-9211-C0E7C90F8BEE}" dt="2023-06-08T14:42:52.546" v="9588" actId="478"/>
          <ac:spMkLst>
            <pc:docMk/>
            <pc:sldMk cId="2177110135" sldId="2147471267"/>
            <ac:spMk id="17" creationId="{C8721281-E55B-741B-2931-BB8EAD4F0048}"/>
          </ac:spMkLst>
        </pc:spChg>
        <pc:spChg chg="del">
          <ac:chgData name="Paul LEGEARD" userId="73b5704d-da1d-4b70-8e12-6d54d32b01a3" providerId="ADAL" clId="{20AD8B11-130C-4F68-9211-C0E7C90F8BEE}" dt="2023-06-08T14:42:52.546" v="9588" actId="478"/>
          <ac:spMkLst>
            <pc:docMk/>
            <pc:sldMk cId="2177110135" sldId="2147471267"/>
            <ac:spMk id="18" creationId="{35CAB8FF-6553-6C13-C733-657F724E1BBD}"/>
          </ac:spMkLst>
        </pc:spChg>
        <pc:spChg chg="del">
          <ac:chgData name="Paul LEGEARD" userId="73b5704d-da1d-4b70-8e12-6d54d32b01a3" providerId="ADAL" clId="{20AD8B11-130C-4F68-9211-C0E7C90F8BEE}" dt="2023-06-08T15:29:51.731" v="11687" actId="478"/>
          <ac:spMkLst>
            <pc:docMk/>
            <pc:sldMk cId="2177110135" sldId="2147471267"/>
            <ac:spMk id="19" creationId="{2DE54D53-BB21-D161-6ECA-96C11E048C25}"/>
          </ac:spMkLst>
        </pc:spChg>
        <pc:spChg chg="del">
          <ac:chgData name="Paul LEGEARD" userId="73b5704d-da1d-4b70-8e12-6d54d32b01a3" providerId="ADAL" clId="{20AD8B11-130C-4F68-9211-C0E7C90F8BEE}" dt="2023-06-08T15:29:22.046" v="11645" actId="478"/>
          <ac:spMkLst>
            <pc:docMk/>
            <pc:sldMk cId="2177110135" sldId="2147471267"/>
            <ac:spMk id="20" creationId="{F388DD47-5C11-0E2E-23ED-5DF7AEF45A46}"/>
          </ac:spMkLst>
        </pc:spChg>
        <pc:spChg chg="del">
          <ac:chgData name="Paul LEGEARD" userId="73b5704d-da1d-4b70-8e12-6d54d32b01a3" providerId="ADAL" clId="{20AD8B11-130C-4F68-9211-C0E7C90F8BEE}" dt="2023-06-08T14:42:52.546" v="9588" actId="478"/>
          <ac:spMkLst>
            <pc:docMk/>
            <pc:sldMk cId="2177110135" sldId="2147471267"/>
            <ac:spMk id="22" creationId="{B2040FC3-4D0A-B4A5-A7FF-D4F033F4693E}"/>
          </ac:spMkLst>
        </pc:spChg>
        <pc:spChg chg="del">
          <ac:chgData name="Paul LEGEARD" userId="73b5704d-da1d-4b70-8e12-6d54d32b01a3" providerId="ADAL" clId="{20AD8B11-130C-4F68-9211-C0E7C90F8BEE}" dt="2023-06-08T14:42:52.546" v="9588" actId="478"/>
          <ac:spMkLst>
            <pc:docMk/>
            <pc:sldMk cId="2177110135" sldId="2147471267"/>
            <ac:spMk id="24" creationId="{95C9AF9E-61B7-8EC0-4548-193075D5B0CB}"/>
          </ac:spMkLst>
        </pc:spChg>
        <pc:spChg chg="mod">
          <ac:chgData name="Paul LEGEARD" userId="73b5704d-da1d-4b70-8e12-6d54d32b01a3" providerId="ADAL" clId="{20AD8B11-130C-4F68-9211-C0E7C90F8BEE}" dt="2023-06-08T15:36:15.765" v="12359" actId="20577"/>
          <ac:spMkLst>
            <pc:docMk/>
            <pc:sldMk cId="2177110135" sldId="2147471267"/>
            <ac:spMk id="26" creationId="{41A6CDF1-5FA4-2074-AFDB-8D93C47E8F90}"/>
          </ac:spMkLst>
        </pc:spChg>
        <pc:spChg chg="del">
          <ac:chgData name="Paul LEGEARD" userId="73b5704d-da1d-4b70-8e12-6d54d32b01a3" providerId="ADAL" clId="{20AD8B11-130C-4F68-9211-C0E7C90F8BEE}" dt="2023-06-08T14:42:52.546" v="9588" actId="478"/>
          <ac:spMkLst>
            <pc:docMk/>
            <pc:sldMk cId="2177110135" sldId="2147471267"/>
            <ac:spMk id="27" creationId="{C989C203-8F43-8E95-9A94-03E973E6EF3C}"/>
          </ac:spMkLst>
        </pc:spChg>
        <pc:spChg chg="add del mod">
          <ac:chgData name="Paul LEGEARD" userId="73b5704d-da1d-4b70-8e12-6d54d32b01a3" providerId="ADAL" clId="{20AD8B11-130C-4F68-9211-C0E7C90F8BEE}" dt="2023-06-08T15:36:19.021" v="12360" actId="478"/>
          <ac:spMkLst>
            <pc:docMk/>
            <pc:sldMk cId="2177110135" sldId="2147471267"/>
            <ac:spMk id="29" creationId="{670631CB-F89F-4F42-A64B-BF114F04753E}"/>
          </ac:spMkLst>
        </pc:spChg>
        <pc:spChg chg="add del mod">
          <ac:chgData name="Paul LEGEARD" userId="73b5704d-da1d-4b70-8e12-6d54d32b01a3" providerId="ADAL" clId="{20AD8B11-130C-4F68-9211-C0E7C90F8BEE}" dt="2023-06-08T15:36:19.021" v="12360" actId="478"/>
          <ac:spMkLst>
            <pc:docMk/>
            <pc:sldMk cId="2177110135" sldId="2147471267"/>
            <ac:spMk id="30" creationId="{6A4773B1-38AF-AA75-53F4-EC17477D4CD3}"/>
          </ac:spMkLst>
        </pc:spChg>
        <pc:graphicFrameChg chg="del mod">
          <ac:chgData name="Paul LEGEARD" userId="73b5704d-da1d-4b70-8e12-6d54d32b01a3" providerId="ADAL" clId="{20AD8B11-130C-4F68-9211-C0E7C90F8BEE}" dt="2023-06-08T14:43:14.756" v="9592" actId="478"/>
          <ac:graphicFrameMkLst>
            <pc:docMk/>
            <pc:sldMk cId="2177110135" sldId="2147471267"/>
            <ac:graphicFrameMk id="7" creationId="{A49D62B9-21B0-2D7C-4A68-5AFABBC24BCA}"/>
          </ac:graphicFrameMkLst>
        </pc:graphicFrameChg>
        <pc:graphicFrameChg chg="add mod modGraphic">
          <ac:chgData name="Paul LEGEARD" userId="73b5704d-da1d-4b70-8e12-6d54d32b01a3" providerId="ADAL" clId="{20AD8B11-130C-4F68-9211-C0E7C90F8BEE}" dt="2023-06-08T16:19:55.810" v="15197" actId="20577"/>
          <ac:graphicFrameMkLst>
            <pc:docMk/>
            <pc:sldMk cId="2177110135" sldId="2147471267"/>
            <ac:graphicFrameMk id="31" creationId="{DB0FFF77-4836-FB6F-BD7B-4F1D0096B34A}"/>
          </ac:graphicFrameMkLst>
        </pc:graphicFrameChg>
        <pc:picChg chg="add del mod">
          <ac:chgData name="Paul LEGEARD" userId="73b5704d-da1d-4b70-8e12-6d54d32b01a3" providerId="ADAL" clId="{20AD8B11-130C-4F68-9211-C0E7C90F8BEE}" dt="2023-06-08T15:13:48.439" v="10425" actId="478"/>
          <ac:picMkLst>
            <pc:docMk/>
            <pc:sldMk cId="2177110135" sldId="2147471267"/>
            <ac:picMk id="8" creationId="{D5294517-CD24-2686-05B8-D1F3836CF526}"/>
          </ac:picMkLst>
        </pc:picChg>
        <pc:picChg chg="del">
          <ac:chgData name="Paul LEGEARD" userId="73b5704d-da1d-4b70-8e12-6d54d32b01a3" providerId="ADAL" clId="{20AD8B11-130C-4F68-9211-C0E7C90F8BEE}" dt="2023-06-08T14:43:16.688" v="9593" actId="478"/>
          <ac:picMkLst>
            <pc:docMk/>
            <pc:sldMk cId="2177110135" sldId="2147471267"/>
            <ac:picMk id="23" creationId="{6C6C0C68-E47A-055B-9091-F4CF36388496}"/>
          </ac:picMkLst>
        </pc:picChg>
        <pc:picChg chg="del">
          <ac:chgData name="Paul LEGEARD" userId="73b5704d-da1d-4b70-8e12-6d54d32b01a3" providerId="ADAL" clId="{20AD8B11-130C-4F68-9211-C0E7C90F8BEE}" dt="2023-06-08T14:43:16.688" v="9593" actId="478"/>
          <ac:picMkLst>
            <pc:docMk/>
            <pc:sldMk cId="2177110135" sldId="2147471267"/>
            <ac:picMk id="25" creationId="{EEECEE31-70C7-D4A6-BDD5-E42FE9AA48B1}"/>
          </ac:picMkLst>
        </pc:picChg>
        <pc:picChg chg="add del mod">
          <ac:chgData name="Paul LEGEARD" userId="73b5704d-da1d-4b70-8e12-6d54d32b01a3" providerId="ADAL" clId="{20AD8B11-130C-4F68-9211-C0E7C90F8BEE}" dt="2023-06-08T14:43:16.688" v="9593" actId="478"/>
          <ac:picMkLst>
            <pc:docMk/>
            <pc:sldMk cId="2177110135" sldId="2147471267"/>
            <ac:picMk id="28" creationId="{86C690FF-6B92-4703-56CA-D8954B78319D}"/>
          </ac:picMkLst>
        </pc:picChg>
        <pc:cxnChg chg="del">
          <ac:chgData name="Paul LEGEARD" userId="73b5704d-da1d-4b70-8e12-6d54d32b01a3" providerId="ADAL" clId="{20AD8B11-130C-4F68-9211-C0E7C90F8BEE}" dt="2023-06-08T15:29:28.123" v="11648" actId="478"/>
          <ac:cxnSpMkLst>
            <pc:docMk/>
            <pc:sldMk cId="2177110135" sldId="2147471267"/>
            <ac:cxnSpMk id="21" creationId="{67520091-C05B-1AC8-FAD9-2848320A3D5D}"/>
          </ac:cxnSpMkLst>
        </pc:cxnChg>
      </pc:sldChg>
      <pc:sldChg chg="addSp delSp modSp add del mod">
        <pc:chgData name="Paul LEGEARD" userId="73b5704d-da1d-4b70-8e12-6d54d32b01a3" providerId="ADAL" clId="{20AD8B11-130C-4F68-9211-C0E7C90F8BEE}" dt="2023-06-20T14:27:22.221" v="29897" actId="47"/>
        <pc:sldMkLst>
          <pc:docMk/>
          <pc:sldMk cId="995855184" sldId="2147471268"/>
        </pc:sldMkLst>
        <pc:spChg chg="add del mod">
          <ac:chgData name="Paul LEGEARD" userId="73b5704d-da1d-4b70-8e12-6d54d32b01a3" providerId="ADAL" clId="{20AD8B11-130C-4F68-9211-C0E7C90F8BEE}" dt="2023-06-09T07:45:46.537" v="17953" actId="478"/>
          <ac:spMkLst>
            <pc:docMk/>
            <pc:sldMk cId="995855184" sldId="2147471268"/>
            <ac:spMk id="2" creationId="{B54DD121-5A78-9FC8-B80B-779D992100A6}"/>
          </ac:spMkLst>
        </pc:spChg>
        <pc:spChg chg="add del mod">
          <ac:chgData name="Paul LEGEARD" userId="73b5704d-da1d-4b70-8e12-6d54d32b01a3" providerId="ADAL" clId="{20AD8B11-130C-4F68-9211-C0E7C90F8BEE}" dt="2023-06-12T11:54:02.842" v="26126" actId="478"/>
          <ac:spMkLst>
            <pc:docMk/>
            <pc:sldMk cId="995855184" sldId="2147471268"/>
            <ac:spMk id="3" creationId="{E6EF267B-0CC1-6EEE-2802-E92CBF6EF177}"/>
          </ac:spMkLst>
        </pc:spChg>
        <pc:spChg chg="mod">
          <ac:chgData name="Paul LEGEARD" userId="73b5704d-da1d-4b70-8e12-6d54d32b01a3" providerId="ADAL" clId="{20AD8B11-130C-4F68-9211-C0E7C90F8BEE}" dt="2023-06-12T12:25:39.792" v="27069" actId="20577"/>
          <ac:spMkLst>
            <pc:docMk/>
            <pc:sldMk cId="995855184" sldId="2147471268"/>
            <ac:spMk id="4" creationId="{52AFB3F8-88A7-4D69-8A52-45D00774625C}"/>
          </ac:spMkLst>
        </pc:spChg>
        <pc:spChg chg="del">
          <ac:chgData name="Paul LEGEARD" userId="73b5704d-da1d-4b70-8e12-6d54d32b01a3" providerId="ADAL" clId="{20AD8B11-130C-4F68-9211-C0E7C90F8BEE}" dt="2023-06-08T15:00:19.115" v="9919" actId="478"/>
          <ac:spMkLst>
            <pc:docMk/>
            <pc:sldMk cId="995855184" sldId="2147471268"/>
            <ac:spMk id="5" creationId="{4F47CF54-CC45-F180-CE2D-602DBA4A0C6C}"/>
          </ac:spMkLst>
        </pc:spChg>
        <pc:spChg chg="mod">
          <ac:chgData name="Paul LEGEARD" userId="73b5704d-da1d-4b70-8e12-6d54d32b01a3" providerId="ADAL" clId="{20AD8B11-130C-4F68-9211-C0E7C90F8BEE}" dt="2023-06-12T12:38:00.635" v="27139"/>
          <ac:spMkLst>
            <pc:docMk/>
            <pc:sldMk cId="995855184" sldId="2147471268"/>
            <ac:spMk id="7" creationId="{9A9BB5E3-9D22-6E4F-30BD-8F25EC84A5A1}"/>
          </ac:spMkLst>
        </pc:spChg>
        <pc:spChg chg="del mod">
          <ac:chgData name="Paul LEGEARD" userId="73b5704d-da1d-4b70-8e12-6d54d32b01a3" providerId="ADAL" clId="{20AD8B11-130C-4F68-9211-C0E7C90F8BEE}" dt="2023-06-12T12:38:06.919" v="27142" actId="478"/>
          <ac:spMkLst>
            <pc:docMk/>
            <pc:sldMk cId="995855184" sldId="2147471268"/>
            <ac:spMk id="9" creationId="{DFFC40B5-F22A-7293-1107-BAC40870F66B}"/>
          </ac:spMkLst>
        </pc:spChg>
        <pc:spChg chg="mod">
          <ac:chgData name="Paul LEGEARD" userId="73b5704d-da1d-4b70-8e12-6d54d32b01a3" providerId="ADAL" clId="{20AD8B11-130C-4F68-9211-C0E7C90F8BEE}" dt="2023-06-12T12:38:00.635" v="27139"/>
          <ac:spMkLst>
            <pc:docMk/>
            <pc:sldMk cId="995855184" sldId="2147471268"/>
            <ac:spMk id="10" creationId="{0F2E32D2-FD6C-3861-0AD5-7DD9063E61E1}"/>
          </ac:spMkLst>
        </pc:spChg>
        <pc:spChg chg="add del mod">
          <ac:chgData name="Paul LEGEARD" userId="73b5704d-da1d-4b70-8e12-6d54d32b01a3" providerId="ADAL" clId="{20AD8B11-130C-4F68-9211-C0E7C90F8BEE}" dt="2023-06-12T12:46:20.349" v="27754" actId="1036"/>
          <ac:spMkLst>
            <pc:docMk/>
            <pc:sldMk cId="995855184" sldId="2147471268"/>
            <ac:spMk id="11" creationId="{38DA4EE6-A138-CACC-AA9E-1751041F4E9D}"/>
          </ac:spMkLst>
        </pc:spChg>
        <pc:spChg chg="add mod">
          <ac:chgData name="Paul LEGEARD" userId="73b5704d-da1d-4b70-8e12-6d54d32b01a3" providerId="ADAL" clId="{20AD8B11-130C-4F68-9211-C0E7C90F8BEE}" dt="2023-06-12T12:44:54.641" v="27627" actId="404"/>
          <ac:spMkLst>
            <pc:docMk/>
            <pc:sldMk cId="995855184" sldId="2147471268"/>
            <ac:spMk id="12" creationId="{7C0F9AF9-5B8F-701F-5948-7738AE89F8A6}"/>
          </ac:spMkLst>
        </pc:spChg>
        <pc:spChg chg="add del mod">
          <ac:chgData name="Paul LEGEARD" userId="73b5704d-da1d-4b70-8e12-6d54d32b01a3" providerId="ADAL" clId="{20AD8B11-130C-4F68-9211-C0E7C90F8BEE}" dt="2023-06-12T12:39:16.184" v="27213" actId="478"/>
          <ac:spMkLst>
            <pc:docMk/>
            <pc:sldMk cId="995855184" sldId="2147471268"/>
            <ac:spMk id="13" creationId="{76C6E27C-AF12-5858-A572-6D4419844DE0}"/>
          </ac:spMkLst>
        </pc:spChg>
        <pc:spChg chg="add del mod">
          <ac:chgData name="Paul LEGEARD" userId="73b5704d-da1d-4b70-8e12-6d54d32b01a3" providerId="ADAL" clId="{20AD8B11-130C-4F68-9211-C0E7C90F8BEE}" dt="2023-06-12T12:39:11.475" v="27210" actId="478"/>
          <ac:spMkLst>
            <pc:docMk/>
            <pc:sldMk cId="995855184" sldId="2147471268"/>
            <ac:spMk id="14" creationId="{4218C163-93A8-1A51-8AF9-9B354ADDEAD9}"/>
          </ac:spMkLst>
        </pc:spChg>
        <pc:spChg chg="add mod">
          <ac:chgData name="Paul LEGEARD" userId="73b5704d-da1d-4b70-8e12-6d54d32b01a3" providerId="ADAL" clId="{20AD8B11-130C-4F68-9211-C0E7C90F8BEE}" dt="2023-06-12T12:44:54.641" v="27627" actId="404"/>
          <ac:spMkLst>
            <pc:docMk/>
            <pc:sldMk cId="995855184" sldId="2147471268"/>
            <ac:spMk id="15" creationId="{B20A5D1A-3D36-E551-4396-A28348DC69BF}"/>
          </ac:spMkLst>
        </pc:spChg>
        <pc:spChg chg="add mod">
          <ac:chgData name="Paul LEGEARD" userId="73b5704d-da1d-4b70-8e12-6d54d32b01a3" providerId="ADAL" clId="{20AD8B11-130C-4F68-9211-C0E7C90F8BEE}" dt="2023-06-12T12:45:26.497" v="27639" actId="1076"/>
          <ac:spMkLst>
            <pc:docMk/>
            <pc:sldMk cId="995855184" sldId="2147471268"/>
            <ac:spMk id="17" creationId="{69F8BE5E-BEC6-C678-9464-22F0B93BC3CC}"/>
          </ac:spMkLst>
        </pc:spChg>
        <pc:spChg chg="add mod">
          <ac:chgData name="Paul LEGEARD" userId="73b5704d-da1d-4b70-8e12-6d54d32b01a3" providerId="ADAL" clId="{20AD8B11-130C-4F68-9211-C0E7C90F8BEE}" dt="2023-06-12T12:45:26.497" v="27639" actId="1076"/>
          <ac:spMkLst>
            <pc:docMk/>
            <pc:sldMk cId="995855184" sldId="2147471268"/>
            <ac:spMk id="18" creationId="{583874E1-8609-8EE3-4DAB-1237A8A5B28D}"/>
          </ac:spMkLst>
        </pc:spChg>
        <pc:spChg chg="add mod">
          <ac:chgData name="Paul LEGEARD" userId="73b5704d-da1d-4b70-8e12-6d54d32b01a3" providerId="ADAL" clId="{20AD8B11-130C-4F68-9211-C0E7C90F8BEE}" dt="2023-06-12T12:45:32.471" v="27640" actId="1076"/>
          <ac:spMkLst>
            <pc:docMk/>
            <pc:sldMk cId="995855184" sldId="2147471268"/>
            <ac:spMk id="19" creationId="{9108F3C3-638C-43F9-E33F-C9035274F6C8}"/>
          </ac:spMkLst>
        </pc:spChg>
        <pc:spChg chg="add mod">
          <ac:chgData name="Paul LEGEARD" userId="73b5704d-da1d-4b70-8e12-6d54d32b01a3" providerId="ADAL" clId="{20AD8B11-130C-4F68-9211-C0E7C90F8BEE}" dt="2023-06-12T12:45:32.471" v="27640" actId="1076"/>
          <ac:spMkLst>
            <pc:docMk/>
            <pc:sldMk cId="995855184" sldId="2147471268"/>
            <ac:spMk id="20" creationId="{DF80B3D9-8D17-A125-BDD8-B2833A705C72}"/>
          </ac:spMkLst>
        </pc:spChg>
        <pc:spChg chg="add del mod">
          <ac:chgData name="Paul LEGEARD" userId="73b5704d-da1d-4b70-8e12-6d54d32b01a3" providerId="ADAL" clId="{20AD8B11-130C-4F68-9211-C0E7C90F8BEE}" dt="2023-06-12T12:44:50.793" v="27626" actId="478"/>
          <ac:spMkLst>
            <pc:docMk/>
            <pc:sldMk cId="995855184" sldId="2147471268"/>
            <ac:spMk id="21" creationId="{D50BCB4C-5414-7E16-5DDB-84DC01EDA804}"/>
          </ac:spMkLst>
        </pc:spChg>
        <pc:spChg chg="add mod">
          <ac:chgData name="Paul LEGEARD" userId="73b5704d-da1d-4b70-8e12-6d54d32b01a3" providerId="ADAL" clId="{20AD8B11-130C-4F68-9211-C0E7C90F8BEE}" dt="2023-06-12T12:44:54.641" v="27627" actId="404"/>
          <ac:spMkLst>
            <pc:docMk/>
            <pc:sldMk cId="995855184" sldId="2147471268"/>
            <ac:spMk id="22" creationId="{5CF647CC-0CE5-3247-89B5-A591D14395F8}"/>
          </ac:spMkLst>
        </pc:spChg>
        <pc:spChg chg="add mod">
          <ac:chgData name="Paul LEGEARD" userId="73b5704d-da1d-4b70-8e12-6d54d32b01a3" providerId="ADAL" clId="{20AD8B11-130C-4F68-9211-C0E7C90F8BEE}" dt="2023-06-12T12:45:56.029" v="27644" actId="14100"/>
          <ac:spMkLst>
            <pc:docMk/>
            <pc:sldMk cId="995855184" sldId="2147471268"/>
            <ac:spMk id="23" creationId="{7E7310D0-790F-B1BC-D14C-461E148584E9}"/>
          </ac:spMkLst>
        </pc:spChg>
        <pc:spChg chg="add mod">
          <ac:chgData name="Paul LEGEARD" userId="73b5704d-da1d-4b70-8e12-6d54d32b01a3" providerId="ADAL" clId="{20AD8B11-130C-4F68-9211-C0E7C90F8BEE}" dt="2023-06-12T12:46:42.783" v="27769" actId="1035"/>
          <ac:spMkLst>
            <pc:docMk/>
            <pc:sldMk cId="995855184" sldId="2147471268"/>
            <ac:spMk id="24" creationId="{60DD89E9-0BFB-1DD7-607C-ED8816D971CD}"/>
          </ac:spMkLst>
        </pc:spChg>
        <pc:spChg chg="add mod">
          <ac:chgData name="Paul LEGEARD" userId="73b5704d-da1d-4b70-8e12-6d54d32b01a3" providerId="ADAL" clId="{20AD8B11-130C-4F68-9211-C0E7C90F8BEE}" dt="2023-06-12T12:46:55.983" v="27775" actId="14100"/>
          <ac:spMkLst>
            <pc:docMk/>
            <pc:sldMk cId="995855184" sldId="2147471268"/>
            <ac:spMk id="25" creationId="{DF451DDA-C126-D302-08EA-66E481E0C105}"/>
          </ac:spMkLst>
        </pc:spChg>
        <pc:spChg chg="add mod">
          <ac:chgData name="Paul LEGEARD" userId="73b5704d-da1d-4b70-8e12-6d54d32b01a3" providerId="ADAL" clId="{20AD8B11-130C-4F68-9211-C0E7C90F8BEE}" dt="2023-06-12T12:47:16.273" v="27846" actId="1035"/>
          <ac:spMkLst>
            <pc:docMk/>
            <pc:sldMk cId="995855184" sldId="2147471268"/>
            <ac:spMk id="26" creationId="{7A2DDFCF-5191-C95D-05EB-41756255B186}"/>
          </ac:spMkLst>
        </pc:spChg>
        <pc:spChg chg="add mod">
          <ac:chgData name="Paul LEGEARD" userId="73b5704d-da1d-4b70-8e12-6d54d32b01a3" providerId="ADAL" clId="{20AD8B11-130C-4F68-9211-C0E7C90F8BEE}" dt="2023-06-12T12:47:24.964" v="27848" actId="1076"/>
          <ac:spMkLst>
            <pc:docMk/>
            <pc:sldMk cId="995855184" sldId="2147471268"/>
            <ac:spMk id="27" creationId="{CDBFAC44-657D-A2B8-82F5-4BB1AE23B074}"/>
          </ac:spMkLst>
        </pc:spChg>
        <pc:spChg chg="add mod">
          <ac:chgData name="Paul LEGEARD" userId="73b5704d-da1d-4b70-8e12-6d54d32b01a3" providerId="ADAL" clId="{20AD8B11-130C-4F68-9211-C0E7C90F8BEE}" dt="2023-06-12T12:47:28.990" v="27861" actId="20577"/>
          <ac:spMkLst>
            <pc:docMk/>
            <pc:sldMk cId="995855184" sldId="2147471268"/>
            <ac:spMk id="28" creationId="{F9DB9259-2A39-EDCC-55D9-FC6A3583F15D}"/>
          </ac:spMkLst>
        </pc:spChg>
        <pc:spChg chg="add mod">
          <ac:chgData name="Paul LEGEARD" userId="73b5704d-da1d-4b70-8e12-6d54d32b01a3" providerId="ADAL" clId="{20AD8B11-130C-4F68-9211-C0E7C90F8BEE}" dt="2023-06-12T12:48:59.248" v="27980" actId="207"/>
          <ac:spMkLst>
            <pc:docMk/>
            <pc:sldMk cId="995855184" sldId="2147471268"/>
            <ac:spMk id="29" creationId="{DB7DF7DC-51B9-3A1C-0B0B-2162FC1F05A7}"/>
          </ac:spMkLst>
        </pc:spChg>
        <pc:spChg chg="add mod">
          <ac:chgData name="Paul LEGEARD" userId="73b5704d-da1d-4b70-8e12-6d54d32b01a3" providerId="ADAL" clId="{20AD8B11-130C-4F68-9211-C0E7C90F8BEE}" dt="2023-06-12T12:49:28.737" v="28097" actId="20577"/>
          <ac:spMkLst>
            <pc:docMk/>
            <pc:sldMk cId="995855184" sldId="2147471268"/>
            <ac:spMk id="30" creationId="{E49460F4-0421-575E-274C-82F32C10F6A3}"/>
          </ac:spMkLst>
        </pc:spChg>
        <pc:spChg chg="del">
          <ac:chgData name="Paul LEGEARD" userId="73b5704d-da1d-4b70-8e12-6d54d32b01a3" providerId="ADAL" clId="{20AD8B11-130C-4F68-9211-C0E7C90F8BEE}" dt="2023-06-08T15:00:19.115" v="9919" actId="478"/>
          <ac:spMkLst>
            <pc:docMk/>
            <pc:sldMk cId="995855184" sldId="2147471268"/>
            <ac:spMk id="31" creationId="{F18053AC-8254-F9BE-730C-5FFBC7151F83}"/>
          </ac:spMkLst>
        </pc:spChg>
        <pc:spChg chg="del">
          <ac:chgData name="Paul LEGEARD" userId="73b5704d-da1d-4b70-8e12-6d54d32b01a3" providerId="ADAL" clId="{20AD8B11-130C-4F68-9211-C0E7C90F8BEE}" dt="2023-06-08T15:00:19.115" v="9919" actId="478"/>
          <ac:spMkLst>
            <pc:docMk/>
            <pc:sldMk cId="995855184" sldId="2147471268"/>
            <ac:spMk id="33" creationId="{58107C33-23A8-0BA6-D16C-F87D1F716FB7}"/>
          </ac:spMkLst>
        </pc:spChg>
        <pc:spChg chg="del">
          <ac:chgData name="Paul LEGEARD" userId="73b5704d-da1d-4b70-8e12-6d54d32b01a3" providerId="ADAL" clId="{20AD8B11-130C-4F68-9211-C0E7C90F8BEE}" dt="2023-06-08T15:00:19.115" v="9919" actId="478"/>
          <ac:spMkLst>
            <pc:docMk/>
            <pc:sldMk cId="995855184" sldId="2147471268"/>
            <ac:spMk id="35" creationId="{13CFC449-3225-BD1B-F6D4-FEA1C3A0A5B3}"/>
          </ac:spMkLst>
        </pc:spChg>
        <pc:spChg chg="del">
          <ac:chgData name="Paul LEGEARD" userId="73b5704d-da1d-4b70-8e12-6d54d32b01a3" providerId="ADAL" clId="{20AD8B11-130C-4F68-9211-C0E7C90F8BEE}" dt="2023-06-08T15:00:15.064" v="9916" actId="478"/>
          <ac:spMkLst>
            <pc:docMk/>
            <pc:sldMk cId="995855184" sldId="2147471268"/>
            <ac:spMk id="37" creationId="{1A574E69-B042-6B5E-54AB-F48447EAE168}"/>
          </ac:spMkLst>
        </pc:spChg>
        <pc:spChg chg="del">
          <ac:chgData name="Paul LEGEARD" userId="73b5704d-da1d-4b70-8e12-6d54d32b01a3" providerId="ADAL" clId="{20AD8B11-130C-4F68-9211-C0E7C90F8BEE}" dt="2023-06-08T15:00:19.115" v="9919" actId="478"/>
          <ac:spMkLst>
            <pc:docMk/>
            <pc:sldMk cId="995855184" sldId="2147471268"/>
            <ac:spMk id="38" creationId="{4C5CA4DF-573B-A4DA-18E3-8553B2FA904D}"/>
          </ac:spMkLst>
        </pc:spChg>
        <pc:spChg chg="del">
          <ac:chgData name="Paul LEGEARD" userId="73b5704d-da1d-4b70-8e12-6d54d32b01a3" providerId="ADAL" clId="{20AD8B11-130C-4F68-9211-C0E7C90F8BEE}" dt="2023-06-08T15:00:20.529" v="9920" actId="478"/>
          <ac:spMkLst>
            <pc:docMk/>
            <pc:sldMk cId="995855184" sldId="2147471268"/>
            <ac:spMk id="61" creationId="{9A3E83CE-D683-96C4-B831-73B97C237D13}"/>
          </ac:spMkLst>
        </pc:spChg>
        <pc:grpChg chg="add del mod">
          <ac:chgData name="Paul LEGEARD" userId="73b5704d-da1d-4b70-8e12-6d54d32b01a3" providerId="ADAL" clId="{20AD8B11-130C-4F68-9211-C0E7C90F8BEE}" dt="2023-06-12T12:38:18.721" v="27145" actId="478"/>
          <ac:grpSpMkLst>
            <pc:docMk/>
            <pc:sldMk cId="995855184" sldId="2147471268"/>
            <ac:grpSpMk id="6" creationId="{7F124499-7F9B-C2DF-1194-52EB6CDB4918}"/>
          </ac:grpSpMkLst>
        </pc:grpChg>
        <pc:graphicFrameChg chg="add mod modGraphic">
          <ac:chgData name="Paul LEGEARD" userId="73b5704d-da1d-4b70-8e12-6d54d32b01a3" providerId="ADAL" clId="{20AD8B11-130C-4F68-9211-C0E7C90F8BEE}" dt="2023-06-12T12:37:32.277" v="27129" actId="1076"/>
          <ac:graphicFrameMkLst>
            <pc:docMk/>
            <pc:sldMk cId="995855184" sldId="2147471268"/>
            <ac:graphicFrameMk id="2" creationId="{280A68E3-6662-5342-C112-0C455FB90B6E}"/>
          </ac:graphicFrameMkLst>
        </pc:graphicFrameChg>
        <pc:graphicFrameChg chg="add mod modGraphic">
          <ac:chgData name="Paul LEGEARD" userId="73b5704d-da1d-4b70-8e12-6d54d32b01a3" providerId="ADAL" clId="{20AD8B11-130C-4F68-9211-C0E7C90F8BEE}" dt="2023-06-12T12:46:44.480" v="27770" actId="14100"/>
          <ac:graphicFrameMkLst>
            <pc:docMk/>
            <pc:sldMk cId="995855184" sldId="2147471268"/>
            <ac:graphicFrameMk id="5" creationId="{EAB0E058-927F-BB43-E04C-98268A80645D}"/>
          </ac:graphicFrameMkLst>
        </pc:graphicFrameChg>
        <pc:graphicFrameChg chg="add mod modGraphic">
          <ac:chgData name="Paul LEGEARD" userId="73b5704d-da1d-4b70-8e12-6d54d32b01a3" providerId="ADAL" clId="{20AD8B11-130C-4F68-9211-C0E7C90F8BEE}" dt="2023-06-15T11:02:39.739" v="29854" actId="207"/>
          <ac:graphicFrameMkLst>
            <pc:docMk/>
            <pc:sldMk cId="995855184" sldId="2147471268"/>
            <ac:graphicFrameMk id="16" creationId="{77C0BDB6-D186-9855-90A3-B118F9D48880}"/>
          </ac:graphicFrameMkLst>
        </pc:graphicFrameChg>
        <pc:graphicFrameChg chg="del">
          <ac:chgData name="Paul LEGEARD" userId="73b5704d-da1d-4b70-8e12-6d54d32b01a3" providerId="ADAL" clId="{20AD8B11-130C-4F68-9211-C0E7C90F8BEE}" dt="2023-06-08T15:00:19.115" v="9919" actId="478"/>
          <ac:graphicFrameMkLst>
            <pc:docMk/>
            <pc:sldMk cId="995855184" sldId="2147471268"/>
            <ac:graphicFrameMk id="55" creationId="{36CDA96F-8EB3-629C-2FE6-7F67DDF7423D}"/>
          </ac:graphicFrameMkLst>
        </pc:graphicFrameChg>
        <pc:picChg chg="del">
          <ac:chgData name="Paul LEGEARD" userId="73b5704d-da1d-4b70-8e12-6d54d32b01a3" providerId="ADAL" clId="{20AD8B11-130C-4F68-9211-C0E7C90F8BEE}" dt="2023-06-08T15:00:19.115" v="9919" actId="478"/>
          <ac:picMkLst>
            <pc:docMk/>
            <pc:sldMk cId="995855184" sldId="2147471268"/>
            <ac:picMk id="13" creationId="{EF490FB7-FC0E-4A3A-DE8F-43B1D37F180E}"/>
          </ac:picMkLst>
        </pc:picChg>
        <pc:picChg chg="del">
          <ac:chgData name="Paul LEGEARD" userId="73b5704d-da1d-4b70-8e12-6d54d32b01a3" providerId="ADAL" clId="{20AD8B11-130C-4F68-9211-C0E7C90F8BEE}" dt="2023-06-08T15:00:19.115" v="9919" actId="478"/>
          <ac:picMkLst>
            <pc:docMk/>
            <pc:sldMk cId="995855184" sldId="2147471268"/>
            <ac:picMk id="19" creationId="{68C178E6-355A-7EB0-AA82-7C865A89936C}"/>
          </ac:picMkLst>
        </pc:picChg>
        <pc:picChg chg="del">
          <ac:chgData name="Paul LEGEARD" userId="73b5704d-da1d-4b70-8e12-6d54d32b01a3" providerId="ADAL" clId="{20AD8B11-130C-4F68-9211-C0E7C90F8BEE}" dt="2023-06-08T15:00:19.115" v="9919" actId="478"/>
          <ac:picMkLst>
            <pc:docMk/>
            <pc:sldMk cId="995855184" sldId="2147471268"/>
            <ac:picMk id="60" creationId="{939B6D9E-2798-2A26-DA07-FF806CFB2FD5}"/>
          </ac:picMkLst>
        </pc:picChg>
      </pc:sldChg>
      <pc:sldChg chg="delSp modSp add del mod modCm">
        <pc:chgData name="Paul LEGEARD" userId="73b5704d-da1d-4b70-8e12-6d54d32b01a3" providerId="ADAL" clId="{20AD8B11-130C-4F68-9211-C0E7C90F8BEE}" dt="2023-06-08T16:13:37.671" v="14598" actId="47"/>
        <pc:sldMkLst>
          <pc:docMk/>
          <pc:sldMk cId="550709271" sldId="2147471269"/>
        </pc:sldMkLst>
        <pc:spChg chg="mod">
          <ac:chgData name="Paul LEGEARD" userId="73b5704d-da1d-4b70-8e12-6d54d32b01a3" providerId="ADAL" clId="{20AD8B11-130C-4F68-9211-C0E7C90F8BEE}" dt="2023-06-08T15:41:37.534" v="12465" actId="20577"/>
          <ac:spMkLst>
            <pc:docMk/>
            <pc:sldMk cId="550709271" sldId="2147471269"/>
            <ac:spMk id="26" creationId="{41A6CDF1-5FA4-2074-AFDB-8D93C47E8F90}"/>
          </ac:spMkLst>
        </pc:spChg>
        <pc:graphicFrameChg chg="del">
          <ac:chgData name="Paul LEGEARD" userId="73b5704d-da1d-4b70-8e12-6d54d32b01a3" providerId="ADAL" clId="{20AD8B11-130C-4F68-9211-C0E7C90F8BEE}" dt="2023-06-08T15:41:42.489" v="12466" actId="478"/>
          <ac:graphicFrameMkLst>
            <pc:docMk/>
            <pc:sldMk cId="550709271" sldId="2147471269"/>
            <ac:graphicFrameMk id="31" creationId="{DB0FFF77-4836-FB6F-BD7B-4F1D0096B34A}"/>
          </ac:graphicFrameMkLst>
        </pc:graphicFrameChg>
      </pc:sldChg>
      <pc:sldChg chg="addSp delSp modSp add del mod modCm">
        <pc:chgData name="Paul LEGEARD" userId="73b5704d-da1d-4b70-8e12-6d54d32b01a3" providerId="ADAL" clId="{20AD8B11-130C-4F68-9211-C0E7C90F8BEE}" dt="2023-06-08T15:35:58.905" v="12357" actId="47"/>
        <pc:sldMkLst>
          <pc:docMk/>
          <pc:sldMk cId="633906511" sldId="2147471269"/>
        </pc:sldMkLst>
        <pc:spChg chg="del">
          <ac:chgData name="Paul LEGEARD" userId="73b5704d-da1d-4b70-8e12-6d54d32b01a3" providerId="ADAL" clId="{20AD8B11-130C-4F68-9211-C0E7C90F8BEE}" dt="2023-06-08T15:34:31" v="12236" actId="478"/>
          <ac:spMkLst>
            <pc:docMk/>
            <pc:sldMk cId="633906511" sldId="2147471269"/>
            <ac:spMk id="16" creationId="{02A4ED85-7581-D81A-73C0-12D3FC777055}"/>
          </ac:spMkLst>
        </pc:spChg>
        <pc:spChg chg="mod">
          <ac:chgData name="Paul LEGEARD" userId="73b5704d-da1d-4b70-8e12-6d54d32b01a3" providerId="ADAL" clId="{20AD8B11-130C-4F68-9211-C0E7C90F8BEE}" dt="2023-06-08T15:34:26.789" v="12235" actId="14100"/>
          <ac:spMkLst>
            <pc:docMk/>
            <pc:sldMk cId="633906511" sldId="2147471269"/>
            <ac:spMk id="26" creationId="{41A6CDF1-5FA4-2074-AFDB-8D93C47E8F90}"/>
          </ac:spMkLst>
        </pc:spChg>
        <pc:spChg chg="del">
          <ac:chgData name="Paul LEGEARD" userId="73b5704d-da1d-4b70-8e12-6d54d32b01a3" providerId="ADAL" clId="{20AD8B11-130C-4F68-9211-C0E7C90F8BEE}" dt="2023-06-08T15:34:31" v="12236" actId="478"/>
          <ac:spMkLst>
            <pc:docMk/>
            <pc:sldMk cId="633906511" sldId="2147471269"/>
            <ac:spMk id="29" creationId="{670631CB-F89F-4F42-A64B-BF114F04753E}"/>
          </ac:spMkLst>
        </pc:spChg>
        <pc:spChg chg="del">
          <ac:chgData name="Paul LEGEARD" userId="73b5704d-da1d-4b70-8e12-6d54d32b01a3" providerId="ADAL" clId="{20AD8B11-130C-4F68-9211-C0E7C90F8BEE}" dt="2023-06-08T15:34:31" v="12236" actId="478"/>
          <ac:spMkLst>
            <pc:docMk/>
            <pc:sldMk cId="633906511" sldId="2147471269"/>
            <ac:spMk id="30" creationId="{6A4773B1-38AF-AA75-53F4-EC17477D4CD3}"/>
          </ac:spMkLst>
        </pc:spChg>
        <pc:graphicFrameChg chg="add mod">
          <ac:chgData name="Paul LEGEARD" userId="73b5704d-da1d-4b70-8e12-6d54d32b01a3" providerId="ADAL" clId="{20AD8B11-130C-4F68-9211-C0E7C90F8BEE}" dt="2023-06-08T15:34:38.926" v="12240"/>
          <ac:graphicFrameMkLst>
            <pc:docMk/>
            <pc:sldMk cId="633906511" sldId="2147471269"/>
            <ac:graphicFrameMk id="2" creationId="{983B23EE-D3FA-96E0-9DC5-F2293F0F1EEC}"/>
          </ac:graphicFrameMkLst>
        </pc:graphicFrameChg>
        <pc:graphicFrameChg chg="del">
          <ac:chgData name="Paul LEGEARD" userId="73b5704d-da1d-4b70-8e12-6d54d32b01a3" providerId="ADAL" clId="{20AD8B11-130C-4F68-9211-C0E7C90F8BEE}" dt="2023-06-08T15:34:34.349" v="12237" actId="478"/>
          <ac:graphicFrameMkLst>
            <pc:docMk/>
            <pc:sldMk cId="633906511" sldId="2147471269"/>
            <ac:graphicFrameMk id="31" creationId="{DB0FFF77-4836-FB6F-BD7B-4F1D0096B34A}"/>
          </ac:graphicFrameMkLst>
        </pc:graphicFrameChg>
      </pc:sldChg>
      <pc:sldChg chg="addSp delSp modSp add del mod modCm">
        <pc:chgData name="Paul LEGEARD" userId="73b5704d-da1d-4b70-8e12-6d54d32b01a3" providerId="ADAL" clId="{20AD8B11-130C-4F68-9211-C0E7C90F8BEE}" dt="2023-06-12T12:25:01.249" v="27041" actId="47"/>
        <pc:sldMkLst>
          <pc:docMk/>
          <pc:sldMk cId="3922002527" sldId="2147471270"/>
        </pc:sldMkLst>
        <pc:spChg chg="add mod">
          <ac:chgData name="Paul LEGEARD" userId="73b5704d-da1d-4b70-8e12-6d54d32b01a3" providerId="ADAL" clId="{20AD8B11-130C-4F68-9211-C0E7C90F8BEE}" dt="2023-06-08T16:01:23.213" v="14144" actId="33524"/>
          <ac:spMkLst>
            <pc:docMk/>
            <pc:sldMk cId="3922002527" sldId="2147471270"/>
            <ac:spMk id="2" creationId="{06251D73-5BF3-753A-1594-E6E1D44D720F}"/>
          </ac:spMkLst>
        </pc:spChg>
        <pc:spChg chg="add del">
          <ac:chgData name="Paul LEGEARD" userId="73b5704d-da1d-4b70-8e12-6d54d32b01a3" providerId="ADAL" clId="{20AD8B11-130C-4F68-9211-C0E7C90F8BEE}" dt="2023-06-08T15:57:22.078" v="13766" actId="22"/>
          <ac:spMkLst>
            <pc:docMk/>
            <pc:sldMk cId="3922002527" sldId="2147471270"/>
            <ac:spMk id="4" creationId="{5575C9E6-2C7F-21E3-DFB7-7F557DBB4E4E}"/>
          </ac:spMkLst>
        </pc:spChg>
        <pc:spChg chg="mod">
          <ac:chgData name="Paul LEGEARD" userId="73b5704d-da1d-4b70-8e12-6d54d32b01a3" providerId="ADAL" clId="{20AD8B11-130C-4F68-9211-C0E7C90F8BEE}" dt="2023-06-08T15:48:20.388" v="12793" actId="20577"/>
          <ac:spMkLst>
            <pc:docMk/>
            <pc:sldMk cId="3922002527" sldId="2147471270"/>
            <ac:spMk id="26" creationId="{41A6CDF1-5FA4-2074-AFDB-8D93C47E8F90}"/>
          </ac:spMkLst>
        </pc:spChg>
        <pc:graphicFrameChg chg="del">
          <ac:chgData name="Paul LEGEARD" userId="73b5704d-da1d-4b70-8e12-6d54d32b01a3" providerId="ADAL" clId="{20AD8B11-130C-4F68-9211-C0E7C90F8BEE}" dt="2023-06-08T15:44:37.738" v="12530" actId="478"/>
          <ac:graphicFrameMkLst>
            <pc:docMk/>
            <pc:sldMk cId="3922002527" sldId="2147471270"/>
            <ac:graphicFrameMk id="31" creationId="{DB0FFF77-4836-FB6F-BD7B-4F1D0096B34A}"/>
          </ac:graphicFrameMkLst>
        </pc:graphicFrameChg>
      </pc:sldChg>
      <pc:sldChg chg="addSp delSp modSp add mod ord modCm">
        <pc:chgData name="Paul LEGEARD" userId="73b5704d-da1d-4b70-8e12-6d54d32b01a3" providerId="ADAL" clId="{20AD8B11-130C-4F68-9211-C0E7C90F8BEE}" dt="2023-06-08T16:37:39.661" v="16147" actId="552"/>
        <pc:sldMkLst>
          <pc:docMk/>
          <pc:sldMk cId="3712366892" sldId="2147471271"/>
        </pc:sldMkLst>
        <pc:spChg chg="del">
          <ac:chgData name="Paul LEGEARD" userId="73b5704d-da1d-4b70-8e12-6d54d32b01a3" providerId="ADAL" clId="{20AD8B11-130C-4F68-9211-C0E7C90F8BEE}" dt="2023-06-08T16:01:10.872" v="14143" actId="478"/>
          <ac:spMkLst>
            <pc:docMk/>
            <pc:sldMk cId="3712366892" sldId="2147471271"/>
            <ac:spMk id="2" creationId="{06251D73-5BF3-753A-1594-E6E1D44D720F}"/>
          </ac:spMkLst>
        </pc:spChg>
        <pc:spChg chg="mod topLvl">
          <ac:chgData name="Paul LEGEARD" userId="73b5704d-da1d-4b70-8e12-6d54d32b01a3" providerId="ADAL" clId="{20AD8B11-130C-4F68-9211-C0E7C90F8BEE}" dt="2023-06-08T16:37:26.277" v="16144" actId="14100"/>
          <ac:spMkLst>
            <pc:docMk/>
            <pc:sldMk cId="3712366892" sldId="2147471271"/>
            <ac:spMk id="4" creationId="{CAA9C67E-81C2-B297-685A-5655C2FCEBC0}"/>
          </ac:spMkLst>
        </pc:spChg>
        <pc:spChg chg="mod topLvl">
          <ac:chgData name="Paul LEGEARD" userId="73b5704d-da1d-4b70-8e12-6d54d32b01a3" providerId="ADAL" clId="{20AD8B11-130C-4F68-9211-C0E7C90F8BEE}" dt="2023-06-08T16:37:08.335" v="16119" actId="164"/>
          <ac:spMkLst>
            <pc:docMk/>
            <pc:sldMk cId="3712366892" sldId="2147471271"/>
            <ac:spMk id="5" creationId="{44E7A9D5-EE7C-5760-D4F2-C5B785D1E0F4}"/>
          </ac:spMkLst>
        </pc:spChg>
        <pc:spChg chg="del mod topLvl">
          <ac:chgData name="Paul LEGEARD" userId="73b5704d-da1d-4b70-8e12-6d54d32b01a3" providerId="ADAL" clId="{20AD8B11-130C-4F68-9211-C0E7C90F8BEE}" dt="2023-06-08T16:02:08.129" v="14237" actId="478"/>
          <ac:spMkLst>
            <pc:docMk/>
            <pc:sldMk cId="3712366892" sldId="2147471271"/>
            <ac:spMk id="6" creationId="{B883D205-797E-2A4B-E27D-F384E8D19E8B}"/>
          </ac:spMkLst>
        </pc:spChg>
        <pc:spChg chg="add mod">
          <ac:chgData name="Paul LEGEARD" userId="73b5704d-da1d-4b70-8e12-6d54d32b01a3" providerId="ADAL" clId="{20AD8B11-130C-4F68-9211-C0E7C90F8BEE}" dt="2023-06-08T16:37:29.816" v="16145" actId="14100"/>
          <ac:spMkLst>
            <pc:docMk/>
            <pc:sldMk cId="3712366892" sldId="2147471271"/>
            <ac:spMk id="7" creationId="{42C84F6F-925C-1AA9-6D86-B502D902BCCC}"/>
          </ac:spMkLst>
        </pc:spChg>
        <pc:spChg chg="add mod">
          <ac:chgData name="Paul LEGEARD" userId="73b5704d-da1d-4b70-8e12-6d54d32b01a3" providerId="ADAL" clId="{20AD8B11-130C-4F68-9211-C0E7C90F8BEE}" dt="2023-06-08T16:36:44.445" v="16112" actId="164"/>
          <ac:spMkLst>
            <pc:docMk/>
            <pc:sldMk cId="3712366892" sldId="2147471271"/>
            <ac:spMk id="8" creationId="{7B85C7E8-574B-B99C-2024-8E988E13D5F3}"/>
          </ac:spMkLst>
        </pc:spChg>
        <pc:spChg chg="add mod">
          <ac:chgData name="Paul LEGEARD" userId="73b5704d-da1d-4b70-8e12-6d54d32b01a3" providerId="ADAL" clId="{20AD8B11-130C-4F68-9211-C0E7C90F8BEE}" dt="2023-06-08T16:37:34.587" v="16146" actId="14100"/>
          <ac:spMkLst>
            <pc:docMk/>
            <pc:sldMk cId="3712366892" sldId="2147471271"/>
            <ac:spMk id="9" creationId="{601329D7-6599-CF66-F057-889C1CDF1CD8}"/>
          </ac:spMkLst>
        </pc:spChg>
        <pc:spChg chg="add mod">
          <ac:chgData name="Paul LEGEARD" userId="73b5704d-da1d-4b70-8e12-6d54d32b01a3" providerId="ADAL" clId="{20AD8B11-130C-4F68-9211-C0E7C90F8BEE}" dt="2023-06-08T16:37:13.205" v="16120" actId="164"/>
          <ac:spMkLst>
            <pc:docMk/>
            <pc:sldMk cId="3712366892" sldId="2147471271"/>
            <ac:spMk id="10" creationId="{DA7B7C6B-A0FB-C6CA-9AF7-136B0514EEC4}"/>
          </ac:spMkLst>
        </pc:spChg>
        <pc:spChg chg="mod">
          <ac:chgData name="Paul LEGEARD" userId="73b5704d-da1d-4b70-8e12-6d54d32b01a3" providerId="ADAL" clId="{20AD8B11-130C-4F68-9211-C0E7C90F8BEE}" dt="2023-06-08T16:01:26.675" v="14145" actId="313"/>
          <ac:spMkLst>
            <pc:docMk/>
            <pc:sldMk cId="3712366892" sldId="2147471271"/>
            <ac:spMk id="26" creationId="{41A6CDF1-5FA4-2074-AFDB-8D93C47E8F90}"/>
          </ac:spMkLst>
        </pc:spChg>
        <pc:grpChg chg="add del mod">
          <ac:chgData name="Paul LEGEARD" userId="73b5704d-da1d-4b70-8e12-6d54d32b01a3" providerId="ADAL" clId="{20AD8B11-130C-4F68-9211-C0E7C90F8BEE}" dt="2023-06-08T16:02:02.027" v="14234" actId="165"/>
          <ac:grpSpMkLst>
            <pc:docMk/>
            <pc:sldMk cId="3712366892" sldId="2147471271"/>
            <ac:grpSpMk id="3" creationId="{1B92327B-E476-4557-6A07-4D9D71DF6324}"/>
          </ac:grpSpMkLst>
        </pc:grpChg>
        <pc:grpChg chg="add mod">
          <ac:chgData name="Paul LEGEARD" userId="73b5704d-da1d-4b70-8e12-6d54d32b01a3" providerId="ADAL" clId="{20AD8B11-130C-4F68-9211-C0E7C90F8BEE}" dt="2023-06-08T16:37:39.661" v="16147" actId="552"/>
          <ac:grpSpMkLst>
            <pc:docMk/>
            <pc:sldMk cId="3712366892" sldId="2147471271"/>
            <ac:grpSpMk id="11" creationId="{2A641F33-1BF8-CBBC-635C-D5D6405D17D1}"/>
          </ac:grpSpMkLst>
        </pc:grpChg>
        <pc:grpChg chg="add mod">
          <ac:chgData name="Paul LEGEARD" userId="73b5704d-da1d-4b70-8e12-6d54d32b01a3" providerId="ADAL" clId="{20AD8B11-130C-4F68-9211-C0E7C90F8BEE}" dt="2023-06-08T16:37:39.661" v="16147" actId="552"/>
          <ac:grpSpMkLst>
            <pc:docMk/>
            <pc:sldMk cId="3712366892" sldId="2147471271"/>
            <ac:grpSpMk id="12" creationId="{E993244F-7182-107D-D5A0-44FD34E55F7F}"/>
          </ac:grpSpMkLst>
        </pc:grpChg>
        <pc:grpChg chg="add mod">
          <ac:chgData name="Paul LEGEARD" userId="73b5704d-da1d-4b70-8e12-6d54d32b01a3" providerId="ADAL" clId="{20AD8B11-130C-4F68-9211-C0E7C90F8BEE}" dt="2023-06-08T16:37:39.661" v="16147" actId="552"/>
          <ac:grpSpMkLst>
            <pc:docMk/>
            <pc:sldMk cId="3712366892" sldId="2147471271"/>
            <ac:grpSpMk id="13" creationId="{B1788E41-FCB7-CCB8-B6CF-1A51649C78C0}"/>
          </ac:grpSpMkLst>
        </pc:grpChg>
      </pc:sldChg>
      <pc:sldChg chg="addSp delSp modSp add mod">
        <pc:chgData name="Paul LEGEARD" userId="73b5704d-da1d-4b70-8e12-6d54d32b01a3" providerId="ADAL" clId="{20AD8B11-130C-4F68-9211-C0E7C90F8BEE}" dt="2023-06-08T16:33:44.801" v="15985" actId="20577"/>
        <pc:sldMkLst>
          <pc:docMk/>
          <pc:sldMk cId="802948229" sldId="2147471272"/>
        </pc:sldMkLst>
        <pc:spChg chg="mod">
          <ac:chgData name="Paul LEGEARD" userId="73b5704d-da1d-4b70-8e12-6d54d32b01a3" providerId="ADAL" clId="{20AD8B11-130C-4F68-9211-C0E7C90F8BEE}" dt="2023-06-08T16:13:50.613" v="14639" actId="20577"/>
          <ac:spMkLst>
            <pc:docMk/>
            <pc:sldMk cId="802948229" sldId="2147471272"/>
            <ac:spMk id="4" creationId="{A9E90669-ADF1-0205-02F9-4BC20DC5190D}"/>
          </ac:spMkLst>
        </pc:spChg>
        <pc:spChg chg="del">
          <ac:chgData name="Paul LEGEARD" userId="73b5704d-da1d-4b70-8e12-6d54d32b01a3" providerId="ADAL" clId="{20AD8B11-130C-4F68-9211-C0E7C90F8BEE}" dt="2023-06-08T16:13:53.162" v="14640" actId="478"/>
          <ac:spMkLst>
            <pc:docMk/>
            <pc:sldMk cId="802948229" sldId="2147471272"/>
            <ac:spMk id="17" creationId="{A90494EA-D75D-B8C4-9CC5-587C58E0A5FC}"/>
          </ac:spMkLst>
        </pc:spChg>
        <pc:spChg chg="del">
          <ac:chgData name="Paul LEGEARD" userId="73b5704d-da1d-4b70-8e12-6d54d32b01a3" providerId="ADAL" clId="{20AD8B11-130C-4F68-9211-C0E7C90F8BEE}" dt="2023-06-08T16:13:53.162" v="14640" actId="478"/>
          <ac:spMkLst>
            <pc:docMk/>
            <pc:sldMk cId="802948229" sldId="2147471272"/>
            <ac:spMk id="18" creationId="{3C202BFE-7ED8-5B43-B278-0D37550BB105}"/>
          </ac:spMkLst>
        </pc:spChg>
        <pc:spChg chg="del">
          <ac:chgData name="Paul LEGEARD" userId="73b5704d-da1d-4b70-8e12-6d54d32b01a3" providerId="ADAL" clId="{20AD8B11-130C-4F68-9211-C0E7C90F8BEE}" dt="2023-06-08T16:13:53.162" v="14640" actId="478"/>
          <ac:spMkLst>
            <pc:docMk/>
            <pc:sldMk cId="802948229" sldId="2147471272"/>
            <ac:spMk id="20" creationId="{EE9C5CA9-E467-A543-F854-564F10277C5A}"/>
          </ac:spMkLst>
        </pc:spChg>
        <pc:spChg chg="del">
          <ac:chgData name="Paul LEGEARD" userId="73b5704d-da1d-4b70-8e12-6d54d32b01a3" providerId="ADAL" clId="{20AD8B11-130C-4F68-9211-C0E7C90F8BEE}" dt="2023-06-08T16:13:53.162" v="14640" actId="478"/>
          <ac:spMkLst>
            <pc:docMk/>
            <pc:sldMk cId="802948229" sldId="2147471272"/>
            <ac:spMk id="21" creationId="{B278B416-4BDE-6EB6-B836-125C4CB6874B}"/>
          </ac:spMkLst>
        </pc:spChg>
        <pc:graphicFrameChg chg="add mod modGraphic">
          <ac:chgData name="Paul LEGEARD" userId="73b5704d-da1d-4b70-8e12-6d54d32b01a3" providerId="ADAL" clId="{20AD8B11-130C-4F68-9211-C0E7C90F8BEE}" dt="2023-06-08T16:33:44.801" v="15985" actId="20577"/>
          <ac:graphicFrameMkLst>
            <pc:docMk/>
            <pc:sldMk cId="802948229" sldId="2147471272"/>
            <ac:graphicFrameMk id="2" creationId="{BC8AFD61-70B5-DF2A-2672-2ED977E8B2CD}"/>
          </ac:graphicFrameMkLst>
        </pc:graphicFrameChg>
        <pc:graphicFrameChg chg="del">
          <ac:chgData name="Paul LEGEARD" userId="73b5704d-da1d-4b70-8e12-6d54d32b01a3" providerId="ADAL" clId="{20AD8B11-130C-4F68-9211-C0E7C90F8BEE}" dt="2023-06-08T16:13:53.162" v="14640" actId="478"/>
          <ac:graphicFrameMkLst>
            <pc:docMk/>
            <pc:sldMk cId="802948229" sldId="2147471272"/>
            <ac:graphicFrameMk id="3" creationId="{815BA094-A92D-6DCB-CEDF-3CC883305288}"/>
          </ac:graphicFrameMkLst>
        </pc:graphicFrameChg>
        <pc:graphicFrameChg chg="del">
          <ac:chgData name="Paul LEGEARD" userId="73b5704d-da1d-4b70-8e12-6d54d32b01a3" providerId="ADAL" clId="{20AD8B11-130C-4F68-9211-C0E7C90F8BEE}" dt="2023-06-08T16:13:53.162" v="14640" actId="478"/>
          <ac:graphicFrameMkLst>
            <pc:docMk/>
            <pc:sldMk cId="802948229" sldId="2147471272"/>
            <ac:graphicFrameMk id="12" creationId="{0335D06E-512F-40EB-4D88-D85397C86A0D}"/>
          </ac:graphicFrameMkLst>
        </pc:graphicFrameChg>
        <pc:graphicFrameChg chg="del">
          <ac:chgData name="Paul LEGEARD" userId="73b5704d-da1d-4b70-8e12-6d54d32b01a3" providerId="ADAL" clId="{20AD8B11-130C-4F68-9211-C0E7C90F8BEE}" dt="2023-06-08T16:13:53.162" v="14640" actId="478"/>
          <ac:graphicFrameMkLst>
            <pc:docMk/>
            <pc:sldMk cId="802948229" sldId="2147471272"/>
            <ac:graphicFrameMk id="13" creationId="{1E8CCEA4-5ECB-D5E1-D3DC-DB15CE291278}"/>
          </ac:graphicFrameMkLst>
        </pc:graphicFrameChg>
        <pc:picChg chg="del">
          <ac:chgData name="Paul LEGEARD" userId="73b5704d-da1d-4b70-8e12-6d54d32b01a3" providerId="ADAL" clId="{20AD8B11-130C-4F68-9211-C0E7C90F8BEE}" dt="2023-06-08T16:13:53.162" v="14640" actId="478"/>
          <ac:picMkLst>
            <pc:docMk/>
            <pc:sldMk cId="802948229" sldId="2147471272"/>
            <ac:picMk id="19" creationId="{6BB92B80-66EA-51E7-9648-0FBFD3BE6A76}"/>
          </ac:picMkLst>
        </pc:picChg>
      </pc:sldChg>
      <pc:sldChg chg="add del">
        <pc:chgData name="Paul LEGEARD" userId="73b5704d-da1d-4b70-8e12-6d54d32b01a3" providerId="ADAL" clId="{20AD8B11-130C-4F68-9211-C0E7C90F8BEE}" dt="2023-06-08T16:06:35.846" v="14434" actId="47"/>
        <pc:sldMkLst>
          <pc:docMk/>
          <pc:sldMk cId="4133870443" sldId="2147471272"/>
        </pc:sldMkLst>
      </pc:sldChg>
      <pc:sldChg chg="addSp delSp modSp add del mod">
        <pc:chgData name="Paul LEGEARD" userId="73b5704d-da1d-4b70-8e12-6d54d32b01a3" providerId="ADAL" clId="{20AD8B11-130C-4F68-9211-C0E7C90F8BEE}" dt="2023-06-12T12:24:46.266" v="27040" actId="47"/>
        <pc:sldMkLst>
          <pc:docMk/>
          <pc:sldMk cId="3717001580" sldId="2147471273"/>
        </pc:sldMkLst>
        <pc:spChg chg="add mod">
          <ac:chgData name="Paul LEGEARD" userId="73b5704d-da1d-4b70-8e12-6d54d32b01a3" providerId="ADAL" clId="{20AD8B11-130C-4F68-9211-C0E7C90F8BEE}" dt="2023-06-08T16:17:39.322" v="14967" actId="20577"/>
          <ac:spMkLst>
            <pc:docMk/>
            <pc:sldMk cId="3717001580" sldId="2147471273"/>
            <ac:spMk id="3" creationId="{72CB8AD7-7D5B-E895-1C25-6A41EF4B0F46}"/>
          </ac:spMkLst>
        </pc:spChg>
        <pc:spChg chg="mod">
          <ac:chgData name="Paul LEGEARD" userId="73b5704d-da1d-4b70-8e12-6d54d32b01a3" providerId="ADAL" clId="{20AD8B11-130C-4F68-9211-C0E7C90F8BEE}" dt="2023-06-08T16:14:46.065" v="14727" actId="20577"/>
          <ac:spMkLst>
            <pc:docMk/>
            <pc:sldMk cId="3717001580" sldId="2147471273"/>
            <ac:spMk id="4" creationId="{A9E90669-ADF1-0205-02F9-4BC20DC5190D}"/>
          </ac:spMkLst>
        </pc:spChg>
        <pc:graphicFrameChg chg="del">
          <ac:chgData name="Paul LEGEARD" userId="73b5704d-da1d-4b70-8e12-6d54d32b01a3" providerId="ADAL" clId="{20AD8B11-130C-4F68-9211-C0E7C90F8BEE}" dt="2023-06-08T16:14:49.668" v="14728" actId="478"/>
          <ac:graphicFrameMkLst>
            <pc:docMk/>
            <pc:sldMk cId="3717001580" sldId="2147471273"/>
            <ac:graphicFrameMk id="2" creationId="{BC8AFD61-70B5-DF2A-2672-2ED977E8B2CD}"/>
          </ac:graphicFrameMkLst>
        </pc:graphicFrameChg>
      </pc:sldChg>
      <pc:sldChg chg="addSp delSp modSp add del mod">
        <pc:chgData name="Paul LEGEARD" userId="73b5704d-da1d-4b70-8e12-6d54d32b01a3" providerId="ADAL" clId="{20AD8B11-130C-4F68-9211-C0E7C90F8BEE}" dt="2023-06-08T16:19:00.599" v="15174" actId="47"/>
        <pc:sldMkLst>
          <pc:docMk/>
          <pc:sldMk cId="3965125382" sldId="2147471274"/>
        </pc:sldMkLst>
        <pc:spChg chg="del">
          <ac:chgData name="Paul LEGEARD" userId="73b5704d-da1d-4b70-8e12-6d54d32b01a3" providerId="ADAL" clId="{20AD8B11-130C-4F68-9211-C0E7C90F8BEE}" dt="2023-06-08T16:16:19.234" v="14808" actId="478"/>
          <ac:spMkLst>
            <pc:docMk/>
            <pc:sldMk cId="3965125382" sldId="2147471274"/>
            <ac:spMk id="3" creationId="{72CB8AD7-7D5B-E895-1C25-6A41EF4B0F46}"/>
          </ac:spMkLst>
        </pc:spChg>
        <pc:spChg chg="mod">
          <ac:chgData name="Paul LEGEARD" userId="73b5704d-da1d-4b70-8e12-6d54d32b01a3" providerId="ADAL" clId="{20AD8B11-130C-4F68-9211-C0E7C90F8BEE}" dt="2023-06-08T16:16:17.678" v="14807" actId="20577"/>
          <ac:spMkLst>
            <pc:docMk/>
            <pc:sldMk cId="3965125382" sldId="2147471274"/>
            <ac:spMk id="4" creationId="{A9E90669-ADF1-0205-02F9-4BC20DC5190D}"/>
          </ac:spMkLst>
        </pc:spChg>
        <pc:spChg chg="add mod">
          <ac:chgData name="Paul LEGEARD" userId="73b5704d-da1d-4b70-8e12-6d54d32b01a3" providerId="ADAL" clId="{20AD8B11-130C-4F68-9211-C0E7C90F8BEE}" dt="2023-06-08T16:16:24.863" v="14810" actId="1076"/>
          <ac:spMkLst>
            <pc:docMk/>
            <pc:sldMk cId="3965125382" sldId="2147471274"/>
            <ac:spMk id="5" creationId="{50889E83-C8D5-C184-215D-6A119CF3C9F3}"/>
          </ac:spMkLst>
        </pc:spChg>
        <pc:graphicFrameChg chg="add mod">
          <ac:chgData name="Paul LEGEARD" userId="73b5704d-da1d-4b70-8e12-6d54d32b01a3" providerId="ADAL" clId="{20AD8B11-130C-4F68-9211-C0E7C90F8BEE}" dt="2023-06-08T16:18:56.194" v="15173" actId="12100"/>
          <ac:graphicFrameMkLst>
            <pc:docMk/>
            <pc:sldMk cId="3965125382" sldId="2147471274"/>
            <ac:graphicFrameMk id="2" creationId="{B28E9475-D628-EB56-D3AB-BB77493CE988}"/>
          </ac:graphicFrameMkLst>
        </pc:graphicFrameChg>
      </pc:sldChg>
      <pc:sldChg chg="modSp add del mod ord">
        <pc:chgData name="Paul LEGEARD" userId="73b5704d-da1d-4b70-8e12-6d54d32b01a3" providerId="ADAL" clId="{20AD8B11-130C-4F68-9211-C0E7C90F8BEE}" dt="2023-06-08T16:34:33.402" v="16066" actId="47"/>
        <pc:sldMkLst>
          <pc:docMk/>
          <pc:sldMk cId="4244267852" sldId="2147471274"/>
        </pc:sldMkLst>
        <pc:spChg chg="mod">
          <ac:chgData name="Paul LEGEARD" userId="73b5704d-da1d-4b70-8e12-6d54d32b01a3" providerId="ADAL" clId="{20AD8B11-130C-4F68-9211-C0E7C90F8BEE}" dt="2023-06-08T16:26:08.442" v="15338" actId="20577"/>
          <ac:spMkLst>
            <pc:docMk/>
            <pc:sldMk cId="4244267852" sldId="2147471274"/>
            <ac:spMk id="5" creationId="{2DC73DF8-68BA-614C-3763-602DA7FE04B2}"/>
          </ac:spMkLst>
        </pc:spChg>
      </pc:sldChg>
      <pc:sldChg chg="addSp delSp modSp add del mod">
        <pc:chgData name="Paul LEGEARD" userId="73b5704d-da1d-4b70-8e12-6d54d32b01a3" providerId="ADAL" clId="{20AD8B11-130C-4F68-9211-C0E7C90F8BEE}" dt="2023-06-13T08:54:27.062" v="28494" actId="47"/>
        <pc:sldMkLst>
          <pc:docMk/>
          <pc:sldMk cId="3679973745" sldId="2147471275"/>
        </pc:sldMkLst>
        <pc:spChg chg="add mod">
          <ac:chgData name="Paul LEGEARD" userId="73b5704d-da1d-4b70-8e12-6d54d32b01a3" providerId="ADAL" clId="{20AD8B11-130C-4F68-9211-C0E7C90F8BEE}" dt="2023-06-12T12:22:15.786" v="26954" actId="20577"/>
          <ac:spMkLst>
            <pc:docMk/>
            <pc:sldMk cId="3679973745" sldId="2147471275"/>
            <ac:spMk id="2" creationId="{06EF97C7-1F07-6C36-7312-005A6989303B}"/>
          </ac:spMkLst>
        </pc:spChg>
        <pc:spChg chg="mod">
          <ac:chgData name="Paul LEGEARD" userId="73b5704d-da1d-4b70-8e12-6d54d32b01a3" providerId="ADAL" clId="{20AD8B11-130C-4F68-9211-C0E7C90F8BEE}" dt="2023-06-12T12:20:34.950" v="26822" actId="313"/>
          <ac:spMkLst>
            <pc:docMk/>
            <pc:sldMk cId="3679973745" sldId="2147471275"/>
            <ac:spMk id="4" creationId="{A9E90669-ADF1-0205-02F9-4BC20DC5190D}"/>
          </ac:spMkLst>
        </pc:spChg>
        <pc:spChg chg="add mod ord">
          <ac:chgData name="Paul LEGEARD" userId="73b5704d-da1d-4b70-8e12-6d54d32b01a3" providerId="ADAL" clId="{20AD8B11-130C-4F68-9211-C0E7C90F8BEE}" dt="2023-06-12T12:21:51.423" v="26906" actId="167"/>
          <ac:spMkLst>
            <pc:docMk/>
            <pc:sldMk cId="3679973745" sldId="2147471275"/>
            <ac:spMk id="6" creationId="{15A99339-E321-38D9-66E3-48BA11A7D3BD}"/>
          </ac:spMkLst>
        </pc:spChg>
        <pc:spChg chg="add mod">
          <ac:chgData name="Paul LEGEARD" userId="73b5704d-da1d-4b70-8e12-6d54d32b01a3" providerId="ADAL" clId="{20AD8B11-130C-4F68-9211-C0E7C90F8BEE}" dt="2023-06-12T12:24:41.182" v="27039" actId="404"/>
          <ac:spMkLst>
            <pc:docMk/>
            <pc:sldMk cId="3679973745" sldId="2147471275"/>
            <ac:spMk id="7" creationId="{6EA2099D-9DC4-FD77-FB8A-60F896044513}"/>
          </ac:spMkLst>
        </pc:spChg>
        <pc:spChg chg="add mod">
          <ac:chgData name="Paul LEGEARD" userId="73b5704d-da1d-4b70-8e12-6d54d32b01a3" providerId="ADAL" clId="{20AD8B11-130C-4F68-9211-C0E7C90F8BEE}" dt="2023-06-12T12:22:13.272" v="26951" actId="20577"/>
          <ac:spMkLst>
            <pc:docMk/>
            <pc:sldMk cId="3679973745" sldId="2147471275"/>
            <ac:spMk id="8" creationId="{05E0258E-15F9-B3FE-686A-2440AD1C9E58}"/>
          </ac:spMkLst>
        </pc:spChg>
        <pc:graphicFrameChg chg="del">
          <ac:chgData name="Paul LEGEARD" userId="73b5704d-da1d-4b70-8e12-6d54d32b01a3" providerId="ADAL" clId="{20AD8B11-130C-4F68-9211-C0E7C90F8BEE}" dt="2023-06-08T16:28:01.367" v="15427" actId="478"/>
          <ac:graphicFrameMkLst>
            <pc:docMk/>
            <pc:sldMk cId="3679973745" sldId="2147471275"/>
            <ac:graphicFrameMk id="2" creationId="{BC8AFD61-70B5-DF2A-2672-2ED977E8B2CD}"/>
          </ac:graphicFrameMkLst>
        </pc:graphicFrameChg>
        <pc:graphicFrameChg chg="add mod modGraphic">
          <ac:chgData name="Paul LEGEARD" userId="73b5704d-da1d-4b70-8e12-6d54d32b01a3" providerId="ADAL" clId="{20AD8B11-130C-4F68-9211-C0E7C90F8BEE}" dt="2023-06-12T12:20:51.403" v="26849" actId="1037"/>
          <ac:graphicFrameMkLst>
            <pc:docMk/>
            <pc:sldMk cId="3679973745" sldId="2147471275"/>
            <ac:graphicFrameMk id="3" creationId="{E135D884-CFEA-4DF7-6A62-3D29FC019CAE}"/>
          </ac:graphicFrameMkLst>
        </pc:graphicFrameChg>
        <pc:graphicFrameChg chg="add mod modGraphic">
          <ac:chgData name="Paul LEGEARD" userId="73b5704d-da1d-4b70-8e12-6d54d32b01a3" providerId="ADAL" clId="{20AD8B11-130C-4F68-9211-C0E7C90F8BEE}" dt="2023-06-12T12:22:25.224" v="26963" actId="20577"/>
          <ac:graphicFrameMkLst>
            <pc:docMk/>
            <pc:sldMk cId="3679973745" sldId="2147471275"/>
            <ac:graphicFrameMk id="5" creationId="{7D8E5C88-0B5B-5061-4ACC-4F44631A7E82}"/>
          </ac:graphicFrameMkLst>
        </pc:graphicFrameChg>
      </pc:sldChg>
      <pc:sldChg chg="addSp delSp modSp add del mod ord">
        <pc:chgData name="Paul LEGEARD" userId="73b5704d-da1d-4b70-8e12-6d54d32b01a3" providerId="ADAL" clId="{20AD8B11-130C-4F68-9211-C0E7C90F8BEE}" dt="2023-06-13T08:54:22.513" v="28493" actId="47"/>
        <pc:sldMkLst>
          <pc:docMk/>
          <pc:sldMk cId="3815542640" sldId="2147471276"/>
        </pc:sldMkLst>
        <pc:spChg chg="add del mod">
          <ac:chgData name="Paul LEGEARD" userId="73b5704d-da1d-4b70-8e12-6d54d32b01a3" providerId="ADAL" clId="{20AD8B11-130C-4F68-9211-C0E7C90F8BEE}" dt="2023-06-12T06:15:12.601" v="21428" actId="478"/>
          <ac:spMkLst>
            <pc:docMk/>
            <pc:sldMk cId="3815542640" sldId="2147471276"/>
            <ac:spMk id="2" creationId="{656F2E4C-5F6F-AC49-6FA3-EEEF027D06BF}"/>
          </ac:spMkLst>
        </pc:spChg>
        <pc:spChg chg="mod">
          <ac:chgData name="Paul LEGEARD" userId="73b5704d-da1d-4b70-8e12-6d54d32b01a3" providerId="ADAL" clId="{20AD8B11-130C-4F68-9211-C0E7C90F8BEE}" dt="2023-06-12T09:36:17.395" v="26119" actId="20577"/>
          <ac:spMkLst>
            <pc:docMk/>
            <pc:sldMk cId="3815542640" sldId="2147471276"/>
            <ac:spMk id="4" creationId="{A9E90669-ADF1-0205-02F9-4BC20DC5190D}"/>
          </ac:spMkLst>
        </pc:spChg>
        <pc:spChg chg="add del">
          <ac:chgData name="Paul LEGEARD" userId="73b5704d-da1d-4b70-8e12-6d54d32b01a3" providerId="ADAL" clId="{20AD8B11-130C-4F68-9211-C0E7C90F8BEE}" dt="2023-06-12T09:14:58.218" v="25175" actId="11529"/>
          <ac:spMkLst>
            <pc:docMk/>
            <pc:sldMk cId="3815542640" sldId="2147471276"/>
            <ac:spMk id="5" creationId="{0AF95827-B386-D547-D3EF-D21632339918}"/>
          </ac:spMkLst>
        </pc:spChg>
        <pc:spChg chg="add del mod">
          <ac:chgData name="Paul LEGEARD" userId="73b5704d-da1d-4b70-8e12-6d54d32b01a3" providerId="ADAL" clId="{20AD8B11-130C-4F68-9211-C0E7C90F8BEE}" dt="2023-06-12T11:54:14.166" v="26127" actId="478"/>
          <ac:spMkLst>
            <pc:docMk/>
            <pc:sldMk cId="3815542640" sldId="2147471276"/>
            <ac:spMk id="6" creationId="{6EFAEA8A-0DE7-80A8-DAE8-E788FF3F03B8}"/>
          </ac:spMkLst>
        </pc:spChg>
        <pc:graphicFrameChg chg="add mod modGraphic">
          <ac:chgData name="Paul LEGEARD" userId="73b5704d-da1d-4b70-8e12-6d54d32b01a3" providerId="ADAL" clId="{20AD8B11-130C-4F68-9211-C0E7C90F8BEE}" dt="2023-06-12T12:24:00.508" v="27007" actId="20577"/>
          <ac:graphicFrameMkLst>
            <pc:docMk/>
            <pc:sldMk cId="3815542640" sldId="2147471276"/>
            <ac:graphicFrameMk id="3" creationId="{548344E8-ADB9-F03F-C8B0-839A4383DD30}"/>
          </ac:graphicFrameMkLst>
        </pc:graphicFrameChg>
        <pc:graphicFrameChg chg="del">
          <ac:chgData name="Paul LEGEARD" userId="73b5704d-da1d-4b70-8e12-6d54d32b01a3" providerId="ADAL" clId="{20AD8B11-130C-4F68-9211-C0E7C90F8BEE}" dt="2023-06-08T16:32:38.969" v="15864" actId="478"/>
          <ac:graphicFrameMkLst>
            <pc:docMk/>
            <pc:sldMk cId="3815542640" sldId="2147471276"/>
            <ac:graphicFrameMk id="3" creationId="{E135D884-CFEA-4DF7-6A62-3D29FC019CAE}"/>
          </ac:graphicFrameMkLst>
        </pc:graphicFrameChg>
        <pc:graphicFrameChg chg="del">
          <ac:chgData name="Paul LEGEARD" userId="73b5704d-da1d-4b70-8e12-6d54d32b01a3" providerId="ADAL" clId="{20AD8B11-130C-4F68-9211-C0E7C90F8BEE}" dt="2023-06-08T16:32:41.442" v="15865" actId="478"/>
          <ac:graphicFrameMkLst>
            <pc:docMk/>
            <pc:sldMk cId="3815542640" sldId="2147471276"/>
            <ac:graphicFrameMk id="5" creationId="{7D8E5C88-0B5B-5061-4ACC-4F44631A7E82}"/>
          </ac:graphicFrameMkLst>
        </pc:graphicFrameChg>
      </pc:sldChg>
      <pc:sldChg chg="addSp delSp modSp add del mod ord">
        <pc:chgData name="Paul LEGEARD" userId="73b5704d-da1d-4b70-8e12-6d54d32b01a3" providerId="ADAL" clId="{20AD8B11-130C-4F68-9211-C0E7C90F8BEE}" dt="2023-06-12T06:47:44.608" v="24464" actId="47"/>
        <pc:sldMkLst>
          <pc:docMk/>
          <pc:sldMk cId="498844852" sldId="2147471277"/>
        </pc:sldMkLst>
        <pc:spChg chg="add del mod">
          <ac:chgData name="Paul LEGEARD" userId="73b5704d-da1d-4b70-8e12-6d54d32b01a3" providerId="ADAL" clId="{20AD8B11-130C-4F68-9211-C0E7C90F8BEE}" dt="2023-06-12T06:12:21.179" v="21427" actId="478"/>
          <ac:spMkLst>
            <pc:docMk/>
            <pc:sldMk cId="498844852" sldId="2147471277"/>
            <ac:spMk id="2" creationId="{7FE9AD7B-C62E-C24E-6920-DF8063317D73}"/>
          </ac:spMkLst>
        </pc:spChg>
        <pc:spChg chg="mod">
          <ac:chgData name="Paul LEGEARD" userId="73b5704d-da1d-4b70-8e12-6d54d32b01a3" providerId="ADAL" clId="{20AD8B11-130C-4F68-9211-C0E7C90F8BEE}" dt="2023-06-09T07:46:17.505" v="17996" actId="1076"/>
          <ac:spMkLst>
            <pc:docMk/>
            <pc:sldMk cId="498844852" sldId="2147471277"/>
            <ac:spMk id="4" creationId="{A9E90669-ADF1-0205-02F9-4BC20DC5190D}"/>
          </ac:spMkLst>
        </pc:spChg>
      </pc:sldChg>
      <pc:sldChg chg="addSp delSp modSp add del mod modNotesTx">
        <pc:chgData name="Paul LEGEARD" userId="73b5704d-da1d-4b70-8e12-6d54d32b01a3" providerId="ADAL" clId="{20AD8B11-130C-4F68-9211-C0E7C90F8BEE}" dt="2023-06-20T14:27:20.096" v="29896" actId="47"/>
        <pc:sldMkLst>
          <pc:docMk/>
          <pc:sldMk cId="3600605660" sldId="2147471278"/>
        </pc:sldMkLst>
        <pc:spChg chg="add del mod">
          <ac:chgData name="Paul LEGEARD" userId="73b5704d-da1d-4b70-8e12-6d54d32b01a3" providerId="ADAL" clId="{20AD8B11-130C-4F68-9211-C0E7C90F8BEE}" dt="2023-06-09T08:24:36.560" v="18593" actId="478"/>
          <ac:spMkLst>
            <pc:docMk/>
            <pc:sldMk cId="3600605660" sldId="2147471278"/>
            <ac:spMk id="2" creationId="{D19CC6EF-095C-701C-08DC-5128DFDB57A8}"/>
          </ac:spMkLst>
        </pc:spChg>
        <pc:spChg chg="add del mod">
          <ac:chgData name="Paul LEGEARD" userId="73b5704d-da1d-4b70-8e12-6d54d32b01a3" providerId="ADAL" clId="{20AD8B11-130C-4F68-9211-C0E7C90F8BEE}" dt="2023-06-09T08:27:20.118" v="18701" actId="478"/>
          <ac:spMkLst>
            <pc:docMk/>
            <pc:sldMk cId="3600605660" sldId="2147471278"/>
            <ac:spMk id="3" creationId="{66123ABC-064A-CDF8-B3F9-D42A8DA57940}"/>
          </ac:spMkLst>
        </pc:spChg>
        <pc:spChg chg="mod">
          <ac:chgData name="Paul LEGEARD" userId="73b5704d-da1d-4b70-8e12-6d54d32b01a3" providerId="ADAL" clId="{20AD8B11-130C-4F68-9211-C0E7C90F8BEE}" dt="2023-06-09T08:27:35.574" v="18783" actId="20577"/>
          <ac:spMkLst>
            <pc:docMk/>
            <pc:sldMk cId="3600605660" sldId="2147471278"/>
            <ac:spMk id="4" creationId="{52AFB3F8-88A7-4D69-8A52-45D00774625C}"/>
          </ac:spMkLst>
        </pc:spChg>
        <pc:spChg chg="mod">
          <ac:chgData name="Paul LEGEARD" userId="73b5704d-da1d-4b70-8e12-6d54d32b01a3" providerId="ADAL" clId="{20AD8B11-130C-4F68-9211-C0E7C90F8BEE}" dt="2023-06-09T08:27:42.424" v="18786" actId="1076"/>
          <ac:spMkLst>
            <pc:docMk/>
            <pc:sldMk cId="3600605660" sldId="2147471278"/>
            <ac:spMk id="5" creationId="{4F47CF54-CC45-F180-CE2D-602DBA4A0C6C}"/>
          </ac:spMkLst>
        </pc:spChg>
        <pc:spChg chg="add del mod">
          <ac:chgData name="Paul LEGEARD" userId="73b5704d-da1d-4b70-8e12-6d54d32b01a3" providerId="ADAL" clId="{20AD8B11-130C-4F68-9211-C0E7C90F8BEE}" dt="2023-06-09T08:27:20.118" v="18701" actId="478"/>
          <ac:spMkLst>
            <pc:docMk/>
            <pc:sldMk cId="3600605660" sldId="2147471278"/>
            <ac:spMk id="6" creationId="{0D2492D7-0597-4D91-F649-E0553FC44F85}"/>
          </ac:spMkLst>
        </pc:spChg>
        <pc:spChg chg="mod">
          <ac:chgData name="Paul LEGEARD" userId="73b5704d-da1d-4b70-8e12-6d54d32b01a3" providerId="ADAL" clId="{20AD8B11-130C-4F68-9211-C0E7C90F8BEE}" dt="2023-06-09T08:27:42.424" v="18786" actId="1076"/>
          <ac:spMkLst>
            <pc:docMk/>
            <pc:sldMk cId="3600605660" sldId="2147471278"/>
            <ac:spMk id="31" creationId="{F18053AC-8254-F9BE-730C-5FFBC7151F83}"/>
          </ac:spMkLst>
        </pc:spChg>
        <pc:spChg chg="mod">
          <ac:chgData name="Paul LEGEARD" userId="73b5704d-da1d-4b70-8e12-6d54d32b01a3" providerId="ADAL" clId="{20AD8B11-130C-4F68-9211-C0E7C90F8BEE}" dt="2023-06-09T08:27:42.424" v="18786" actId="1076"/>
          <ac:spMkLst>
            <pc:docMk/>
            <pc:sldMk cId="3600605660" sldId="2147471278"/>
            <ac:spMk id="33" creationId="{58107C33-23A8-0BA6-D16C-F87D1F716FB7}"/>
          </ac:spMkLst>
        </pc:spChg>
        <pc:spChg chg="mod">
          <ac:chgData name="Paul LEGEARD" userId="73b5704d-da1d-4b70-8e12-6d54d32b01a3" providerId="ADAL" clId="{20AD8B11-130C-4F68-9211-C0E7C90F8BEE}" dt="2023-06-09T08:27:42.424" v="18786" actId="1076"/>
          <ac:spMkLst>
            <pc:docMk/>
            <pc:sldMk cId="3600605660" sldId="2147471278"/>
            <ac:spMk id="35" creationId="{13CFC449-3225-BD1B-F6D4-FEA1C3A0A5B3}"/>
          </ac:spMkLst>
        </pc:spChg>
        <pc:spChg chg="mod">
          <ac:chgData name="Paul LEGEARD" userId="73b5704d-da1d-4b70-8e12-6d54d32b01a3" providerId="ADAL" clId="{20AD8B11-130C-4F68-9211-C0E7C90F8BEE}" dt="2023-06-09T08:27:42.424" v="18786" actId="1076"/>
          <ac:spMkLst>
            <pc:docMk/>
            <pc:sldMk cId="3600605660" sldId="2147471278"/>
            <ac:spMk id="38" creationId="{4C5CA4DF-573B-A4DA-18E3-8553B2FA904D}"/>
          </ac:spMkLst>
        </pc:spChg>
        <pc:spChg chg="del">
          <ac:chgData name="Paul LEGEARD" userId="73b5704d-da1d-4b70-8e12-6d54d32b01a3" providerId="ADAL" clId="{20AD8B11-130C-4F68-9211-C0E7C90F8BEE}" dt="2023-06-09T08:27:39.570" v="18785" actId="478"/>
          <ac:spMkLst>
            <pc:docMk/>
            <pc:sldMk cId="3600605660" sldId="2147471278"/>
            <ac:spMk id="63" creationId="{A67A3625-94AF-0175-809D-EE929D98A1F9}"/>
          </ac:spMkLst>
        </pc:spChg>
        <pc:spChg chg="add del mod">
          <ac:chgData name="Paul LEGEARD" userId="73b5704d-da1d-4b70-8e12-6d54d32b01a3" providerId="ADAL" clId="{20AD8B11-130C-4F68-9211-C0E7C90F8BEE}" dt="2023-06-09T08:27:20.118" v="18701" actId="478"/>
          <ac:spMkLst>
            <pc:docMk/>
            <pc:sldMk cId="3600605660" sldId="2147471278"/>
            <ac:spMk id="65" creationId="{F470B8AE-ECD3-0CC6-AEC4-3B5A1DC60E22}"/>
          </ac:spMkLst>
        </pc:spChg>
        <pc:spChg chg="del mod">
          <ac:chgData name="Paul LEGEARD" userId="73b5704d-da1d-4b70-8e12-6d54d32b01a3" providerId="ADAL" clId="{20AD8B11-130C-4F68-9211-C0E7C90F8BEE}" dt="2023-06-09T08:27:38.279" v="18784" actId="478"/>
          <ac:spMkLst>
            <pc:docMk/>
            <pc:sldMk cId="3600605660" sldId="2147471278"/>
            <ac:spMk id="68" creationId="{B7FCE9C1-4BCC-82DE-283A-A2260E908F1A}"/>
          </ac:spMkLst>
        </pc:spChg>
        <pc:spChg chg="mod">
          <ac:chgData name="Paul LEGEARD" userId="73b5704d-da1d-4b70-8e12-6d54d32b01a3" providerId="ADAL" clId="{20AD8B11-130C-4F68-9211-C0E7C90F8BEE}" dt="2023-06-09T08:24:13.065" v="18560" actId="20577"/>
          <ac:spMkLst>
            <pc:docMk/>
            <pc:sldMk cId="3600605660" sldId="2147471278"/>
            <ac:spMk id="69" creationId="{F4205C45-DCC4-6E10-B107-B935499C9EF7}"/>
          </ac:spMkLst>
        </pc:spChg>
        <pc:spChg chg="mod">
          <ac:chgData name="Paul LEGEARD" userId="73b5704d-da1d-4b70-8e12-6d54d32b01a3" providerId="ADAL" clId="{20AD8B11-130C-4F68-9211-C0E7C90F8BEE}" dt="2023-06-09T08:24:26.191" v="18592" actId="20577"/>
          <ac:spMkLst>
            <pc:docMk/>
            <pc:sldMk cId="3600605660" sldId="2147471278"/>
            <ac:spMk id="77" creationId="{DF2FE499-BB75-93A2-17DA-C4BAE5EAE974}"/>
          </ac:spMkLst>
        </pc:spChg>
        <pc:grpChg chg="add del">
          <ac:chgData name="Paul LEGEARD" userId="73b5704d-da1d-4b70-8e12-6d54d32b01a3" providerId="ADAL" clId="{20AD8B11-130C-4F68-9211-C0E7C90F8BEE}" dt="2023-06-09T08:27:20.118" v="18701" actId="478"/>
          <ac:grpSpMkLst>
            <pc:docMk/>
            <pc:sldMk cId="3600605660" sldId="2147471278"/>
            <ac:grpSpMk id="82" creationId="{267616E6-B24D-A407-4089-4A19EE3261BB}"/>
          </ac:grpSpMkLst>
        </pc:grpChg>
        <pc:grpChg chg="add del">
          <ac:chgData name="Paul LEGEARD" userId="73b5704d-da1d-4b70-8e12-6d54d32b01a3" providerId="ADAL" clId="{20AD8B11-130C-4F68-9211-C0E7C90F8BEE}" dt="2023-06-09T08:27:20.118" v="18701" actId="478"/>
          <ac:grpSpMkLst>
            <pc:docMk/>
            <pc:sldMk cId="3600605660" sldId="2147471278"/>
            <ac:grpSpMk id="85" creationId="{9C9AEE61-3829-FB42-EC12-26A0FA22C808}"/>
          </ac:grpSpMkLst>
        </pc:grpChg>
        <pc:graphicFrameChg chg="mod modGraphic">
          <ac:chgData name="Paul LEGEARD" userId="73b5704d-da1d-4b70-8e12-6d54d32b01a3" providerId="ADAL" clId="{20AD8B11-130C-4F68-9211-C0E7C90F8BEE}" dt="2023-06-09T08:27:58.798" v="18793" actId="403"/>
          <ac:graphicFrameMkLst>
            <pc:docMk/>
            <pc:sldMk cId="3600605660" sldId="2147471278"/>
            <ac:graphicFrameMk id="55" creationId="{36CDA96F-8EB3-629C-2FE6-7F67DDF7423D}"/>
          </ac:graphicFrameMkLst>
        </pc:graphicFrameChg>
        <pc:picChg chg="mod">
          <ac:chgData name="Paul LEGEARD" userId="73b5704d-da1d-4b70-8e12-6d54d32b01a3" providerId="ADAL" clId="{20AD8B11-130C-4F68-9211-C0E7C90F8BEE}" dt="2023-06-09T08:27:42.424" v="18786" actId="1076"/>
          <ac:picMkLst>
            <pc:docMk/>
            <pc:sldMk cId="3600605660" sldId="2147471278"/>
            <ac:picMk id="13" creationId="{EF490FB7-FC0E-4A3A-DE8F-43B1D37F180E}"/>
          </ac:picMkLst>
        </pc:picChg>
        <pc:picChg chg="mod">
          <ac:chgData name="Paul LEGEARD" userId="73b5704d-da1d-4b70-8e12-6d54d32b01a3" providerId="ADAL" clId="{20AD8B11-130C-4F68-9211-C0E7C90F8BEE}" dt="2023-06-09T08:27:42.424" v="18786" actId="1076"/>
          <ac:picMkLst>
            <pc:docMk/>
            <pc:sldMk cId="3600605660" sldId="2147471278"/>
            <ac:picMk id="19" creationId="{68C178E6-355A-7EB0-AA82-7C865A89936C}"/>
          </ac:picMkLst>
        </pc:picChg>
        <pc:picChg chg="del">
          <ac:chgData name="Paul LEGEARD" userId="73b5704d-da1d-4b70-8e12-6d54d32b01a3" providerId="ADAL" clId="{20AD8B11-130C-4F68-9211-C0E7C90F8BEE}" dt="2023-06-09T08:27:38.279" v="18784" actId="478"/>
          <ac:picMkLst>
            <pc:docMk/>
            <pc:sldMk cId="3600605660" sldId="2147471278"/>
            <ac:picMk id="67" creationId="{B7C6AB3C-BC0B-1271-7170-FDAF578CC138}"/>
          </ac:picMkLst>
        </pc:picChg>
        <pc:picChg chg="del">
          <ac:chgData name="Paul LEGEARD" userId="73b5704d-da1d-4b70-8e12-6d54d32b01a3" providerId="ADAL" clId="{20AD8B11-130C-4F68-9211-C0E7C90F8BEE}" dt="2023-06-09T08:22:39.091" v="18440" actId="478"/>
          <ac:picMkLst>
            <pc:docMk/>
            <pc:sldMk cId="3600605660" sldId="2147471278"/>
            <ac:picMk id="73" creationId="{2F419D09-9C21-7618-4587-406A756922A9}"/>
          </ac:picMkLst>
        </pc:picChg>
        <pc:picChg chg="del">
          <ac:chgData name="Paul LEGEARD" userId="73b5704d-da1d-4b70-8e12-6d54d32b01a3" providerId="ADAL" clId="{20AD8B11-130C-4F68-9211-C0E7C90F8BEE}" dt="2023-06-09T08:21:47.849" v="18330" actId="478"/>
          <ac:picMkLst>
            <pc:docMk/>
            <pc:sldMk cId="3600605660" sldId="2147471278"/>
            <ac:picMk id="74" creationId="{009D0FA7-C2B6-12F4-8FFF-EE27FBBDD35E}"/>
          </ac:picMkLst>
        </pc:picChg>
        <pc:picChg chg="mod">
          <ac:chgData name="Paul LEGEARD" userId="73b5704d-da1d-4b70-8e12-6d54d32b01a3" providerId="ADAL" clId="{20AD8B11-130C-4F68-9211-C0E7C90F8BEE}" dt="2023-06-09T08:23:39.198" v="18491" actId="1038"/>
          <ac:picMkLst>
            <pc:docMk/>
            <pc:sldMk cId="3600605660" sldId="2147471278"/>
            <ac:picMk id="78" creationId="{75080B25-8C21-C414-9B8D-DB0A06C9C292}"/>
          </ac:picMkLst>
        </pc:picChg>
        <pc:picChg chg="mod">
          <ac:chgData name="Paul LEGEARD" userId="73b5704d-da1d-4b70-8e12-6d54d32b01a3" providerId="ADAL" clId="{20AD8B11-130C-4F68-9211-C0E7C90F8BEE}" dt="2023-06-09T08:23:49.181" v="18494" actId="1076"/>
          <ac:picMkLst>
            <pc:docMk/>
            <pc:sldMk cId="3600605660" sldId="2147471278"/>
            <ac:picMk id="81" creationId="{E66471B0-3FDE-8150-5275-9F3A3C8CEFFD}"/>
          </ac:picMkLst>
        </pc:picChg>
        <pc:picChg chg="mod">
          <ac:chgData name="Paul LEGEARD" userId="73b5704d-da1d-4b70-8e12-6d54d32b01a3" providerId="ADAL" clId="{20AD8B11-130C-4F68-9211-C0E7C90F8BEE}" dt="2023-06-09T08:23:51.195" v="18495" actId="1076"/>
          <ac:picMkLst>
            <pc:docMk/>
            <pc:sldMk cId="3600605660" sldId="2147471278"/>
            <ac:picMk id="84" creationId="{8C622C0E-2663-E112-D25A-118F61486467}"/>
          </ac:picMkLst>
        </pc:picChg>
      </pc:sldChg>
      <pc:sldChg chg="addSp delSp modSp del mod modNotesTx">
        <pc:chgData name="Paul LEGEARD" userId="73b5704d-da1d-4b70-8e12-6d54d32b01a3" providerId="ADAL" clId="{20AD8B11-130C-4F68-9211-C0E7C90F8BEE}" dt="2023-06-09T09:56:03.695" v="21375" actId="47"/>
        <pc:sldMkLst>
          <pc:docMk/>
          <pc:sldMk cId="2912895374" sldId="2147471279"/>
        </pc:sldMkLst>
        <pc:spChg chg="del mod">
          <ac:chgData name="Paul LEGEARD" userId="73b5704d-da1d-4b70-8e12-6d54d32b01a3" providerId="ADAL" clId="{20AD8B11-130C-4F68-9211-C0E7C90F8BEE}" dt="2023-06-09T08:19:27.751" v="18181" actId="478"/>
          <ac:spMkLst>
            <pc:docMk/>
            <pc:sldMk cId="2912895374" sldId="2147471279"/>
            <ac:spMk id="2" creationId="{10D7C112-32BE-55D2-F1F6-34E3AD625A75}"/>
          </ac:spMkLst>
        </pc:spChg>
        <pc:spChg chg="add mod">
          <ac:chgData name="Paul LEGEARD" userId="73b5704d-da1d-4b70-8e12-6d54d32b01a3" providerId="ADAL" clId="{20AD8B11-130C-4F68-9211-C0E7C90F8BEE}" dt="2023-06-09T08:19:21.063" v="18178"/>
          <ac:spMkLst>
            <pc:docMk/>
            <pc:sldMk cId="2912895374" sldId="2147471279"/>
            <ac:spMk id="30" creationId="{10D7C112-32BE-55D2-F1F6-34E3AD625A75}"/>
          </ac:spMkLst>
        </pc:spChg>
        <pc:spChg chg="del">
          <ac:chgData name="Paul LEGEARD" userId="73b5704d-da1d-4b70-8e12-6d54d32b01a3" providerId="ADAL" clId="{20AD8B11-130C-4F68-9211-C0E7C90F8BEE}" dt="2023-06-09T09:23:52.881" v="19734" actId="478"/>
          <ac:spMkLst>
            <pc:docMk/>
            <pc:sldMk cId="2912895374" sldId="2147471279"/>
            <ac:spMk id="30" creationId="{F9EA0667-41F6-42E8-A593-FA06A4A3A673}"/>
          </ac:spMkLst>
        </pc:spChg>
        <pc:spChg chg="add mod">
          <ac:chgData name="Paul LEGEARD" userId="73b5704d-da1d-4b70-8e12-6d54d32b01a3" providerId="ADAL" clId="{20AD8B11-130C-4F68-9211-C0E7C90F8BEE}" dt="2023-06-09T08:29:41.233" v="18811" actId="20577"/>
          <ac:spMkLst>
            <pc:docMk/>
            <pc:sldMk cId="2912895374" sldId="2147471279"/>
            <ac:spMk id="31" creationId="{C19EDD87-BC8D-70C6-71A3-92C5557B3C87}"/>
          </ac:spMkLst>
        </pc:spChg>
        <pc:spChg chg="add mod">
          <ac:chgData name="Paul LEGEARD" userId="73b5704d-da1d-4b70-8e12-6d54d32b01a3" providerId="ADAL" clId="{20AD8B11-130C-4F68-9211-C0E7C90F8BEE}" dt="2023-06-09T08:27:01.625" v="18698" actId="20577"/>
          <ac:spMkLst>
            <pc:docMk/>
            <pc:sldMk cId="2912895374" sldId="2147471279"/>
            <ac:spMk id="34" creationId="{05005195-DC7E-260E-42F2-3E54D1CD636D}"/>
          </ac:spMkLst>
        </pc:spChg>
        <pc:spChg chg="mod">
          <ac:chgData name="Paul LEGEARD" userId="73b5704d-da1d-4b70-8e12-6d54d32b01a3" providerId="ADAL" clId="{20AD8B11-130C-4F68-9211-C0E7C90F8BEE}" dt="2023-06-09T08:27:09.117" v="18699"/>
          <ac:spMkLst>
            <pc:docMk/>
            <pc:sldMk cId="2912895374" sldId="2147471279"/>
            <ac:spMk id="36" creationId="{537CD382-5DE4-D0CB-5FD6-4943384F3FDA}"/>
          </ac:spMkLst>
        </pc:spChg>
        <pc:grpChg chg="add del mod">
          <ac:chgData name="Paul LEGEARD" userId="73b5704d-da1d-4b70-8e12-6d54d32b01a3" providerId="ADAL" clId="{20AD8B11-130C-4F68-9211-C0E7C90F8BEE}" dt="2023-06-09T09:31:13.848" v="19854" actId="478"/>
          <ac:grpSpMkLst>
            <pc:docMk/>
            <pc:sldMk cId="2912895374" sldId="2147471279"/>
            <ac:grpSpMk id="35" creationId="{67C98D24-D27B-F5CE-EE0B-9E9E42DC94A2}"/>
          </ac:grpSpMkLst>
        </pc:grpChg>
        <pc:picChg chg="add mod">
          <ac:chgData name="Paul LEGEARD" userId="73b5704d-da1d-4b70-8e12-6d54d32b01a3" providerId="ADAL" clId="{20AD8B11-130C-4F68-9211-C0E7C90F8BEE}" dt="2023-06-09T08:26:50.625" v="18677" actId="1076"/>
          <ac:picMkLst>
            <pc:docMk/>
            <pc:sldMk cId="2912895374" sldId="2147471279"/>
            <ac:picMk id="33" creationId="{2D76141E-7F94-5ECD-B2B5-2BDC7FC88A5F}"/>
          </ac:picMkLst>
        </pc:picChg>
        <pc:picChg chg="mod">
          <ac:chgData name="Paul LEGEARD" userId="73b5704d-da1d-4b70-8e12-6d54d32b01a3" providerId="ADAL" clId="{20AD8B11-130C-4F68-9211-C0E7C90F8BEE}" dt="2023-06-09T08:27:09.117" v="18699"/>
          <ac:picMkLst>
            <pc:docMk/>
            <pc:sldMk cId="2912895374" sldId="2147471279"/>
            <ac:picMk id="37" creationId="{FF1C0A32-FF38-41E8-692E-E9A3D0EE5964}"/>
          </ac:picMkLst>
        </pc:picChg>
      </pc:sldChg>
      <pc:sldChg chg="add del">
        <pc:chgData name="Paul LEGEARD" userId="73b5704d-da1d-4b70-8e12-6d54d32b01a3" providerId="ADAL" clId="{20AD8B11-130C-4F68-9211-C0E7C90F8BEE}" dt="2023-06-09T09:17:19.587" v="19393" actId="47"/>
        <pc:sldMkLst>
          <pc:docMk/>
          <pc:sldMk cId="2574754570" sldId="2147471280"/>
        </pc:sldMkLst>
      </pc:sldChg>
      <pc:sldChg chg="addSp delSp modSp add del mod modNotesTx">
        <pc:chgData name="Paul LEGEARD" userId="73b5704d-da1d-4b70-8e12-6d54d32b01a3" providerId="ADAL" clId="{20AD8B11-130C-4F68-9211-C0E7C90F8BEE}" dt="2023-06-20T14:27:19.340" v="29895" actId="47"/>
        <pc:sldMkLst>
          <pc:docMk/>
          <pc:sldMk cId="4273655780" sldId="2147471280"/>
        </pc:sldMkLst>
        <pc:spChg chg="add mod">
          <ac:chgData name="Paul LEGEARD" userId="73b5704d-da1d-4b70-8e12-6d54d32b01a3" providerId="ADAL" clId="{20AD8B11-130C-4F68-9211-C0E7C90F8BEE}" dt="2023-06-09T09:34:04.219" v="19991" actId="1035"/>
          <ac:spMkLst>
            <pc:docMk/>
            <pc:sldMk cId="4273655780" sldId="2147471280"/>
            <ac:spMk id="2" creationId="{1FE81CDC-EBA7-464C-DE33-CE3AB0A399CF}"/>
          </ac:spMkLst>
        </pc:spChg>
        <pc:spChg chg="add mod ord">
          <ac:chgData name="Paul LEGEARD" userId="73b5704d-da1d-4b70-8e12-6d54d32b01a3" providerId="ADAL" clId="{20AD8B11-130C-4F68-9211-C0E7C90F8BEE}" dt="2023-06-09T09:49:02.937" v="20883" actId="1076"/>
          <ac:spMkLst>
            <pc:docMk/>
            <pc:sldMk cId="4273655780" sldId="2147471280"/>
            <ac:spMk id="3" creationId="{D2E94A04-15CC-EF08-C19D-25E493102900}"/>
          </ac:spMkLst>
        </pc:spChg>
        <pc:spChg chg="mod">
          <ac:chgData name="Paul LEGEARD" userId="73b5704d-da1d-4b70-8e12-6d54d32b01a3" providerId="ADAL" clId="{20AD8B11-130C-4F68-9211-C0E7C90F8BEE}" dt="2023-06-09T09:21:50.553" v="19512" actId="1036"/>
          <ac:spMkLst>
            <pc:docMk/>
            <pc:sldMk cId="4273655780" sldId="2147471280"/>
            <ac:spMk id="4" creationId="{52AFB3F8-88A7-4D69-8A52-45D00774625C}"/>
          </ac:spMkLst>
        </pc:spChg>
        <pc:spChg chg="add mod">
          <ac:chgData name="Paul LEGEARD" userId="73b5704d-da1d-4b70-8e12-6d54d32b01a3" providerId="ADAL" clId="{20AD8B11-130C-4F68-9211-C0E7C90F8BEE}" dt="2023-06-09T09:34:21.763" v="20050" actId="1037"/>
          <ac:spMkLst>
            <pc:docMk/>
            <pc:sldMk cId="4273655780" sldId="2147471280"/>
            <ac:spMk id="5" creationId="{A9456968-FB4D-4B9F-DAA1-57908F93CD69}"/>
          </ac:spMkLst>
        </pc:spChg>
        <pc:spChg chg="add mod">
          <ac:chgData name="Paul LEGEARD" userId="73b5704d-da1d-4b70-8e12-6d54d32b01a3" providerId="ADAL" clId="{20AD8B11-130C-4F68-9211-C0E7C90F8BEE}" dt="2023-06-09T09:26:38.276" v="19814" actId="1076"/>
          <ac:spMkLst>
            <pc:docMk/>
            <pc:sldMk cId="4273655780" sldId="2147471280"/>
            <ac:spMk id="6" creationId="{FCCAF9DD-A5E2-7143-315C-FC200D63FF80}"/>
          </ac:spMkLst>
        </pc:spChg>
        <pc:spChg chg="del">
          <ac:chgData name="Paul LEGEARD" userId="73b5704d-da1d-4b70-8e12-6d54d32b01a3" providerId="ADAL" clId="{20AD8B11-130C-4F68-9211-C0E7C90F8BEE}" dt="2023-06-09T09:21:23.312" v="19469" actId="478"/>
          <ac:spMkLst>
            <pc:docMk/>
            <pc:sldMk cId="4273655780" sldId="2147471280"/>
            <ac:spMk id="7" creationId="{534396F8-E953-4C46-B0CD-1F1D99F02874}"/>
          </ac:spMkLst>
        </pc:spChg>
        <pc:spChg chg="del">
          <ac:chgData name="Paul LEGEARD" userId="73b5704d-da1d-4b70-8e12-6d54d32b01a3" providerId="ADAL" clId="{20AD8B11-130C-4F68-9211-C0E7C90F8BEE}" dt="2023-06-09T09:21:23.312" v="19469" actId="478"/>
          <ac:spMkLst>
            <pc:docMk/>
            <pc:sldMk cId="4273655780" sldId="2147471280"/>
            <ac:spMk id="9" creationId="{4F27743C-6575-7926-24E1-FD0358DDC666}"/>
          </ac:spMkLst>
        </pc:spChg>
        <pc:spChg chg="del">
          <ac:chgData name="Paul LEGEARD" userId="73b5704d-da1d-4b70-8e12-6d54d32b01a3" providerId="ADAL" clId="{20AD8B11-130C-4F68-9211-C0E7C90F8BEE}" dt="2023-06-09T09:21:23.312" v="19469" actId="478"/>
          <ac:spMkLst>
            <pc:docMk/>
            <pc:sldMk cId="4273655780" sldId="2147471280"/>
            <ac:spMk id="10" creationId="{9D51C2ED-DB2E-8733-E50A-6C8C87643C3A}"/>
          </ac:spMkLst>
        </pc:spChg>
        <pc:spChg chg="del">
          <ac:chgData name="Paul LEGEARD" userId="73b5704d-da1d-4b70-8e12-6d54d32b01a3" providerId="ADAL" clId="{20AD8B11-130C-4F68-9211-C0E7C90F8BEE}" dt="2023-06-09T09:21:23.312" v="19469" actId="478"/>
          <ac:spMkLst>
            <pc:docMk/>
            <pc:sldMk cId="4273655780" sldId="2147471280"/>
            <ac:spMk id="12" creationId="{2AA1EFF1-5FCD-12F9-B90A-9054BD3FB937}"/>
          </ac:spMkLst>
        </pc:spChg>
        <pc:spChg chg="del">
          <ac:chgData name="Paul LEGEARD" userId="73b5704d-da1d-4b70-8e12-6d54d32b01a3" providerId="ADAL" clId="{20AD8B11-130C-4F68-9211-C0E7C90F8BEE}" dt="2023-06-09T09:21:23.312" v="19469" actId="478"/>
          <ac:spMkLst>
            <pc:docMk/>
            <pc:sldMk cId="4273655780" sldId="2147471280"/>
            <ac:spMk id="13" creationId="{860F367F-8B61-390D-65E5-9B0D41F662EA}"/>
          </ac:spMkLst>
        </pc:spChg>
        <pc:spChg chg="del">
          <ac:chgData name="Paul LEGEARD" userId="73b5704d-da1d-4b70-8e12-6d54d32b01a3" providerId="ADAL" clId="{20AD8B11-130C-4F68-9211-C0E7C90F8BEE}" dt="2023-06-09T09:21:23.312" v="19469" actId="478"/>
          <ac:spMkLst>
            <pc:docMk/>
            <pc:sldMk cId="4273655780" sldId="2147471280"/>
            <ac:spMk id="14" creationId="{15C02DFF-31A4-F7E7-CE67-444BEB73904B}"/>
          </ac:spMkLst>
        </pc:spChg>
        <pc:spChg chg="del">
          <ac:chgData name="Paul LEGEARD" userId="73b5704d-da1d-4b70-8e12-6d54d32b01a3" providerId="ADAL" clId="{20AD8B11-130C-4F68-9211-C0E7C90F8BEE}" dt="2023-06-09T09:21:23.312" v="19469" actId="478"/>
          <ac:spMkLst>
            <pc:docMk/>
            <pc:sldMk cId="4273655780" sldId="2147471280"/>
            <ac:spMk id="15" creationId="{5B9FCDC2-A9B0-92BD-8E34-938A8C9C9EF5}"/>
          </ac:spMkLst>
        </pc:spChg>
        <pc:spChg chg="del">
          <ac:chgData name="Paul LEGEARD" userId="73b5704d-da1d-4b70-8e12-6d54d32b01a3" providerId="ADAL" clId="{20AD8B11-130C-4F68-9211-C0E7C90F8BEE}" dt="2023-06-09T09:21:23.312" v="19469" actId="478"/>
          <ac:spMkLst>
            <pc:docMk/>
            <pc:sldMk cId="4273655780" sldId="2147471280"/>
            <ac:spMk id="16" creationId="{45D1CC84-74E4-3BE3-17EF-2F3CF95A67A4}"/>
          </ac:spMkLst>
        </pc:spChg>
        <pc:spChg chg="del">
          <ac:chgData name="Paul LEGEARD" userId="73b5704d-da1d-4b70-8e12-6d54d32b01a3" providerId="ADAL" clId="{20AD8B11-130C-4F68-9211-C0E7C90F8BEE}" dt="2023-06-09T09:21:23.312" v="19469" actId="478"/>
          <ac:spMkLst>
            <pc:docMk/>
            <pc:sldMk cId="4273655780" sldId="2147471280"/>
            <ac:spMk id="17" creationId="{EDFA91F3-F0E3-F92F-E8ED-63BD5AA18C19}"/>
          </ac:spMkLst>
        </pc:spChg>
        <pc:spChg chg="del">
          <ac:chgData name="Paul LEGEARD" userId="73b5704d-da1d-4b70-8e12-6d54d32b01a3" providerId="ADAL" clId="{20AD8B11-130C-4F68-9211-C0E7C90F8BEE}" dt="2023-06-09T09:21:23.312" v="19469" actId="478"/>
          <ac:spMkLst>
            <pc:docMk/>
            <pc:sldMk cId="4273655780" sldId="2147471280"/>
            <ac:spMk id="18" creationId="{4B577AA3-24D9-C5E2-1EC0-09BB18018599}"/>
          </ac:spMkLst>
        </pc:spChg>
        <pc:spChg chg="del">
          <ac:chgData name="Paul LEGEARD" userId="73b5704d-da1d-4b70-8e12-6d54d32b01a3" providerId="ADAL" clId="{20AD8B11-130C-4F68-9211-C0E7C90F8BEE}" dt="2023-06-09T09:21:23.312" v="19469" actId="478"/>
          <ac:spMkLst>
            <pc:docMk/>
            <pc:sldMk cId="4273655780" sldId="2147471280"/>
            <ac:spMk id="19" creationId="{46C09A4D-CE01-8631-269D-76C41CBEB0E8}"/>
          </ac:spMkLst>
        </pc:spChg>
        <pc:spChg chg="del">
          <ac:chgData name="Paul LEGEARD" userId="73b5704d-da1d-4b70-8e12-6d54d32b01a3" providerId="ADAL" clId="{20AD8B11-130C-4F68-9211-C0E7C90F8BEE}" dt="2023-06-09T09:21:23.312" v="19469" actId="478"/>
          <ac:spMkLst>
            <pc:docMk/>
            <pc:sldMk cId="4273655780" sldId="2147471280"/>
            <ac:spMk id="20" creationId="{07E83665-F2CD-7CB0-C8A3-44EFE82817D5}"/>
          </ac:spMkLst>
        </pc:spChg>
        <pc:spChg chg="del">
          <ac:chgData name="Paul LEGEARD" userId="73b5704d-da1d-4b70-8e12-6d54d32b01a3" providerId="ADAL" clId="{20AD8B11-130C-4F68-9211-C0E7C90F8BEE}" dt="2023-06-09T09:21:23.312" v="19469" actId="478"/>
          <ac:spMkLst>
            <pc:docMk/>
            <pc:sldMk cId="4273655780" sldId="2147471280"/>
            <ac:spMk id="21" creationId="{064BEDF3-E0E4-8FFE-2395-4AA20AAF0DDE}"/>
          </ac:spMkLst>
        </pc:spChg>
        <pc:spChg chg="del">
          <ac:chgData name="Paul LEGEARD" userId="73b5704d-da1d-4b70-8e12-6d54d32b01a3" providerId="ADAL" clId="{20AD8B11-130C-4F68-9211-C0E7C90F8BEE}" dt="2023-06-09T09:21:23.312" v="19469" actId="478"/>
          <ac:spMkLst>
            <pc:docMk/>
            <pc:sldMk cId="4273655780" sldId="2147471280"/>
            <ac:spMk id="24" creationId="{DB636A21-55E7-871F-BBC8-B3EE8C5DFF3D}"/>
          </ac:spMkLst>
        </pc:spChg>
        <pc:spChg chg="del">
          <ac:chgData name="Paul LEGEARD" userId="73b5704d-da1d-4b70-8e12-6d54d32b01a3" providerId="ADAL" clId="{20AD8B11-130C-4F68-9211-C0E7C90F8BEE}" dt="2023-06-09T09:21:23.312" v="19469" actId="478"/>
          <ac:spMkLst>
            <pc:docMk/>
            <pc:sldMk cId="4273655780" sldId="2147471280"/>
            <ac:spMk id="25" creationId="{926863D5-3F35-66D6-BF66-3BAED5FB1442}"/>
          </ac:spMkLst>
        </pc:spChg>
        <pc:spChg chg="add del mod">
          <ac:chgData name="Paul LEGEARD" userId="73b5704d-da1d-4b70-8e12-6d54d32b01a3" providerId="ADAL" clId="{20AD8B11-130C-4F68-9211-C0E7C90F8BEE}" dt="2023-06-09T09:25:09.178" v="19795" actId="478"/>
          <ac:spMkLst>
            <pc:docMk/>
            <pc:sldMk cId="4273655780" sldId="2147471280"/>
            <ac:spMk id="28" creationId="{404C2D89-E968-AECA-247F-740261345A13}"/>
          </ac:spMkLst>
        </pc:spChg>
        <pc:spChg chg="del">
          <ac:chgData name="Paul LEGEARD" userId="73b5704d-da1d-4b70-8e12-6d54d32b01a3" providerId="ADAL" clId="{20AD8B11-130C-4F68-9211-C0E7C90F8BEE}" dt="2023-06-09T09:21:23.312" v="19469" actId="478"/>
          <ac:spMkLst>
            <pc:docMk/>
            <pc:sldMk cId="4273655780" sldId="2147471280"/>
            <ac:spMk id="29" creationId="{A60B14A4-C6DC-EE91-1DF0-061626E6918F}"/>
          </ac:spMkLst>
        </pc:spChg>
        <pc:spChg chg="del">
          <ac:chgData name="Paul LEGEARD" userId="73b5704d-da1d-4b70-8e12-6d54d32b01a3" providerId="ADAL" clId="{20AD8B11-130C-4F68-9211-C0E7C90F8BEE}" dt="2023-06-09T09:21:23.312" v="19469" actId="478"/>
          <ac:spMkLst>
            <pc:docMk/>
            <pc:sldMk cId="4273655780" sldId="2147471280"/>
            <ac:spMk id="30" creationId="{8CF59B19-AFB9-87E1-19CA-992E6CA4BEB8}"/>
          </ac:spMkLst>
        </pc:spChg>
        <pc:spChg chg="add mod">
          <ac:chgData name="Paul LEGEARD" userId="73b5704d-da1d-4b70-8e12-6d54d32b01a3" providerId="ADAL" clId="{20AD8B11-130C-4F68-9211-C0E7C90F8BEE}" dt="2023-06-09T09:41:49.424" v="20606" actId="1076"/>
          <ac:spMkLst>
            <pc:docMk/>
            <pc:sldMk cId="4273655780" sldId="2147471280"/>
            <ac:spMk id="32" creationId="{4ABC39D5-6213-EAEA-235E-242ADFE9D9EC}"/>
          </ac:spMkLst>
        </pc:spChg>
        <pc:spChg chg="mod">
          <ac:chgData name="Paul LEGEARD" userId="73b5704d-da1d-4b70-8e12-6d54d32b01a3" providerId="ADAL" clId="{20AD8B11-130C-4F68-9211-C0E7C90F8BEE}" dt="2023-06-09T09:26:35.635" v="19812" actId="2710"/>
          <ac:spMkLst>
            <pc:docMk/>
            <pc:sldMk cId="4273655780" sldId="2147471280"/>
            <ac:spMk id="34" creationId="{0D0C7472-D4B6-BC4A-9CEE-81212793F701}"/>
          </ac:spMkLst>
        </pc:spChg>
        <pc:spChg chg="del">
          <ac:chgData name="Paul LEGEARD" userId="73b5704d-da1d-4b70-8e12-6d54d32b01a3" providerId="ADAL" clId="{20AD8B11-130C-4F68-9211-C0E7C90F8BEE}" dt="2023-06-09T09:21:23.312" v="19469" actId="478"/>
          <ac:spMkLst>
            <pc:docMk/>
            <pc:sldMk cId="4273655780" sldId="2147471280"/>
            <ac:spMk id="35" creationId="{0A975646-4E10-7C21-5E67-2311C0D6C95D}"/>
          </ac:spMkLst>
        </pc:spChg>
        <pc:spChg chg="del">
          <ac:chgData name="Paul LEGEARD" userId="73b5704d-da1d-4b70-8e12-6d54d32b01a3" providerId="ADAL" clId="{20AD8B11-130C-4F68-9211-C0E7C90F8BEE}" dt="2023-06-09T09:21:23.312" v="19469" actId="478"/>
          <ac:spMkLst>
            <pc:docMk/>
            <pc:sldMk cId="4273655780" sldId="2147471280"/>
            <ac:spMk id="36" creationId="{70900175-4234-E6F3-5B2B-C90F3E9EAC06}"/>
          </ac:spMkLst>
        </pc:spChg>
        <pc:spChg chg="del">
          <ac:chgData name="Paul LEGEARD" userId="73b5704d-da1d-4b70-8e12-6d54d32b01a3" providerId="ADAL" clId="{20AD8B11-130C-4F68-9211-C0E7C90F8BEE}" dt="2023-06-09T09:21:23.312" v="19469" actId="478"/>
          <ac:spMkLst>
            <pc:docMk/>
            <pc:sldMk cId="4273655780" sldId="2147471280"/>
            <ac:spMk id="37" creationId="{8CB7799D-9BCA-3278-B2A9-148E032DDE16}"/>
          </ac:spMkLst>
        </pc:spChg>
        <pc:spChg chg="del">
          <ac:chgData name="Paul LEGEARD" userId="73b5704d-da1d-4b70-8e12-6d54d32b01a3" providerId="ADAL" clId="{20AD8B11-130C-4F68-9211-C0E7C90F8BEE}" dt="2023-06-09T09:21:23.312" v="19469" actId="478"/>
          <ac:spMkLst>
            <pc:docMk/>
            <pc:sldMk cId="4273655780" sldId="2147471280"/>
            <ac:spMk id="38" creationId="{2EB46576-81ED-40E6-BD77-ED3C65FCE448}"/>
          </ac:spMkLst>
        </pc:spChg>
        <pc:spChg chg="del">
          <ac:chgData name="Paul LEGEARD" userId="73b5704d-da1d-4b70-8e12-6d54d32b01a3" providerId="ADAL" clId="{20AD8B11-130C-4F68-9211-C0E7C90F8BEE}" dt="2023-06-09T09:21:23.312" v="19469" actId="478"/>
          <ac:spMkLst>
            <pc:docMk/>
            <pc:sldMk cId="4273655780" sldId="2147471280"/>
            <ac:spMk id="40" creationId="{640A8D0B-2BE8-ECBC-FC0E-25AE34291441}"/>
          </ac:spMkLst>
        </pc:spChg>
        <pc:spChg chg="add del mod">
          <ac:chgData name="Paul LEGEARD" userId="73b5704d-da1d-4b70-8e12-6d54d32b01a3" providerId="ADAL" clId="{20AD8B11-130C-4F68-9211-C0E7C90F8BEE}" dt="2023-06-09T09:27:05.351" v="19823" actId="478"/>
          <ac:spMkLst>
            <pc:docMk/>
            <pc:sldMk cId="4273655780" sldId="2147471280"/>
            <ac:spMk id="42" creationId="{416BB22A-F540-CD64-94E7-4EDC8B4D0C37}"/>
          </ac:spMkLst>
        </pc:spChg>
        <pc:spChg chg="del">
          <ac:chgData name="Paul LEGEARD" userId="73b5704d-da1d-4b70-8e12-6d54d32b01a3" providerId="ADAL" clId="{20AD8B11-130C-4F68-9211-C0E7C90F8BEE}" dt="2023-06-09T09:21:23.312" v="19469" actId="478"/>
          <ac:spMkLst>
            <pc:docMk/>
            <pc:sldMk cId="4273655780" sldId="2147471280"/>
            <ac:spMk id="43" creationId="{19C258AD-9B68-766C-A9E2-E1B4F650AA50}"/>
          </ac:spMkLst>
        </pc:spChg>
        <pc:spChg chg="del">
          <ac:chgData name="Paul LEGEARD" userId="73b5704d-da1d-4b70-8e12-6d54d32b01a3" providerId="ADAL" clId="{20AD8B11-130C-4F68-9211-C0E7C90F8BEE}" dt="2023-06-09T09:21:23.312" v="19469" actId="478"/>
          <ac:spMkLst>
            <pc:docMk/>
            <pc:sldMk cId="4273655780" sldId="2147471280"/>
            <ac:spMk id="53" creationId="{C1D1030F-C4C3-5EAA-29D6-860A2598701D}"/>
          </ac:spMkLst>
        </pc:spChg>
        <pc:spChg chg="del">
          <ac:chgData name="Paul LEGEARD" userId="73b5704d-da1d-4b70-8e12-6d54d32b01a3" providerId="ADAL" clId="{20AD8B11-130C-4F68-9211-C0E7C90F8BEE}" dt="2023-06-09T09:21:23.312" v="19469" actId="478"/>
          <ac:spMkLst>
            <pc:docMk/>
            <pc:sldMk cId="4273655780" sldId="2147471280"/>
            <ac:spMk id="54" creationId="{5A30E0B8-1B01-1F81-0F23-B8FD6F486C79}"/>
          </ac:spMkLst>
        </pc:spChg>
        <pc:spChg chg="del">
          <ac:chgData name="Paul LEGEARD" userId="73b5704d-da1d-4b70-8e12-6d54d32b01a3" providerId="ADAL" clId="{20AD8B11-130C-4F68-9211-C0E7C90F8BEE}" dt="2023-06-09T09:21:23.312" v="19469" actId="478"/>
          <ac:spMkLst>
            <pc:docMk/>
            <pc:sldMk cId="4273655780" sldId="2147471280"/>
            <ac:spMk id="55" creationId="{6E9A8ACA-69F5-CF06-D012-E96A91A38750}"/>
          </ac:spMkLst>
        </pc:spChg>
        <pc:spChg chg="mod">
          <ac:chgData name="Paul LEGEARD" userId="73b5704d-da1d-4b70-8e12-6d54d32b01a3" providerId="ADAL" clId="{20AD8B11-130C-4F68-9211-C0E7C90F8BEE}" dt="2023-06-09T09:27:01.630" v="19822" actId="14100"/>
          <ac:spMkLst>
            <pc:docMk/>
            <pc:sldMk cId="4273655780" sldId="2147471280"/>
            <ac:spMk id="57" creationId="{434D8A61-648F-004B-B15D-4C8BE79BF6CC}"/>
          </ac:spMkLst>
        </pc:spChg>
        <pc:spChg chg="add del">
          <ac:chgData name="Paul LEGEARD" userId="73b5704d-da1d-4b70-8e12-6d54d32b01a3" providerId="ADAL" clId="{20AD8B11-130C-4F68-9211-C0E7C90F8BEE}" dt="2023-06-09T09:30:54.914" v="19849" actId="22"/>
          <ac:spMkLst>
            <pc:docMk/>
            <pc:sldMk cId="4273655780" sldId="2147471280"/>
            <ac:spMk id="62" creationId="{CADDD3B8-32BA-D019-8AFA-87B03E806A34}"/>
          </ac:spMkLst>
        </pc:spChg>
        <pc:spChg chg="add mod ord">
          <ac:chgData name="Paul LEGEARD" userId="73b5704d-da1d-4b70-8e12-6d54d32b01a3" providerId="ADAL" clId="{20AD8B11-130C-4F68-9211-C0E7C90F8BEE}" dt="2023-06-09T09:41:39.649" v="20585" actId="1035"/>
          <ac:spMkLst>
            <pc:docMk/>
            <pc:sldMk cId="4273655780" sldId="2147471280"/>
            <ac:spMk id="64" creationId="{61662696-F1DE-3A27-7DD3-8954020AD3E4}"/>
          </ac:spMkLst>
        </pc:spChg>
        <pc:spChg chg="add mod">
          <ac:chgData name="Paul LEGEARD" userId="73b5704d-da1d-4b70-8e12-6d54d32b01a3" providerId="ADAL" clId="{20AD8B11-130C-4F68-9211-C0E7C90F8BEE}" dt="2023-06-09T09:57:08.183" v="21385" actId="1076"/>
          <ac:spMkLst>
            <pc:docMk/>
            <pc:sldMk cId="4273655780" sldId="2147471280"/>
            <ac:spMk id="65" creationId="{8E8A5FA6-C467-6187-9179-912B42B3BA50}"/>
          </ac:spMkLst>
        </pc:spChg>
        <pc:spChg chg="add mod">
          <ac:chgData name="Paul LEGEARD" userId="73b5704d-da1d-4b70-8e12-6d54d32b01a3" providerId="ADAL" clId="{20AD8B11-130C-4F68-9211-C0E7C90F8BEE}" dt="2023-06-09T09:41:46.731" v="20605" actId="1035"/>
          <ac:spMkLst>
            <pc:docMk/>
            <pc:sldMk cId="4273655780" sldId="2147471280"/>
            <ac:spMk id="66" creationId="{6D08FCD8-9DFD-84F3-9223-6FC4587D5AD4}"/>
          </ac:spMkLst>
        </pc:spChg>
        <pc:spChg chg="add mod">
          <ac:chgData name="Paul LEGEARD" userId="73b5704d-da1d-4b70-8e12-6d54d32b01a3" providerId="ADAL" clId="{20AD8B11-130C-4F68-9211-C0E7C90F8BEE}" dt="2023-06-09T09:41:46.731" v="20605" actId="1035"/>
          <ac:spMkLst>
            <pc:docMk/>
            <pc:sldMk cId="4273655780" sldId="2147471280"/>
            <ac:spMk id="67" creationId="{51C7E8FE-8196-9822-4DBC-CF620ABA1B00}"/>
          </ac:spMkLst>
        </pc:spChg>
        <pc:spChg chg="add mod">
          <ac:chgData name="Paul LEGEARD" userId="73b5704d-da1d-4b70-8e12-6d54d32b01a3" providerId="ADAL" clId="{20AD8B11-130C-4F68-9211-C0E7C90F8BEE}" dt="2023-06-09T09:49:43.379" v="20930" actId="14100"/>
          <ac:spMkLst>
            <pc:docMk/>
            <pc:sldMk cId="4273655780" sldId="2147471280"/>
            <ac:spMk id="69" creationId="{EAEC02D1-73F4-4F59-42A5-C024A4BD775F}"/>
          </ac:spMkLst>
        </pc:spChg>
        <pc:spChg chg="add mod">
          <ac:chgData name="Paul LEGEARD" userId="73b5704d-da1d-4b70-8e12-6d54d32b01a3" providerId="ADAL" clId="{20AD8B11-130C-4F68-9211-C0E7C90F8BEE}" dt="2023-06-09T09:53:35.795" v="21107" actId="14100"/>
          <ac:spMkLst>
            <pc:docMk/>
            <pc:sldMk cId="4273655780" sldId="2147471280"/>
            <ac:spMk id="70" creationId="{411B73C4-71F5-F2BF-DE47-8CDD87115654}"/>
          </ac:spMkLst>
        </pc:spChg>
        <pc:spChg chg="add mod">
          <ac:chgData name="Paul LEGEARD" userId="73b5704d-da1d-4b70-8e12-6d54d32b01a3" providerId="ADAL" clId="{20AD8B11-130C-4F68-9211-C0E7C90F8BEE}" dt="2023-06-09T09:43:23.748" v="20662" actId="403"/>
          <ac:spMkLst>
            <pc:docMk/>
            <pc:sldMk cId="4273655780" sldId="2147471280"/>
            <ac:spMk id="71" creationId="{6280F110-D9BF-372F-3840-ED076E16AB15}"/>
          </ac:spMkLst>
        </pc:spChg>
        <pc:spChg chg="add mod">
          <ac:chgData name="Paul LEGEARD" userId="73b5704d-da1d-4b70-8e12-6d54d32b01a3" providerId="ADAL" clId="{20AD8B11-130C-4F68-9211-C0E7C90F8BEE}" dt="2023-06-09T09:56:13.569" v="21377" actId="1076"/>
          <ac:spMkLst>
            <pc:docMk/>
            <pc:sldMk cId="4273655780" sldId="2147471280"/>
            <ac:spMk id="73" creationId="{A263ED5A-C10A-EC6E-316F-B1279E966F6E}"/>
          </ac:spMkLst>
        </pc:spChg>
        <pc:spChg chg="add del mod">
          <ac:chgData name="Paul LEGEARD" userId="73b5704d-da1d-4b70-8e12-6d54d32b01a3" providerId="ADAL" clId="{20AD8B11-130C-4F68-9211-C0E7C90F8BEE}" dt="2023-06-09T09:41:27.006" v="20568"/>
          <ac:spMkLst>
            <pc:docMk/>
            <pc:sldMk cId="4273655780" sldId="2147471280"/>
            <ac:spMk id="74" creationId="{8077A970-C16E-E3FA-AC97-9A4ADAED5A81}"/>
          </ac:spMkLst>
        </pc:spChg>
        <pc:spChg chg="add del mod">
          <ac:chgData name="Paul LEGEARD" userId="73b5704d-da1d-4b70-8e12-6d54d32b01a3" providerId="ADAL" clId="{20AD8B11-130C-4F68-9211-C0E7C90F8BEE}" dt="2023-06-09T09:41:27.006" v="20568"/>
          <ac:spMkLst>
            <pc:docMk/>
            <pc:sldMk cId="4273655780" sldId="2147471280"/>
            <ac:spMk id="75" creationId="{CD791427-B003-EB45-28F3-CFD7E4644B67}"/>
          </ac:spMkLst>
        </pc:spChg>
        <pc:spChg chg="add mod">
          <ac:chgData name="Paul LEGEARD" userId="73b5704d-da1d-4b70-8e12-6d54d32b01a3" providerId="ADAL" clId="{20AD8B11-130C-4F68-9211-C0E7C90F8BEE}" dt="2023-06-09T09:53:24.792" v="21104" actId="14100"/>
          <ac:spMkLst>
            <pc:docMk/>
            <pc:sldMk cId="4273655780" sldId="2147471280"/>
            <ac:spMk id="76" creationId="{6FC08BB6-67E7-541B-1CE2-E783A53B9084}"/>
          </ac:spMkLst>
        </pc:spChg>
        <pc:spChg chg="add mod">
          <ac:chgData name="Paul LEGEARD" userId="73b5704d-da1d-4b70-8e12-6d54d32b01a3" providerId="ADAL" clId="{20AD8B11-130C-4F68-9211-C0E7C90F8BEE}" dt="2023-06-09T09:53:26.493" v="21105" actId="1076"/>
          <ac:spMkLst>
            <pc:docMk/>
            <pc:sldMk cId="4273655780" sldId="2147471280"/>
            <ac:spMk id="77" creationId="{7D5D95CE-7C63-B253-C820-9691D004C0D9}"/>
          </ac:spMkLst>
        </pc:spChg>
        <pc:spChg chg="add mod">
          <ac:chgData name="Paul LEGEARD" userId="73b5704d-da1d-4b70-8e12-6d54d32b01a3" providerId="ADAL" clId="{20AD8B11-130C-4F68-9211-C0E7C90F8BEE}" dt="2023-06-09T09:43:05.354" v="20653" actId="1076"/>
          <ac:spMkLst>
            <pc:docMk/>
            <pc:sldMk cId="4273655780" sldId="2147471280"/>
            <ac:spMk id="79" creationId="{08DA3292-7E79-D7EC-6297-D972060259DF}"/>
          </ac:spMkLst>
        </pc:spChg>
        <pc:spChg chg="add del mod">
          <ac:chgData name="Paul LEGEARD" userId="73b5704d-da1d-4b70-8e12-6d54d32b01a3" providerId="ADAL" clId="{20AD8B11-130C-4F68-9211-C0E7C90F8BEE}" dt="2023-06-09T09:45:46.556" v="20727" actId="478"/>
          <ac:spMkLst>
            <pc:docMk/>
            <pc:sldMk cId="4273655780" sldId="2147471280"/>
            <ac:spMk id="80" creationId="{D261981D-2966-CADC-2693-2F99915349DF}"/>
          </ac:spMkLst>
        </pc:spChg>
        <pc:spChg chg="add del mod">
          <ac:chgData name="Paul LEGEARD" userId="73b5704d-da1d-4b70-8e12-6d54d32b01a3" providerId="ADAL" clId="{20AD8B11-130C-4F68-9211-C0E7C90F8BEE}" dt="2023-06-09T09:49:00.529" v="20881" actId="478"/>
          <ac:spMkLst>
            <pc:docMk/>
            <pc:sldMk cId="4273655780" sldId="2147471280"/>
            <ac:spMk id="82" creationId="{9E2949AA-8B35-E831-C647-E5F720B67FEA}"/>
          </ac:spMkLst>
        </pc:spChg>
        <pc:spChg chg="add del mod">
          <ac:chgData name="Paul LEGEARD" userId="73b5704d-da1d-4b70-8e12-6d54d32b01a3" providerId="ADAL" clId="{20AD8B11-130C-4F68-9211-C0E7C90F8BEE}" dt="2023-06-09T09:51:33.064" v="21011" actId="478"/>
          <ac:spMkLst>
            <pc:docMk/>
            <pc:sldMk cId="4273655780" sldId="2147471280"/>
            <ac:spMk id="83" creationId="{11FF4D8E-4A6F-7F5B-99DF-2DFB0C6F3B57}"/>
          </ac:spMkLst>
        </pc:spChg>
        <pc:spChg chg="add del">
          <ac:chgData name="Paul LEGEARD" userId="73b5704d-da1d-4b70-8e12-6d54d32b01a3" providerId="ADAL" clId="{20AD8B11-130C-4F68-9211-C0E7C90F8BEE}" dt="2023-06-09T09:46:04.299" v="20734" actId="22"/>
          <ac:spMkLst>
            <pc:docMk/>
            <pc:sldMk cId="4273655780" sldId="2147471280"/>
            <ac:spMk id="85" creationId="{8C41DB81-2160-51D5-A713-74CF1EE9EB6D}"/>
          </ac:spMkLst>
        </pc:spChg>
        <pc:spChg chg="add mod">
          <ac:chgData name="Paul LEGEARD" userId="73b5704d-da1d-4b70-8e12-6d54d32b01a3" providerId="ADAL" clId="{20AD8B11-130C-4F68-9211-C0E7C90F8BEE}" dt="2023-06-09T09:50:21.217" v="20979" actId="1038"/>
          <ac:spMkLst>
            <pc:docMk/>
            <pc:sldMk cId="4273655780" sldId="2147471280"/>
            <ac:spMk id="86" creationId="{A28B08A8-448F-4C38-88FA-4BAD225421A6}"/>
          </ac:spMkLst>
        </pc:spChg>
        <pc:spChg chg="add mod ord">
          <ac:chgData name="Paul LEGEARD" userId="73b5704d-da1d-4b70-8e12-6d54d32b01a3" providerId="ADAL" clId="{20AD8B11-130C-4F68-9211-C0E7C90F8BEE}" dt="2023-06-09T09:57:35.091" v="21392" actId="166"/>
          <ac:spMkLst>
            <pc:docMk/>
            <pc:sldMk cId="4273655780" sldId="2147471280"/>
            <ac:spMk id="88" creationId="{BBF76B11-95BD-5914-5095-E4B2813DB03D}"/>
          </ac:spMkLst>
        </pc:spChg>
        <pc:spChg chg="add mod">
          <ac:chgData name="Paul LEGEARD" userId="73b5704d-da1d-4b70-8e12-6d54d32b01a3" providerId="ADAL" clId="{20AD8B11-130C-4F68-9211-C0E7C90F8BEE}" dt="2023-06-09T09:50:31.246" v="20991" actId="1038"/>
          <ac:spMkLst>
            <pc:docMk/>
            <pc:sldMk cId="4273655780" sldId="2147471280"/>
            <ac:spMk id="89" creationId="{2AC42DBF-ABE6-4AED-E747-14719C999709}"/>
          </ac:spMkLst>
        </pc:spChg>
        <pc:spChg chg="add mod">
          <ac:chgData name="Paul LEGEARD" userId="73b5704d-da1d-4b70-8e12-6d54d32b01a3" providerId="ADAL" clId="{20AD8B11-130C-4F68-9211-C0E7C90F8BEE}" dt="2023-06-09T09:50:21.217" v="20979" actId="1038"/>
          <ac:spMkLst>
            <pc:docMk/>
            <pc:sldMk cId="4273655780" sldId="2147471280"/>
            <ac:spMk id="90" creationId="{87945263-26DF-5883-E79D-5B9353E4CB8D}"/>
          </ac:spMkLst>
        </pc:spChg>
        <pc:spChg chg="add mod">
          <ac:chgData name="Paul LEGEARD" userId="73b5704d-da1d-4b70-8e12-6d54d32b01a3" providerId="ADAL" clId="{20AD8B11-130C-4F68-9211-C0E7C90F8BEE}" dt="2023-06-09T09:53:41.140" v="21129" actId="1036"/>
          <ac:spMkLst>
            <pc:docMk/>
            <pc:sldMk cId="4273655780" sldId="2147471280"/>
            <ac:spMk id="92" creationId="{4ED068C6-A358-4908-970A-FA7D1AF01E96}"/>
          </ac:spMkLst>
        </pc:spChg>
        <pc:spChg chg="add mod">
          <ac:chgData name="Paul LEGEARD" userId="73b5704d-da1d-4b70-8e12-6d54d32b01a3" providerId="ADAL" clId="{20AD8B11-130C-4F68-9211-C0E7C90F8BEE}" dt="2023-06-09T09:53:41.140" v="21129" actId="1036"/>
          <ac:spMkLst>
            <pc:docMk/>
            <pc:sldMk cId="4273655780" sldId="2147471280"/>
            <ac:spMk id="93" creationId="{C4B66C5D-7CAF-9291-6097-B645CF6D0533}"/>
          </ac:spMkLst>
        </pc:spChg>
        <pc:spChg chg="mod">
          <ac:chgData name="Paul LEGEARD" userId="73b5704d-da1d-4b70-8e12-6d54d32b01a3" providerId="ADAL" clId="{20AD8B11-130C-4F68-9211-C0E7C90F8BEE}" dt="2023-06-09T09:56:49.692" v="21378"/>
          <ac:spMkLst>
            <pc:docMk/>
            <pc:sldMk cId="4273655780" sldId="2147471280"/>
            <ac:spMk id="95" creationId="{620E570B-8B29-BA10-E1DC-E9979E34B19C}"/>
          </ac:spMkLst>
        </pc:spChg>
        <pc:spChg chg="mod">
          <ac:chgData name="Paul LEGEARD" userId="73b5704d-da1d-4b70-8e12-6d54d32b01a3" providerId="ADAL" clId="{20AD8B11-130C-4F68-9211-C0E7C90F8BEE}" dt="2023-06-09T09:52:21.322" v="21087"/>
          <ac:spMkLst>
            <pc:docMk/>
            <pc:sldMk cId="4273655780" sldId="2147471280"/>
            <ac:spMk id="96" creationId="{0149AF16-B267-1FDC-F6AE-24F56FBF5826}"/>
          </ac:spMkLst>
        </pc:spChg>
        <pc:spChg chg="add mod">
          <ac:chgData name="Paul LEGEARD" userId="73b5704d-da1d-4b70-8e12-6d54d32b01a3" providerId="ADAL" clId="{20AD8B11-130C-4F68-9211-C0E7C90F8BEE}" dt="2023-06-09T09:57:21.452" v="21388" actId="208"/>
          <ac:spMkLst>
            <pc:docMk/>
            <pc:sldMk cId="4273655780" sldId="2147471280"/>
            <ac:spMk id="97" creationId="{2478F7DE-D05C-88EE-5A31-2060F8C7309F}"/>
          </ac:spMkLst>
        </pc:spChg>
        <pc:spChg chg="add mod ord">
          <ac:chgData name="Paul LEGEARD" userId="73b5704d-da1d-4b70-8e12-6d54d32b01a3" providerId="ADAL" clId="{20AD8B11-130C-4F68-9211-C0E7C90F8BEE}" dt="2023-06-09T09:57:31.280" v="21391" actId="166"/>
          <ac:spMkLst>
            <pc:docMk/>
            <pc:sldMk cId="4273655780" sldId="2147471280"/>
            <ac:spMk id="98" creationId="{FF713335-8A8E-5A80-C1D8-7DE9D90CA537}"/>
          </ac:spMkLst>
        </pc:spChg>
        <pc:spChg chg="add mod">
          <ac:chgData name="Paul LEGEARD" userId="73b5704d-da1d-4b70-8e12-6d54d32b01a3" providerId="ADAL" clId="{20AD8B11-130C-4F68-9211-C0E7C90F8BEE}" dt="2023-06-09T09:53:20.843" v="21103" actId="14100"/>
          <ac:spMkLst>
            <pc:docMk/>
            <pc:sldMk cId="4273655780" sldId="2147471280"/>
            <ac:spMk id="99" creationId="{CA91CE1F-9F9D-CEE2-2ACE-910DAAB5E86A}"/>
          </ac:spMkLst>
        </pc:spChg>
        <pc:spChg chg="mod">
          <ac:chgData name="Paul LEGEARD" userId="73b5704d-da1d-4b70-8e12-6d54d32b01a3" providerId="ADAL" clId="{20AD8B11-130C-4F68-9211-C0E7C90F8BEE}" dt="2023-06-09T09:55:43.375" v="21373" actId="14100"/>
          <ac:spMkLst>
            <pc:docMk/>
            <pc:sldMk cId="4273655780" sldId="2147471280"/>
            <ac:spMk id="101" creationId="{D0C6F070-E475-B288-9F11-6547C0A1CA24}"/>
          </ac:spMkLst>
        </pc:spChg>
        <pc:spChg chg="mod">
          <ac:chgData name="Paul LEGEARD" userId="73b5704d-da1d-4b70-8e12-6d54d32b01a3" providerId="ADAL" clId="{20AD8B11-130C-4F68-9211-C0E7C90F8BEE}" dt="2023-06-09T09:55:47.693" v="21374" actId="14100"/>
          <ac:spMkLst>
            <pc:docMk/>
            <pc:sldMk cId="4273655780" sldId="2147471280"/>
            <ac:spMk id="102" creationId="{54019C59-9D48-6FC6-711F-5001754EEAE0}"/>
          </ac:spMkLst>
        </pc:spChg>
        <pc:spChg chg="add mod">
          <ac:chgData name="Paul LEGEARD" userId="73b5704d-da1d-4b70-8e12-6d54d32b01a3" providerId="ADAL" clId="{20AD8B11-130C-4F68-9211-C0E7C90F8BEE}" dt="2023-06-09T09:57:03.436" v="21381" actId="1076"/>
          <ac:spMkLst>
            <pc:docMk/>
            <pc:sldMk cId="4273655780" sldId="2147471280"/>
            <ac:spMk id="103" creationId="{9E84ABD7-C426-99B9-1475-9A63CCD9C8DE}"/>
          </ac:spMkLst>
        </pc:spChg>
        <pc:spChg chg="add mod">
          <ac:chgData name="Paul LEGEARD" userId="73b5704d-da1d-4b70-8e12-6d54d32b01a3" providerId="ADAL" clId="{20AD8B11-130C-4F68-9211-C0E7C90F8BEE}" dt="2023-06-09T09:57:14.712" v="21387" actId="14100"/>
          <ac:spMkLst>
            <pc:docMk/>
            <pc:sldMk cId="4273655780" sldId="2147471280"/>
            <ac:spMk id="104" creationId="{201C8C46-7E8C-2E2F-680E-F88465871371}"/>
          </ac:spMkLst>
        </pc:spChg>
        <pc:grpChg chg="add mod">
          <ac:chgData name="Paul LEGEARD" userId="73b5704d-da1d-4b70-8e12-6d54d32b01a3" providerId="ADAL" clId="{20AD8B11-130C-4F68-9211-C0E7C90F8BEE}" dt="2023-06-09T09:27:12.037" v="19842" actId="1037"/>
          <ac:grpSpMkLst>
            <pc:docMk/>
            <pc:sldMk cId="4273655780" sldId="2147471280"/>
            <ac:grpSpMk id="33" creationId="{9E602793-C7F6-A5D7-8F5B-6C52ECE98F10}"/>
          </ac:grpSpMkLst>
        </pc:grpChg>
        <pc:grpChg chg="add mod">
          <ac:chgData name="Paul LEGEARD" userId="73b5704d-da1d-4b70-8e12-6d54d32b01a3" providerId="ADAL" clId="{20AD8B11-130C-4F68-9211-C0E7C90F8BEE}" dt="2023-06-09T09:27:12.037" v="19842" actId="1037"/>
          <ac:grpSpMkLst>
            <pc:docMk/>
            <pc:sldMk cId="4273655780" sldId="2147471280"/>
            <ac:grpSpMk id="44" creationId="{A2E78ED4-D2EB-EDDE-5931-CFD4E5580DB7}"/>
          </ac:grpSpMkLst>
        </pc:grpChg>
        <pc:grpChg chg="del">
          <ac:chgData name="Paul LEGEARD" userId="73b5704d-da1d-4b70-8e12-6d54d32b01a3" providerId="ADAL" clId="{20AD8B11-130C-4F68-9211-C0E7C90F8BEE}" dt="2023-06-09T09:21:23.312" v="19469" actId="478"/>
          <ac:grpSpMkLst>
            <pc:docMk/>
            <pc:sldMk cId="4273655780" sldId="2147471280"/>
            <ac:grpSpMk id="45" creationId="{658B2607-C4C0-058C-EBAE-6C7B64A45293}"/>
          </ac:grpSpMkLst>
        </pc:grpChg>
        <pc:grpChg chg="add mod">
          <ac:chgData name="Paul LEGEARD" userId="73b5704d-da1d-4b70-8e12-6d54d32b01a3" providerId="ADAL" clId="{20AD8B11-130C-4F68-9211-C0E7C90F8BEE}" dt="2023-06-09T09:50:07.207" v="20937" actId="1076"/>
          <ac:grpSpMkLst>
            <pc:docMk/>
            <pc:sldMk cId="4273655780" sldId="2147471280"/>
            <ac:grpSpMk id="72" creationId="{C89E499D-C6D4-5A81-78E7-9F7E36D6C351}"/>
          </ac:grpSpMkLst>
        </pc:grpChg>
        <pc:grpChg chg="add mod">
          <ac:chgData name="Paul LEGEARD" userId="73b5704d-da1d-4b70-8e12-6d54d32b01a3" providerId="ADAL" clId="{20AD8B11-130C-4F68-9211-C0E7C90F8BEE}" dt="2023-06-09T09:50:05.507" v="20936" actId="1076"/>
          <ac:grpSpMkLst>
            <pc:docMk/>
            <pc:sldMk cId="4273655780" sldId="2147471280"/>
            <ac:grpSpMk id="94" creationId="{B170A9F7-C816-20CE-1F61-71764EE4D898}"/>
          </ac:grpSpMkLst>
        </pc:grpChg>
        <pc:grpChg chg="add mod">
          <ac:chgData name="Paul LEGEARD" userId="73b5704d-da1d-4b70-8e12-6d54d32b01a3" providerId="ADAL" clId="{20AD8B11-130C-4F68-9211-C0E7C90F8BEE}" dt="2023-06-09T09:54:31.122" v="21148" actId="1076"/>
          <ac:grpSpMkLst>
            <pc:docMk/>
            <pc:sldMk cId="4273655780" sldId="2147471280"/>
            <ac:grpSpMk id="100" creationId="{35D14364-0046-137E-8B34-01F69E889036}"/>
          </ac:grpSpMkLst>
        </pc:grpChg>
        <pc:graphicFrameChg chg="del">
          <ac:chgData name="Paul LEGEARD" userId="73b5704d-da1d-4b70-8e12-6d54d32b01a3" providerId="ADAL" clId="{20AD8B11-130C-4F68-9211-C0E7C90F8BEE}" dt="2023-06-09T09:21:23.312" v="19469" actId="478"/>
          <ac:graphicFrameMkLst>
            <pc:docMk/>
            <pc:sldMk cId="4273655780" sldId="2147471280"/>
            <ac:graphicFrameMk id="22" creationId="{FF5A5D32-3B52-48DD-BBBF-6218995AEB3B}"/>
          </ac:graphicFrameMkLst>
        </pc:graphicFrameChg>
        <pc:picChg chg="del">
          <ac:chgData name="Paul LEGEARD" userId="73b5704d-da1d-4b70-8e12-6d54d32b01a3" providerId="ADAL" clId="{20AD8B11-130C-4F68-9211-C0E7C90F8BEE}" dt="2023-06-09T09:21:23.312" v="19469" actId="478"/>
          <ac:picMkLst>
            <pc:docMk/>
            <pc:sldMk cId="4273655780" sldId="2147471280"/>
            <ac:picMk id="11" creationId="{DEF63936-4D7F-57A1-C5DD-4630107E8DB0}"/>
          </ac:picMkLst>
        </pc:picChg>
        <pc:picChg chg="del">
          <ac:chgData name="Paul LEGEARD" userId="73b5704d-da1d-4b70-8e12-6d54d32b01a3" providerId="ADAL" clId="{20AD8B11-130C-4F68-9211-C0E7C90F8BEE}" dt="2023-06-09T09:21:23.312" v="19469" actId="478"/>
          <ac:picMkLst>
            <pc:docMk/>
            <pc:sldMk cId="4273655780" sldId="2147471280"/>
            <ac:picMk id="23" creationId="{03314102-F6AA-2859-4BAD-89E1975AC338}"/>
          </ac:picMkLst>
        </pc:picChg>
        <pc:picChg chg="del">
          <ac:chgData name="Paul LEGEARD" userId="73b5704d-da1d-4b70-8e12-6d54d32b01a3" providerId="ADAL" clId="{20AD8B11-130C-4F68-9211-C0E7C90F8BEE}" dt="2023-06-09T09:21:23.312" v="19469" actId="478"/>
          <ac:picMkLst>
            <pc:docMk/>
            <pc:sldMk cId="4273655780" sldId="2147471280"/>
            <ac:picMk id="26" creationId="{5FBFD3AA-057C-8FE8-BAD5-F3E5F42DD58B}"/>
          </ac:picMkLst>
        </pc:picChg>
        <pc:picChg chg="del">
          <ac:chgData name="Paul LEGEARD" userId="73b5704d-da1d-4b70-8e12-6d54d32b01a3" providerId="ADAL" clId="{20AD8B11-130C-4F68-9211-C0E7C90F8BEE}" dt="2023-06-09T09:21:23.312" v="19469" actId="478"/>
          <ac:picMkLst>
            <pc:docMk/>
            <pc:sldMk cId="4273655780" sldId="2147471280"/>
            <ac:picMk id="27" creationId="{C733ACDE-448C-173C-D092-3DF47AC5A911}"/>
          </ac:picMkLst>
        </pc:picChg>
        <pc:picChg chg="add del mod">
          <ac:chgData name="Paul LEGEARD" userId="73b5704d-da1d-4b70-8e12-6d54d32b01a3" providerId="ADAL" clId="{20AD8B11-130C-4F68-9211-C0E7C90F8BEE}" dt="2023-06-09T09:24:12.681" v="19736" actId="478"/>
          <ac:picMkLst>
            <pc:docMk/>
            <pc:sldMk cId="4273655780" sldId="2147471280"/>
            <ac:picMk id="31" creationId="{3AE3CFAB-FAF0-B63D-C611-A1BE32FF7B99}"/>
          </ac:picMkLst>
        </pc:picChg>
        <pc:picChg chg="mod">
          <ac:chgData name="Paul LEGEARD" userId="73b5704d-da1d-4b70-8e12-6d54d32b01a3" providerId="ADAL" clId="{20AD8B11-130C-4F68-9211-C0E7C90F8BEE}" dt="2023-06-09T09:26:23.671" v="19806" actId="1076"/>
          <ac:picMkLst>
            <pc:docMk/>
            <pc:sldMk cId="4273655780" sldId="2147471280"/>
            <ac:picMk id="39" creationId="{1A3CCD47-826F-844A-C285-6C4366F0485D}"/>
          </ac:picMkLst>
        </pc:picChg>
        <pc:picChg chg="del">
          <ac:chgData name="Paul LEGEARD" userId="73b5704d-da1d-4b70-8e12-6d54d32b01a3" providerId="ADAL" clId="{20AD8B11-130C-4F68-9211-C0E7C90F8BEE}" dt="2023-06-09T09:21:23.312" v="19469" actId="478"/>
          <ac:picMkLst>
            <pc:docMk/>
            <pc:sldMk cId="4273655780" sldId="2147471280"/>
            <ac:picMk id="56" creationId="{1B7C0757-4572-180F-4404-895F3211022A}"/>
          </ac:picMkLst>
        </pc:picChg>
        <pc:picChg chg="mod">
          <ac:chgData name="Paul LEGEARD" userId="73b5704d-da1d-4b70-8e12-6d54d32b01a3" providerId="ADAL" clId="{20AD8B11-130C-4F68-9211-C0E7C90F8BEE}" dt="2023-06-09T09:26:42.380" v="19816"/>
          <ac:picMkLst>
            <pc:docMk/>
            <pc:sldMk cId="4273655780" sldId="2147471280"/>
            <ac:picMk id="58" creationId="{6630648E-D5B2-D64C-1EDD-10336132DE85}"/>
          </ac:picMkLst>
        </pc:picChg>
        <pc:picChg chg="add mod">
          <ac:chgData name="Paul LEGEARD" userId="73b5704d-da1d-4b70-8e12-6d54d32b01a3" providerId="ADAL" clId="{20AD8B11-130C-4F68-9211-C0E7C90F8BEE}" dt="2023-06-09T09:41:39.649" v="20585" actId="1035"/>
          <ac:picMkLst>
            <pc:docMk/>
            <pc:sldMk cId="4273655780" sldId="2147471280"/>
            <ac:picMk id="60" creationId="{AEC8528E-2E50-45D1-3810-91848EBCDA59}"/>
          </ac:picMkLst>
        </pc:picChg>
        <pc:picChg chg="add del mod">
          <ac:chgData name="Paul LEGEARD" userId="73b5704d-da1d-4b70-8e12-6d54d32b01a3" providerId="ADAL" clId="{20AD8B11-130C-4F68-9211-C0E7C90F8BEE}" dt="2023-06-09T09:32:26.726" v="19858" actId="478"/>
          <ac:picMkLst>
            <pc:docMk/>
            <pc:sldMk cId="4273655780" sldId="2147471280"/>
            <ac:picMk id="63" creationId="{0A38A128-3D30-38D5-7FFF-7EFCC7169AF2}"/>
          </ac:picMkLst>
        </pc:picChg>
        <pc:picChg chg="add mod">
          <ac:chgData name="Paul LEGEARD" userId="73b5704d-da1d-4b70-8e12-6d54d32b01a3" providerId="ADAL" clId="{20AD8B11-130C-4F68-9211-C0E7C90F8BEE}" dt="2023-06-09T09:41:46.731" v="20605" actId="1035"/>
          <ac:picMkLst>
            <pc:docMk/>
            <pc:sldMk cId="4273655780" sldId="2147471280"/>
            <ac:picMk id="68" creationId="{A77529FB-8D0F-A447-6058-3BDAD74D83EA}"/>
          </ac:picMkLst>
        </pc:picChg>
        <pc:picChg chg="add mod ord">
          <ac:chgData name="Paul LEGEARD" userId="73b5704d-da1d-4b70-8e12-6d54d32b01a3" providerId="ADAL" clId="{20AD8B11-130C-4F68-9211-C0E7C90F8BEE}" dt="2023-06-09T09:43:05.354" v="20653" actId="1076"/>
          <ac:picMkLst>
            <pc:docMk/>
            <pc:sldMk cId="4273655780" sldId="2147471280"/>
            <ac:picMk id="78" creationId="{AD36AB1E-8AEE-B4ED-88E8-11C709E82ED5}"/>
          </ac:picMkLst>
        </pc:picChg>
        <pc:picChg chg="add mod ord">
          <ac:chgData name="Paul LEGEARD" userId="73b5704d-da1d-4b70-8e12-6d54d32b01a3" providerId="ADAL" clId="{20AD8B11-130C-4F68-9211-C0E7C90F8BEE}" dt="2023-06-09T09:53:41.140" v="21129" actId="1036"/>
          <ac:picMkLst>
            <pc:docMk/>
            <pc:sldMk cId="4273655780" sldId="2147471280"/>
            <ac:picMk id="81" creationId="{9A6BF407-B7C1-7EA9-7732-E1C729559647}"/>
          </ac:picMkLst>
        </pc:picChg>
        <pc:picChg chg="add del mod">
          <ac:chgData name="Paul LEGEARD" userId="73b5704d-da1d-4b70-8e12-6d54d32b01a3" providerId="ADAL" clId="{20AD8B11-130C-4F68-9211-C0E7C90F8BEE}" dt="2023-06-09T09:48:26.034" v="20853" actId="478"/>
          <ac:picMkLst>
            <pc:docMk/>
            <pc:sldMk cId="4273655780" sldId="2147471280"/>
            <ac:picMk id="87" creationId="{95009A6A-5B4D-BF43-5739-16A725C9EBFE}"/>
          </ac:picMkLst>
        </pc:picChg>
        <pc:picChg chg="add mod">
          <ac:chgData name="Paul LEGEARD" userId="73b5704d-da1d-4b70-8e12-6d54d32b01a3" providerId="ADAL" clId="{20AD8B11-130C-4F68-9211-C0E7C90F8BEE}" dt="2023-06-09T09:50:21.217" v="20979" actId="1038"/>
          <ac:picMkLst>
            <pc:docMk/>
            <pc:sldMk cId="4273655780" sldId="2147471280"/>
            <ac:picMk id="91" creationId="{5D2A75FE-8635-3D77-87B4-A7DAC3A9285A}"/>
          </ac:picMkLst>
        </pc:picChg>
      </pc:sldChg>
      <pc:sldChg chg="new del">
        <pc:chgData name="Paul LEGEARD" userId="73b5704d-da1d-4b70-8e12-6d54d32b01a3" providerId="ADAL" clId="{20AD8B11-130C-4F68-9211-C0E7C90F8BEE}" dt="2023-06-09T09:11:16.925" v="19234" actId="680"/>
        <pc:sldMkLst>
          <pc:docMk/>
          <pc:sldMk cId="1095212995" sldId="2147471281"/>
        </pc:sldMkLst>
      </pc:sldChg>
      <pc:sldChg chg="delSp modSp add del mod">
        <pc:chgData name="Paul LEGEARD" userId="73b5704d-da1d-4b70-8e12-6d54d32b01a3" providerId="ADAL" clId="{20AD8B11-130C-4F68-9211-C0E7C90F8BEE}" dt="2023-07-10T12:59:54.168" v="29928"/>
        <pc:sldMkLst>
          <pc:docMk/>
          <pc:sldMk cId="3696801894" sldId="2147471281"/>
        </pc:sldMkLst>
        <pc:spChg chg="mod">
          <ac:chgData name="Paul LEGEARD" userId="73b5704d-da1d-4b70-8e12-6d54d32b01a3" providerId="ADAL" clId="{20AD8B11-130C-4F68-9211-C0E7C90F8BEE}" dt="2023-06-12T09:07:38.105" v="24978" actId="1036"/>
          <ac:spMkLst>
            <pc:docMk/>
            <pc:sldMk cId="3696801894" sldId="2147471281"/>
            <ac:spMk id="2" creationId="{77D8A34C-AD0F-07D1-D97B-F999B0AA6E95}"/>
          </ac:spMkLst>
        </pc:spChg>
        <pc:spChg chg="mod">
          <ac:chgData name="Paul LEGEARD" userId="73b5704d-da1d-4b70-8e12-6d54d32b01a3" providerId="ADAL" clId="{20AD8B11-130C-4F68-9211-C0E7C90F8BEE}" dt="2023-06-12T09:07:38.105" v="24978" actId="1036"/>
          <ac:spMkLst>
            <pc:docMk/>
            <pc:sldMk cId="3696801894" sldId="2147471281"/>
            <ac:spMk id="3" creationId="{93ADA718-20E5-764D-8AF3-50F634388ECF}"/>
          </ac:spMkLst>
        </pc:spChg>
        <pc:spChg chg="mod">
          <ac:chgData name="Paul LEGEARD" userId="73b5704d-da1d-4b70-8e12-6d54d32b01a3" providerId="ADAL" clId="{20AD8B11-130C-4F68-9211-C0E7C90F8BEE}" dt="2023-06-12T09:07:38.105" v="24978" actId="1036"/>
          <ac:spMkLst>
            <pc:docMk/>
            <pc:sldMk cId="3696801894" sldId="2147471281"/>
            <ac:spMk id="8" creationId="{89A39007-AA4F-6FC0-0F67-B3034C4AA797}"/>
          </ac:spMkLst>
        </pc:spChg>
        <pc:spChg chg="mod">
          <ac:chgData name="Paul LEGEARD" userId="73b5704d-da1d-4b70-8e12-6d54d32b01a3" providerId="ADAL" clId="{20AD8B11-130C-4F68-9211-C0E7C90F8BEE}" dt="2023-06-12T09:07:38.105" v="24978" actId="1036"/>
          <ac:spMkLst>
            <pc:docMk/>
            <pc:sldMk cId="3696801894" sldId="2147471281"/>
            <ac:spMk id="9" creationId="{79FE0BDF-92F0-FA56-674C-620E9842114E}"/>
          </ac:spMkLst>
        </pc:spChg>
        <pc:spChg chg="mod">
          <ac:chgData name="Paul LEGEARD" userId="73b5704d-da1d-4b70-8e12-6d54d32b01a3" providerId="ADAL" clId="{20AD8B11-130C-4F68-9211-C0E7C90F8BEE}" dt="2023-06-12T09:07:38.105" v="24978" actId="1036"/>
          <ac:spMkLst>
            <pc:docMk/>
            <pc:sldMk cId="3696801894" sldId="2147471281"/>
            <ac:spMk id="11" creationId="{5BFAC0C4-83B5-EB20-E7B6-69B27EFFF4E1}"/>
          </ac:spMkLst>
        </pc:spChg>
        <pc:spChg chg="mod">
          <ac:chgData name="Paul LEGEARD" userId="73b5704d-da1d-4b70-8e12-6d54d32b01a3" providerId="ADAL" clId="{20AD8B11-130C-4F68-9211-C0E7C90F8BEE}" dt="2023-06-12T09:07:38.105" v="24978" actId="1036"/>
          <ac:spMkLst>
            <pc:docMk/>
            <pc:sldMk cId="3696801894" sldId="2147471281"/>
            <ac:spMk id="12" creationId="{FAAAE5D1-9B14-B7C3-6A45-9630B880FB83}"/>
          </ac:spMkLst>
        </pc:spChg>
        <pc:spChg chg="mod">
          <ac:chgData name="Paul LEGEARD" userId="73b5704d-da1d-4b70-8e12-6d54d32b01a3" providerId="ADAL" clId="{20AD8B11-130C-4F68-9211-C0E7C90F8BEE}" dt="2023-06-12T09:07:38.105" v="24978" actId="1036"/>
          <ac:spMkLst>
            <pc:docMk/>
            <pc:sldMk cId="3696801894" sldId="2147471281"/>
            <ac:spMk id="13" creationId="{22B4A8D4-5B45-3F3B-0898-5A7EB701E926}"/>
          </ac:spMkLst>
        </pc:spChg>
        <pc:spChg chg="mod">
          <ac:chgData name="Paul LEGEARD" userId="73b5704d-da1d-4b70-8e12-6d54d32b01a3" providerId="ADAL" clId="{20AD8B11-130C-4F68-9211-C0E7C90F8BEE}" dt="2023-06-12T09:07:38.105" v="24978" actId="1036"/>
          <ac:spMkLst>
            <pc:docMk/>
            <pc:sldMk cId="3696801894" sldId="2147471281"/>
            <ac:spMk id="14" creationId="{735D8BF5-081F-A15C-64E3-6298482CFF16}"/>
          </ac:spMkLst>
        </pc:spChg>
        <pc:spChg chg="mod">
          <ac:chgData name="Paul LEGEARD" userId="73b5704d-da1d-4b70-8e12-6d54d32b01a3" providerId="ADAL" clId="{20AD8B11-130C-4F68-9211-C0E7C90F8BEE}" dt="2023-06-12T09:07:38.105" v="24978" actId="1036"/>
          <ac:spMkLst>
            <pc:docMk/>
            <pc:sldMk cId="3696801894" sldId="2147471281"/>
            <ac:spMk id="16" creationId="{CD4FA003-12D1-CCAE-E5C9-8D5DA0116B40}"/>
          </ac:spMkLst>
        </pc:spChg>
        <pc:spChg chg="mod">
          <ac:chgData name="Paul LEGEARD" userId="73b5704d-da1d-4b70-8e12-6d54d32b01a3" providerId="ADAL" clId="{20AD8B11-130C-4F68-9211-C0E7C90F8BEE}" dt="2023-06-12T09:07:38.105" v="24978" actId="1036"/>
          <ac:spMkLst>
            <pc:docMk/>
            <pc:sldMk cId="3696801894" sldId="2147471281"/>
            <ac:spMk id="18" creationId="{3409023F-AB03-FFB5-8002-3ABF83C8F8CC}"/>
          </ac:spMkLst>
        </pc:spChg>
        <pc:spChg chg="mod">
          <ac:chgData name="Paul LEGEARD" userId="73b5704d-da1d-4b70-8e12-6d54d32b01a3" providerId="ADAL" clId="{20AD8B11-130C-4F68-9211-C0E7C90F8BEE}" dt="2023-06-12T09:07:38.105" v="24978" actId="1036"/>
          <ac:spMkLst>
            <pc:docMk/>
            <pc:sldMk cId="3696801894" sldId="2147471281"/>
            <ac:spMk id="19" creationId="{97015374-9970-5BF3-6BCD-E181360AD568}"/>
          </ac:spMkLst>
        </pc:spChg>
        <pc:spChg chg="mod">
          <ac:chgData name="Paul LEGEARD" userId="73b5704d-da1d-4b70-8e12-6d54d32b01a3" providerId="ADAL" clId="{20AD8B11-130C-4F68-9211-C0E7C90F8BEE}" dt="2023-06-12T09:07:38.105" v="24978" actId="1036"/>
          <ac:spMkLst>
            <pc:docMk/>
            <pc:sldMk cId="3696801894" sldId="2147471281"/>
            <ac:spMk id="20" creationId="{91D53948-801D-74B6-CD82-2D563A3466B2}"/>
          </ac:spMkLst>
        </pc:spChg>
        <pc:spChg chg="mod">
          <ac:chgData name="Paul LEGEARD" userId="73b5704d-da1d-4b70-8e12-6d54d32b01a3" providerId="ADAL" clId="{20AD8B11-130C-4F68-9211-C0E7C90F8BEE}" dt="2023-06-12T09:07:38.105" v="24978" actId="1036"/>
          <ac:spMkLst>
            <pc:docMk/>
            <pc:sldMk cId="3696801894" sldId="2147471281"/>
            <ac:spMk id="21" creationId="{84606F47-6D61-1558-165C-700FA2062777}"/>
          </ac:spMkLst>
        </pc:spChg>
        <pc:spChg chg="del">
          <ac:chgData name="Paul LEGEARD" userId="73b5704d-da1d-4b70-8e12-6d54d32b01a3" providerId="ADAL" clId="{20AD8B11-130C-4F68-9211-C0E7C90F8BEE}" dt="2023-06-20T14:30:16.988" v="29899" actId="478"/>
          <ac:spMkLst>
            <pc:docMk/>
            <pc:sldMk cId="3696801894" sldId="2147471281"/>
            <ac:spMk id="22" creationId="{5C4EED2D-6106-85B9-70F7-A748F76D4609}"/>
          </ac:spMkLst>
        </pc:spChg>
        <pc:spChg chg="mod">
          <ac:chgData name="Paul LEGEARD" userId="73b5704d-da1d-4b70-8e12-6d54d32b01a3" providerId="ADAL" clId="{20AD8B11-130C-4F68-9211-C0E7C90F8BEE}" dt="2023-06-12T09:07:38.105" v="24978" actId="1036"/>
          <ac:spMkLst>
            <pc:docMk/>
            <pc:sldMk cId="3696801894" sldId="2147471281"/>
            <ac:spMk id="23" creationId="{990C8C2F-A3A2-5843-757A-B2C0933946F9}"/>
          </ac:spMkLst>
        </pc:spChg>
        <pc:spChg chg="mod">
          <ac:chgData name="Paul LEGEARD" userId="73b5704d-da1d-4b70-8e12-6d54d32b01a3" providerId="ADAL" clId="{20AD8B11-130C-4F68-9211-C0E7C90F8BEE}" dt="2023-06-12T09:07:38.105" v="24978" actId="1036"/>
          <ac:spMkLst>
            <pc:docMk/>
            <pc:sldMk cId="3696801894" sldId="2147471281"/>
            <ac:spMk id="24" creationId="{496AD641-58AF-92CA-334F-20A67958625F}"/>
          </ac:spMkLst>
        </pc:spChg>
        <pc:spChg chg="mod">
          <ac:chgData name="Paul LEGEARD" userId="73b5704d-da1d-4b70-8e12-6d54d32b01a3" providerId="ADAL" clId="{20AD8B11-130C-4F68-9211-C0E7C90F8BEE}" dt="2023-06-12T09:07:10.396" v="24965" actId="20577"/>
          <ac:spMkLst>
            <pc:docMk/>
            <pc:sldMk cId="3696801894" sldId="2147471281"/>
            <ac:spMk id="25" creationId="{8E42CE21-BE9F-86F7-07C0-337C01E2660D}"/>
          </ac:spMkLst>
        </pc:spChg>
        <pc:spChg chg="mod">
          <ac:chgData name="Paul LEGEARD" userId="73b5704d-da1d-4b70-8e12-6d54d32b01a3" providerId="ADAL" clId="{20AD8B11-130C-4F68-9211-C0E7C90F8BEE}" dt="2023-06-12T09:07:38.105" v="24978" actId="1036"/>
          <ac:spMkLst>
            <pc:docMk/>
            <pc:sldMk cId="3696801894" sldId="2147471281"/>
            <ac:spMk id="130" creationId="{7A03EAB2-5095-8D56-B52D-F776F03E726E}"/>
          </ac:spMkLst>
        </pc:spChg>
        <pc:picChg chg="mod">
          <ac:chgData name="Paul LEGEARD" userId="73b5704d-da1d-4b70-8e12-6d54d32b01a3" providerId="ADAL" clId="{20AD8B11-130C-4F68-9211-C0E7C90F8BEE}" dt="2023-06-12T09:07:38.105" v="24978" actId="1036"/>
          <ac:picMkLst>
            <pc:docMk/>
            <pc:sldMk cId="3696801894" sldId="2147471281"/>
            <ac:picMk id="4" creationId="{05DF792A-8CA8-0C06-7BCA-69D57CEE02DF}"/>
          </ac:picMkLst>
        </pc:picChg>
        <pc:picChg chg="mod">
          <ac:chgData name="Paul LEGEARD" userId="73b5704d-da1d-4b70-8e12-6d54d32b01a3" providerId="ADAL" clId="{20AD8B11-130C-4F68-9211-C0E7C90F8BEE}" dt="2023-06-12T09:07:38.105" v="24978" actId="1036"/>
          <ac:picMkLst>
            <pc:docMk/>
            <pc:sldMk cId="3696801894" sldId="2147471281"/>
            <ac:picMk id="5" creationId="{611BEB46-7FB6-8674-FA39-A6AF4FF71664}"/>
          </ac:picMkLst>
        </pc:picChg>
        <pc:picChg chg="mod">
          <ac:chgData name="Paul LEGEARD" userId="73b5704d-da1d-4b70-8e12-6d54d32b01a3" providerId="ADAL" clId="{20AD8B11-130C-4F68-9211-C0E7C90F8BEE}" dt="2023-06-12T09:07:38.105" v="24978" actId="1036"/>
          <ac:picMkLst>
            <pc:docMk/>
            <pc:sldMk cId="3696801894" sldId="2147471281"/>
            <ac:picMk id="6" creationId="{257DE536-6435-F07D-803A-360D3EC34443}"/>
          </ac:picMkLst>
        </pc:picChg>
        <pc:picChg chg="mod">
          <ac:chgData name="Paul LEGEARD" userId="73b5704d-da1d-4b70-8e12-6d54d32b01a3" providerId="ADAL" clId="{20AD8B11-130C-4F68-9211-C0E7C90F8BEE}" dt="2023-06-12T09:07:38.105" v="24978" actId="1036"/>
          <ac:picMkLst>
            <pc:docMk/>
            <pc:sldMk cId="3696801894" sldId="2147471281"/>
            <ac:picMk id="7" creationId="{1C14A8FF-7B92-6150-10A3-B2795949EA9B}"/>
          </ac:picMkLst>
        </pc:picChg>
        <pc:picChg chg="mod">
          <ac:chgData name="Paul LEGEARD" userId="73b5704d-da1d-4b70-8e12-6d54d32b01a3" providerId="ADAL" clId="{20AD8B11-130C-4F68-9211-C0E7C90F8BEE}" dt="2023-06-12T09:07:38.105" v="24978" actId="1036"/>
          <ac:picMkLst>
            <pc:docMk/>
            <pc:sldMk cId="3696801894" sldId="2147471281"/>
            <ac:picMk id="15" creationId="{09C3F587-9751-CCB0-0CD3-3EB1E7ECBA60}"/>
          </ac:picMkLst>
        </pc:picChg>
        <pc:picChg chg="mod">
          <ac:chgData name="Paul LEGEARD" userId="73b5704d-da1d-4b70-8e12-6d54d32b01a3" providerId="ADAL" clId="{20AD8B11-130C-4F68-9211-C0E7C90F8BEE}" dt="2023-06-12T09:07:38.105" v="24978" actId="1036"/>
          <ac:picMkLst>
            <pc:docMk/>
            <pc:sldMk cId="3696801894" sldId="2147471281"/>
            <ac:picMk id="17" creationId="{EF9847B9-A517-008C-5C5E-A2BC3E541EAC}"/>
          </ac:picMkLst>
        </pc:picChg>
        <pc:picChg chg="mod">
          <ac:chgData name="Paul LEGEARD" userId="73b5704d-da1d-4b70-8e12-6d54d32b01a3" providerId="ADAL" clId="{20AD8B11-130C-4F68-9211-C0E7C90F8BEE}" dt="2023-06-12T09:07:38.105" v="24978" actId="1036"/>
          <ac:picMkLst>
            <pc:docMk/>
            <pc:sldMk cId="3696801894" sldId="2147471281"/>
            <ac:picMk id="1026" creationId="{FA49FFBF-D9AA-E2CA-DBDE-1014E1E2EB86}"/>
          </ac:picMkLst>
        </pc:picChg>
      </pc:sldChg>
      <pc:sldChg chg="addSp delSp modSp add del mod ord">
        <pc:chgData name="Paul LEGEARD" userId="73b5704d-da1d-4b70-8e12-6d54d32b01a3" providerId="ADAL" clId="{20AD8B11-130C-4F68-9211-C0E7C90F8BEE}" dt="2023-07-10T12:59:54.168" v="29928"/>
        <pc:sldMkLst>
          <pc:docMk/>
          <pc:sldMk cId="3442962359" sldId="2147471282"/>
        </pc:sldMkLst>
        <pc:spChg chg="add mod">
          <ac:chgData name="Paul LEGEARD" userId="73b5704d-da1d-4b70-8e12-6d54d32b01a3" providerId="ADAL" clId="{20AD8B11-130C-4F68-9211-C0E7C90F8BEE}" dt="2023-06-12T09:09:54.279" v="25052" actId="12788"/>
          <ac:spMkLst>
            <pc:docMk/>
            <pc:sldMk cId="3442962359" sldId="2147471282"/>
            <ac:spMk id="2" creationId="{2C86B500-1233-2B2C-ED44-3D7E37563782}"/>
          </ac:spMkLst>
        </pc:spChg>
        <pc:spChg chg="del">
          <ac:chgData name="Paul LEGEARD" userId="73b5704d-da1d-4b70-8e12-6d54d32b01a3" providerId="ADAL" clId="{20AD8B11-130C-4F68-9211-C0E7C90F8BEE}" dt="2023-06-20T14:30:19.524" v="29900" actId="478"/>
          <ac:spMkLst>
            <pc:docMk/>
            <pc:sldMk cId="3442962359" sldId="2147471282"/>
            <ac:spMk id="3" creationId="{818258AD-F163-283F-66E5-8B39B91FED7F}"/>
          </ac:spMkLst>
        </pc:spChg>
        <pc:spChg chg="mod">
          <ac:chgData name="Paul LEGEARD" userId="73b5704d-da1d-4b70-8e12-6d54d32b01a3" providerId="ADAL" clId="{20AD8B11-130C-4F68-9211-C0E7C90F8BEE}" dt="2023-06-12T09:09:54.279" v="25052" actId="12788"/>
          <ac:spMkLst>
            <pc:docMk/>
            <pc:sldMk cId="3442962359" sldId="2147471282"/>
            <ac:spMk id="9" creationId="{4F27743C-6575-7926-24E1-FD0358DDC666}"/>
          </ac:spMkLst>
        </pc:spChg>
        <pc:spChg chg="mod">
          <ac:chgData name="Paul LEGEARD" userId="73b5704d-da1d-4b70-8e12-6d54d32b01a3" providerId="ADAL" clId="{20AD8B11-130C-4F68-9211-C0E7C90F8BEE}" dt="2023-06-12T09:10:07.794" v="25057" actId="11530"/>
          <ac:spMkLst>
            <pc:docMk/>
            <pc:sldMk cId="3442962359" sldId="2147471282"/>
            <ac:spMk id="10" creationId="{9D51C2ED-DB2E-8733-E50A-6C8C87643C3A}"/>
          </ac:spMkLst>
        </pc:spChg>
        <pc:spChg chg="del mod">
          <ac:chgData name="Paul LEGEARD" userId="73b5704d-da1d-4b70-8e12-6d54d32b01a3" providerId="ADAL" clId="{20AD8B11-130C-4F68-9211-C0E7C90F8BEE}" dt="2023-06-12T09:09:09.317" v="25030" actId="478"/>
          <ac:spMkLst>
            <pc:docMk/>
            <pc:sldMk cId="3442962359" sldId="2147471282"/>
            <ac:spMk id="29" creationId="{A60B14A4-C6DC-EE91-1DF0-061626E6918F}"/>
          </ac:spMkLst>
        </pc:spChg>
        <pc:spChg chg="mod">
          <ac:chgData name="Paul LEGEARD" userId="73b5704d-da1d-4b70-8e12-6d54d32b01a3" providerId="ADAL" clId="{20AD8B11-130C-4F68-9211-C0E7C90F8BEE}" dt="2023-06-12T09:09:20.397" v="25033" actId="1076"/>
          <ac:spMkLst>
            <pc:docMk/>
            <pc:sldMk cId="3442962359" sldId="2147471282"/>
            <ac:spMk id="30" creationId="{8CF59B19-AFB9-87E1-19CA-992E6CA4BEB8}"/>
          </ac:spMkLst>
        </pc:spChg>
        <pc:spChg chg="add del mod">
          <ac:chgData name="Paul LEGEARD" userId="73b5704d-da1d-4b70-8e12-6d54d32b01a3" providerId="ADAL" clId="{20AD8B11-130C-4F68-9211-C0E7C90F8BEE}" dt="2023-06-12T09:10:29.189" v="25064" actId="478"/>
          <ac:spMkLst>
            <pc:docMk/>
            <pc:sldMk cId="3442962359" sldId="2147471282"/>
            <ac:spMk id="33" creationId="{A1867562-26AC-5633-B287-19FC91CB0A13}"/>
          </ac:spMkLst>
        </pc:spChg>
        <pc:spChg chg="add mod">
          <ac:chgData name="Paul LEGEARD" userId="73b5704d-da1d-4b70-8e12-6d54d32b01a3" providerId="ADAL" clId="{20AD8B11-130C-4F68-9211-C0E7C90F8BEE}" dt="2023-06-12T09:10:35.360" v="25066" actId="1076"/>
          <ac:spMkLst>
            <pc:docMk/>
            <pc:sldMk cId="3442962359" sldId="2147471282"/>
            <ac:spMk id="34" creationId="{4ACCF120-ABBC-7323-3770-25A0106AD3EA}"/>
          </ac:spMkLst>
        </pc:spChg>
        <pc:spChg chg="mod">
          <ac:chgData name="Paul LEGEARD" userId="73b5704d-da1d-4b70-8e12-6d54d32b01a3" providerId="ADAL" clId="{20AD8B11-130C-4F68-9211-C0E7C90F8BEE}" dt="2023-06-12T09:12:19.273" v="25143" actId="1035"/>
          <ac:spMkLst>
            <pc:docMk/>
            <pc:sldMk cId="3442962359" sldId="2147471282"/>
            <ac:spMk id="36" creationId="{70900175-4234-E6F3-5B2B-C90F3E9EAC06}"/>
          </ac:spMkLst>
        </pc:spChg>
        <pc:spChg chg="mod">
          <ac:chgData name="Paul LEGEARD" userId="73b5704d-da1d-4b70-8e12-6d54d32b01a3" providerId="ADAL" clId="{20AD8B11-130C-4F68-9211-C0E7C90F8BEE}" dt="2023-06-12T09:12:18.253" v="25141" actId="1035"/>
          <ac:spMkLst>
            <pc:docMk/>
            <pc:sldMk cId="3442962359" sldId="2147471282"/>
            <ac:spMk id="38" creationId="{2EB46576-81ED-40E6-BD77-ED3C65FCE448}"/>
          </ac:spMkLst>
        </pc:spChg>
        <pc:spChg chg="add mod">
          <ac:chgData name="Paul LEGEARD" userId="73b5704d-da1d-4b70-8e12-6d54d32b01a3" providerId="ADAL" clId="{20AD8B11-130C-4F68-9211-C0E7C90F8BEE}" dt="2023-06-12T09:11:19.653" v="25120" actId="1038"/>
          <ac:spMkLst>
            <pc:docMk/>
            <pc:sldMk cId="3442962359" sldId="2147471282"/>
            <ac:spMk id="39" creationId="{8F5E4247-29A6-A06E-8F33-90B4C2D4E482}"/>
          </ac:spMkLst>
        </pc:spChg>
        <pc:spChg chg="add mod">
          <ac:chgData name="Paul LEGEARD" userId="73b5704d-da1d-4b70-8e12-6d54d32b01a3" providerId="ADAL" clId="{20AD8B11-130C-4F68-9211-C0E7C90F8BEE}" dt="2023-06-12T09:11:44.502" v="25127" actId="1076"/>
          <ac:spMkLst>
            <pc:docMk/>
            <pc:sldMk cId="3442962359" sldId="2147471282"/>
            <ac:spMk id="47" creationId="{9E81889B-D95A-2A96-2E51-5F11207F38FA}"/>
          </ac:spMkLst>
        </pc:spChg>
        <pc:spChg chg="mod ord">
          <ac:chgData name="Paul LEGEARD" userId="73b5704d-da1d-4b70-8e12-6d54d32b01a3" providerId="ADAL" clId="{20AD8B11-130C-4F68-9211-C0E7C90F8BEE}" dt="2023-06-12T09:11:49.006" v="25129" actId="166"/>
          <ac:spMkLst>
            <pc:docMk/>
            <pc:sldMk cId="3442962359" sldId="2147471282"/>
            <ac:spMk id="53" creationId="{C1D1030F-C4C3-5EAA-29D6-860A2598701D}"/>
          </ac:spMkLst>
        </pc:spChg>
        <pc:spChg chg="add del">
          <ac:chgData name="Paul LEGEARD" userId="73b5704d-da1d-4b70-8e12-6d54d32b01a3" providerId="ADAL" clId="{20AD8B11-130C-4F68-9211-C0E7C90F8BEE}" dt="2023-06-12T09:08:45.804" v="25007" actId="478"/>
          <ac:spMkLst>
            <pc:docMk/>
            <pc:sldMk cId="3442962359" sldId="2147471282"/>
            <ac:spMk id="54" creationId="{5A30E0B8-1B01-1F81-0F23-B8FD6F486C79}"/>
          </ac:spMkLst>
        </pc:spChg>
        <pc:spChg chg="add del">
          <ac:chgData name="Paul LEGEARD" userId="73b5704d-da1d-4b70-8e12-6d54d32b01a3" providerId="ADAL" clId="{20AD8B11-130C-4F68-9211-C0E7C90F8BEE}" dt="2023-06-12T09:08:43.714" v="25006" actId="478"/>
          <ac:spMkLst>
            <pc:docMk/>
            <pc:sldMk cId="3442962359" sldId="2147471282"/>
            <ac:spMk id="55" creationId="{6E9A8ACA-69F5-CF06-D012-E96A91A38750}"/>
          </ac:spMkLst>
        </pc:spChg>
        <pc:grpChg chg="mod">
          <ac:chgData name="Paul LEGEARD" userId="73b5704d-da1d-4b70-8e12-6d54d32b01a3" providerId="ADAL" clId="{20AD8B11-130C-4F68-9211-C0E7C90F8BEE}" dt="2023-06-12T09:11:28.497" v="25121" actId="14100"/>
          <ac:grpSpMkLst>
            <pc:docMk/>
            <pc:sldMk cId="3442962359" sldId="2147471282"/>
            <ac:grpSpMk id="45" creationId="{658B2607-C4C0-058C-EBAE-6C7B64A45293}"/>
          </ac:grpSpMkLst>
        </pc:grpChg>
        <pc:graphicFrameChg chg="mod modGraphic">
          <ac:chgData name="Paul LEGEARD" userId="73b5704d-da1d-4b70-8e12-6d54d32b01a3" providerId="ADAL" clId="{20AD8B11-130C-4F68-9211-C0E7C90F8BEE}" dt="2023-06-12T09:09:20.397" v="25033" actId="1076"/>
          <ac:graphicFrameMkLst>
            <pc:docMk/>
            <pc:sldMk cId="3442962359" sldId="2147471282"/>
            <ac:graphicFrameMk id="22" creationId="{FF5A5D32-3B52-48DD-BBBF-6218995AEB3B}"/>
          </ac:graphicFrameMkLst>
        </pc:graphicFrameChg>
        <pc:picChg chg="mod">
          <ac:chgData name="Paul LEGEARD" userId="73b5704d-da1d-4b70-8e12-6d54d32b01a3" providerId="ADAL" clId="{20AD8B11-130C-4F68-9211-C0E7C90F8BEE}" dt="2023-06-12T09:09:20.397" v="25033" actId="1076"/>
          <ac:picMkLst>
            <pc:docMk/>
            <pc:sldMk cId="3442962359" sldId="2147471282"/>
            <ac:picMk id="11" creationId="{DEF63936-4D7F-57A1-C5DD-4630107E8DB0}"/>
          </ac:picMkLst>
        </pc:picChg>
        <pc:picChg chg="mod">
          <ac:chgData name="Paul LEGEARD" userId="73b5704d-da1d-4b70-8e12-6d54d32b01a3" providerId="ADAL" clId="{20AD8B11-130C-4F68-9211-C0E7C90F8BEE}" dt="2023-06-12T09:09:20.397" v="25033" actId="1076"/>
          <ac:picMkLst>
            <pc:docMk/>
            <pc:sldMk cId="3442962359" sldId="2147471282"/>
            <ac:picMk id="23" creationId="{03314102-F6AA-2859-4BAD-89E1975AC338}"/>
          </ac:picMkLst>
        </pc:picChg>
        <pc:picChg chg="mod">
          <ac:chgData name="Paul LEGEARD" userId="73b5704d-da1d-4b70-8e12-6d54d32b01a3" providerId="ADAL" clId="{20AD8B11-130C-4F68-9211-C0E7C90F8BEE}" dt="2023-06-12T09:09:20.397" v="25033" actId="1076"/>
          <ac:picMkLst>
            <pc:docMk/>
            <pc:sldMk cId="3442962359" sldId="2147471282"/>
            <ac:picMk id="26" creationId="{5FBFD3AA-057C-8FE8-BAD5-F3E5F42DD58B}"/>
          </ac:picMkLst>
        </pc:picChg>
        <pc:picChg chg="add del">
          <ac:chgData name="Paul LEGEARD" userId="73b5704d-da1d-4b70-8e12-6d54d32b01a3" providerId="ADAL" clId="{20AD8B11-130C-4F68-9211-C0E7C90F8BEE}" dt="2023-06-12T09:08:43.104" v="25005" actId="478"/>
          <ac:picMkLst>
            <pc:docMk/>
            <pc:sldMk cId="3442962359" sldId="2147471282"/>
            <ac:picMk id="56" creationId="{1B7C0757-4572-180F-4404-895F3211022A}"/>
          </ac:picMkLst>
        </pc:picChg>
        <pc:cxnChg chg="add mod">
          <ac:chgData name="Paul LEGEARD" userId="73b5704d-da1d-4b70-8e12-6d54d32b01a3" providerId="ADAL" clId="{20AD8B11-130C-4F68-9211-C0E7C90F8BEE}" dt="2023-06-12T09:09:54.279" v="25052" actId="12788"/>
          <ac:cxnSpMkLst>
            <pc:docMk/>
            <pc:sldMk cId="3442962359" sldId="2147471282"/>
            <ac:cxnSpMk id="5" creationId="{6A9ED112-8AE2-6ECA-F7F8-C3A652299DDD}"/>
          </ac:cxnSpMkLst>
        </pc:cxnChg>
        <pc:cxnChg chg="add mod">
          <ac:chgData name="Paul LEGEARD" userId="73b5704d-da1d-4b70-8e12-6d54d32b01a3" providerId="ADAL" clId="{20AD8B11-130C-4F68-9211-C0E7C90F8BEE}" dt="2023-06-12T09:10:01.407" v="25056" actId="14100"/>
          <ac:cxnSpMkLst>
            <pc:docMk/>
            <pc:sldMk cId="3442962359" sldId="2147471282"/>
            <ac:cxnSpMk id="28" creationId="{EDB74764-A3D9-FA4E-F20C-290AC0157983}"/>
          </ac:cxnSpMkLst>
        </pc:cxnChg>
        <pc:cxnChg chg="add mod">
          <ac:chgData name="Paul LEGEARD" userId="73b5704d-da1d-4b70-8e12-6d54d32b01a3" providerId="ADAL" clId="{20AD8B11-130C-4F68-9211-C0E7C90F8BEE}" dt="2023-06-12T09:11:19.653" v="25120" actId="1038"/>
          <ac:cxnSpMkLst>
            <pc:docMk/>
            <pc:sldMk cId="3442962359" sldId="2147471282"/>
            <ac:cxnSpMk id="41" creationId="{0B927D85-A4C1-A4F7-BF59-3C6605594242}"/>
          </ac:cxnSpMkLst>
        </pc:cxnChg>
        <pc:cxnChg chg="add del mod">
          <ac:chgData name="Paul LEGEARD" userId="73b5704d-da1d-4b70-8e12-6d54d32b01a3" providerId="ADAL" clId="{20AD8B11-130C-4F68-9211-C0E7C90F8BEE}" dt="2023-06-12T09:11:52.054" v="25131" actId="478"/>
          <ac:cxnSpMkLst>
            <pc:docMk/>
            <pc:sldMk cId="3442962359" sldId="2147471282"/>
            <ac:cxnSpMk id="49" creationId="{E70C0507-C2E8-0A78-79CC-28902A311E5B}"/>
          </ac:cxnSpMkLst>
        </pc:cxnChg>
        <pc:cxnChg chg="add mod ord">
          <ac:chgData name="Paul LEGEARD" userId="73b5704d-da1d-4b70-8e12-6d54d32b01a3" providerId="ADAL" clId="{20AD8B11-130C-4F68-9211-C0E7C90F8BEE}" dt="2023-06-12T09:12:18.253" v="25141" actId="1035"/>
          <ac:cxnSpMkLst>
            <pc:docMk/>
            <pc:sldMk cId="3442962359" sldId="2147471282"/>
            <ac:cxnSpMk id="57" creationId="{27BBEBAC-4EC3-C791-92DA-D57EFB62DD7E}"/>
          </ac:cxnSpMkLst>
        </pc:cxnChg>
      </pc:sldChg>
      <pc:sldChg chg="modSp add del mod">
        <pc:chgData name="Paul LEGEARD" userId="73b5704d-da1d-4b70-8e12-6d54d32b01a3" providerId="ADAL" clId="{20AD8B11-130C-4F68-9211-C0E7C90F8BEE}" dt="2023-06-20T14:27:12.578" v="29890" actId="47"/>
        <pc:sldMkLst>
          <pc:docMk/>
          <pc:sldMk cId="1699123866" sldId="2147471283"/>
        </pc:sldMkLst>
        <pc:spChg chg="mod">
          <ac:chgData name="Paul LEGEARD" userId="73b5704d-da1d-4b70-8e12-6d54d32b01a3" providerId="ADAL" clId="{20AD8B11-130C-4F68-9211-C0E7C90F8BEE}" dt="2023-06-12T09:13:06.054" v="25152" actId="20577"/>
          <ac:spMkLst>
            <pc:docMk/>
            <pc:sldMk cId="1699123866" sldId="2147471283"/>
            <ac:spMk id="69" creationId="{EAEC02D1-73F4-4F59-42A5-C024A4BD775F}"/>
          </ac:spMkLst>
        </pc:spChg>
        <pc:spChg chg="mod">
          <ac:chgData name="Paul LEGEARD" userId="73b5704d-da1d-4b70-8e12-6d54d32b01a3" providerId="ADAL" clId="{20AD8B11-130C-4F68-9211-C0E7C90F8BEE}" dt="2023-06-12T09:12:44.120" v="25149" actId="1076"/>
          <ac:spMkLst>
            <pc:docMk/>
            <pc:sldMk cId="1699123866" sldId="2147471283"/>
            <ac:spMk id="71" creationId="{6280F110-D9BF-372F-3840-ED076E16AB15}"/>
          </ac:spMkLst>
        </pc:spChg>
      </pc:sldChg>
      <pc:sldChg chg="modSp add del mod">
        <pc:chgData name="Paul LEGEARD" userId="73b5704d-da1d-4b70-8e12-6d54d32b01a3" providerId="ADAL" clId="{20AD8B11-130C-4F68-9211-C0E7C90F8BEE}" dt="2023-06-20T14:30:11.601" v="29898" actId="47"/>
        <pc:sldMkLst>
          <pc:docMk/>
          <pc:sldMk cId="1988069037" sldId="2147471284"/>
        </pc:sldMkLst>
        <pc:spChg chg="mod">
          <ac:chgData name="Paul LEGEARD" userId="73b5704d-da1d-4b70-8e12-6d54d32b01a3" providerId="ADAL" clId="{20AD8B11-130C-4F68-9211-C0E7C90F8BEE}" dt="2023-06-12T09:13:30.777" v="25167" actId="20577"/>
          <ac:spMkLst>
            <pc:docMk/>
            <pc:sldMk cId="1988069037" sldId="2147471284"/>
            <ac:spMk id="2" creationId="{81BA7D8F-F811-489A-AC70-FD79EE27800F}"/>
          </ac:spMkLst>
        </pc:spChg>
      </pc:sldChg>
      <pc:sldChg chg="modSp add del mod">
        <pc:chgData name="Paul LEGEARD" userId="73b5704d-da1d-4b70-8e12-6d54d32b01a3" providerId="ADAL" clId="{20AD8B11-130C-4F68-9211-C0E7C90F8BEE}" dt="2023-06-20T14:27:17.521" v="29892" actId="47"/>
        <pc:sldMkLst>
          <pc:docMk/>
          <pc:sldMk cId="1647212924" sldId="2147471285"/>
        </pc:sldMkLst>
        <pc:spChg chg="mod">
          <ac:chgData name="Paul LEGEARD" userId="73b5704d-da1d-4b70-8e12-6d54d32b01a3" providerId="ADAL" clId="{20AD8B11-130C-4F68-9211-C0E7C90F8BEE}" dt="2023-06-12T09:13:36.704" v="25172" actId="20577"/>
          <ac:spMkLst>
            <pc:docMk/>
            <pc:sldMk cId="1647212924" sldId="2147471285"/>
            <ac:spMk id="2" creationId="{81BA7D8F-F811-489A-AC70-FD79EE27800F}"/>
          </ac:spMkLst>
        </pc:spChg>
      </pc:sldChg>
      <pc:sldChg chg="delSp add del mod">
        <pc:chgData name="Paul LEGEARD" userId="73b5704d-da1d-4b70-8e12-6d54d32b01a3" providerId="ADAL" clId="{20AD8B11-130C-4F68-9211-C0E7C90F8BEE}" dt="2023-07-10T12:59:54.168" v="29928"/>
        <pc:sldMkLst>
          <pc:docMk/>
          <pc:sldMk cId="3813276438" sldId="2147471286"/>
        </pc:sldMkLst>
        <pc:spChg chg="del">
          <ac:chgData name="Paul LEGEARD" userId="73b5704d-da1d-4b70-8e12-6d54d32b01a3" providerId="ADAL" clId="{20AD8B11-130C-4F68-9211-C0E7C90F8BEE}" dt="2023-06-20T14:30:27.947" v="29903" actId="478"/>
          <ac:spMkLst>
            <pc:docMk/>
            <pc:sldMk cId="3813276438" sldId="2147471286"/>
            <ac:spMk id="16" creationId="{5C2EEAF3-E22D-4BED-98C3-CE60420FC67E}"/>
          </ac:spMkLst>
        </pc:spChg>
      </pc:sldChg>
      <pc:sldChg chg="addSp modSp add del">
        <pc:chgData name="Paul LEGEARD" userId="73b5704d-da1d-4b70-8e12-6d54d32b01a3" providerId="ADAL" clId="{20AD8B11-130C-4F68-9211-C0E7C90F8BEE}" dt="2023-06-12T12:41:49.224" v="27389" actId="47"/>
        <pc:sldMkLst>
          <pc:docMk/>
          <pc:sldMk cId="28693255" sldId="2147471287"/>
        </pc:sldMkLst>
        <pc:graphicFrameChg chg="add mod">
          <ac:chgData name="Paul LEGEARD" userId="73b5704d-da1d-4b70-8e12-6d54d32b01a3" providerId="ADAL" clId="{20AD8B11-130C-4F68-9211-C0E7C90F8BEE}" dt="2023-06-12T11:59:46.049" v="26313"/>
          <ac:graphicFrameMkLst>
            <pc:docMk/>
            <pc:sldMk cId="28693255" sldId="2147471287"/>
            <ac:graphicFrameMk id="3" creationId="{12CB4B4C-24D7-CF15-56E2-584534FFCC09}"/>
          </ac:graphicFrameMkLst>
        </pc:graphicFrameChg>
      </pc:sldChg>
      <pc:sldChg chg="add del">
        <pc:chgData name="Paul LEGEARD" userId="73b5704d-da1d-4b70-8e12-6d54d32b01a3" providerId="ADAL" clId="{20AD8B11-130C-4F68-9211-C0E7C90F8BEE}" dt="2023-06-12T09:16:12.556" v="25232"/>
        <pc:sldMkLst>
          <pc:docMk/>
          <pc:sldMk cId="543536326" sldId="2147471287"/>
        </pc:sldMkLst>
      </pc:sldChg>
      <pc:sldChg chg="addSp delSp modSp add del mod">
        <pc:chgData name="Paul LEGEARD" userId="73b5704d-da1d-4b70-8e12-6d54d32b01a3" providerId="ADAL" clId="{20AD8B11-130C-4F68-9211-C0E7C90F8BEE}" dt="2023-06-12T11:57:37.636" v="26310" actId="2696"/>
        <pc:sldMkLst>
          <pc:docMk/>
          <pc:sldMk cId="729661495" sldId="2147471287"/>
        </pc:sldMkLst>
        <pc:spChg chg="add mod">
          <ac:chgData name="Paul LEGEARD" userId="73b5704d-da1d-4b70-8e12-6d54d32b01a3" providerId="ADAL" clId="{20AD8B11-130C-4F68-9211-C0E7C90F8BEE}" dt="2023-06-12T09:26:02.766" v="25574" actId="1076"/>
          <ac:spMkLst>
            <pc:docMk/>
            <pc:sldMk cId="729661495" sldId="2147471287"/>
            <ac:spMk id="2" creationId="{7134ADF6-9A35-1415-AB5E-17DB75A4984F}"/>
          </ac:spMkLst>
        </pc:spChg>
        <pc:spChg chg="add del mod">
          <ac:chgData name="Paul LEGEARD" userId="73b5704d-da1d-4b70-8e12-6d54d32b01a3" providerId="ADAL" clId="{20AD8B11-130C-4F68-9211-C0E7C90F8BEE}" dt="2023-06-12T09:25:51.964" v="25562" actId="478"/>
          <ac:spMkLst>
            <pc:docMk/>
            <pc:sldMk cId="729661495" sldId="2147471287"/>
            <ac:spMk id="5" creationId="{2DFB0F71-BF8A-F77D-5687-4D6C08DE9850}"/>
          </ac:spMkLst>
        </pc:spChg>
        <pc:spChg chg="del">
          <ac:chgData name="Paul LEGEARD" userId="73b5704d-da1d-4b70-8e12-6d54d32b01a3" providerId="ADAL" clId="{20AD8B11-130C-4F68-9211-C0E7C90F8BEE}" dt="2023-06-12T09:25:48.811" v="25559" actId="478"/>
          <ac:spMkLst>
            <pc:docMk/>
            <pc:sldMk cId="729661495" sldId="2147471287"/>
            <ac:spMk id="6" creationId="{6EFAEA8A-0DE7-80A8-DAE8-E788FF3F03B8}"/>
          </ac:spMkLst>
        </pc:spChg>
        <pc:spChg chg="mod">
          <ac:chgData name="Paul LEGEARD" userId="73b5704d-da1d-4b70-8e12-6d54d32b01a3" providerId="ADAL" clId="{20AD8B11-130C-4F68-9211-C0E7C90F8BEE}" dt="2023-06-12T09:25:49.308" v="25560"/>
          <ac:spMkLst>
            <pc:docMk/>
            <pc:sldMk cId="729661495" sldId="2147471287"/>
            <ac:spMk id="8" creationId="{19935B34-7C9E-9993-DACE-F97B9C57C1A6}"/>
          </ac:spMkLst>
        </pc:spChg>
        <pc:spChg chg="mod">
          <ac:chgData name="Paul LEGEARD" userId="73b5704d-da1d-4b70-8e12-6d54d32b01a3" providerId="ADAL" clId="{20AD8B11-130C-4F68-9211-C0E7C90F8BEE}" dt="2023-06-12T09:25:49.308" v="25560"/>
          <ac:spMkLst>
            <pc:docMk/>
            <pc:sldMk cId="729661495" sldId="2147471287"/>
            <ac:spMk id="9" creationId="{9B00EAFC-A38B-4908-02E7-1CBEE5695FF3}"/>
          </ac:spMkLst>
        </pc:spChg>
        <pc:spChg chg="mod">
          <ac:chgData name="Paul LEGEARD" userId="73b5704d-da1d-4b70-8e12-6d54d32b01a3" providerId="ADAL" clId="{20AD8B11-130C-4F68-9211-C0E7C90F8BEE}" dt="2023-06-12T09:26:22.828" v="25591" actId="20577"/>
          <ac:spMkLst>
            <pc:docMk/>
            <pc:sldMk cId="729661495" sldId="2147471287"/>
            <ac:spMk id="10" creationId="{09A44C6E-F09D-51FF-7E6C-04440523F6EC}"/>
          </ac:spMkLst>
        </pc:spChg>
        <pc:spChg chg="add del mod">
          <ac:chgData name="Paul LEGEARD" userId="73b5704d-da1d-4b70-8e12-6d54d32b01a3" providerId="ADAL" clId="{20AD8B11-130C-4F68-9211-C0E7C90F8BEE}" dt="2023-06-12T09:26:40.113" v="25596" actId="478"/>
          <ac:spMkLst>
            <pc:docMk/>
            <pc:sldMk cId="729661495" sldId="2147471287"/>
            <ac:spMk id="11" creationId="{8D347F4C-872F-1928-A590-64A4F231A3EE}"/>
          </ac:spMkLst>
        </pc:spChg>
        <pc:spChg chg="add del mod">
          <ac:chgData name="Paul LEGEARD" userId="73b5704d-da1d-4b70-8e12-6d54d32b01a3" providerId="ADAL" clId="{20AD8B11-130C-4F68-9211-C0E7C90F8BEE}" dt="2023-06-12T09:25:56.018" v="25570" actId="478"/>
          <ac:spMkLst>
            <pc:docMk/>
            <pc:sldMk cId="729661495" sldId="2147471287"/>
            <ac:spMk id="12" creationId="{7608B650-6FA6-0D85-5BC2-9BA73CDBA4ED}"/>
          </ac:spMkLst>
        </pc:spChg>
        <pc:spChg chg="mod">
          <ac:chgData name="Paul LEGEARD" userId="73b5704d-da1d-4b70-8e12-6d54d32b01a3" providerId="ADAL" clId="{20AD8B11-130C-4F68-9211-C0E7C90F8BEE}" dt="2023-06-12T09:27:05.162" v="25604" actId="14100"/>
          <ac:spMkLst>
            <pc:docMk/>
            <pc:sldMk cId="729661495" sldId="2147471287"/>
            <ac:spMk id="14" creationId="{828F62F2-C2A6-3B51-2FE7-6EA827DC6118}"/>
          </ac:spMkLst>
        </pc:spChg>
        <pc:spChg chg="mod">
          <ac:chgData name="Paul LEGEARD" userId="73b5704d-da1d-4b70-8e12-6d54d32b01a3" providerId="ADAL" clId="{20AD8B11-130C-4F68-9211-C0E7C90F8BEE}" dt="2023-06-12T09:25:49.308" v="25560"/>
          <ac:spMkLst>
            <pc:docMk/>
            <pc:sldMk cId="729661495" sldId="2147471287"/>
            <ac:spMk id="15" creationId="{5E728D41-F6CD-AB12-30E8-00A470DCB2D6}"/>
          </ac:spMkLst>
        </pc:spChg>
        <pc:spChg chg="mod">
          <ac:chgData name="Paul LEGEARD" userId="73b5704d-da1d-4b70-8e12-6d54d32b01a3" providerId="ADAL" clId="{20AD8B11-130C-4F68-9211-C0E7C90F8BEE}" dt="2023-06-12T09:26:27.736" v="25592"/>
          <ac:spMkLst>
            <pc:docMk/>
            <pc:sldMk cId="729661495" sldId="2147471287"/>
            <ac:spMk id="16" creationId="{FF1D0397-EF81-8A2C-6910-04E79A428CBE}"/>
          </ac:spMkLst>
        </pc:spChg>
        <pc:spChg chg="mod">
          <ac:chgData name="Paul LEGEARD" userId="73b5704d-da1d-4b70-8e12-6d54d32b01a3" providerId="ADAL" clId="{20AD8B11-130C-4F68-9211-C0E7C90F8BEE}" dt="2023-06-12T09:26:56.477" v="25601" actId="14100"/>
          <ac:spMkLst>
            <pc:docMk/>
            <pc:sldMk cId="729661495" sldId="2147471287"/>
            <ac:spMk id="18" creationId="{7DB9AA55-20C7-C348-B962-FCFF1022BEC9}"/>
          </ac:spMkLst>
        </pc:spChg>
        <pc:spChg chg="mod">
          <ac:chgData name="Paul LEGEARD" userId="73b5704d-da1d-4b70-8e12-6d54d32b01a3" providerId="ADAL" clId="{20AD8B11-130C-4F68-9211-C0E7C90F8BEE}" dt="2023-06-12T09:25:49.308" v="25560"/>
          <ac:spMkLst>
            <pc:docMk/>
            <pc:sldMk cId="729661495" sldId="2147471287"/>
            <ac:spMk id="19" creationId="{0A2BAD97-C2B5-4DA1-F288-7B2C45C68A6D}"/>
          </ac:spMkLst>
        </pc:spChg>
        <pc:spChg chg="mod">
          <ac:chgData name="Paul LEGEARD" userId="73b5704d-da1d-4b70-8e12-6d54d32b01a3" providerId="ADAL" clId="{20AD8B11-130C-4F68-9211-C0E7C90F8BEE}" dt="2023-06-12T09:26:53.613" v="25600" actId="14100"/>
          <ac:spMkLst>
            <pc:docMk/>
            <pc:sldMk cId="729661495" sldId="2147471287"/>
            <ac:spMk id="20" creationId="{B2A36076-51F9-99D3-2B85-EF7A8EF72071}"/>
          </ac:spMkLst>
        </pc:spChg>
        <pc:spChg chg="add del mod">
          <ac:chgData name="Paul LEGEARD" userId="73b5704d-da1d-4b70-8e12-6d54d32b01a3" providerId="ADAL" clId="{20AD8B11-130C-4F68-9211-C0E7C90F8BEE}" dt="2023-06-12T09:26:40.113" v="25596" actId="478"/>
          <ac:spMkLst>
            <pc:docMk/>
            <pc:sldMk cId="729661495" sldId="2147471287"/>
            <ac:spMk id="21" creationId="{D32E127F-B378-FAC5-B30C-8A32A266C928}"/>
          </ac:spMkLst>
        </pc:spChg>
        <pc:spChg chg="mod">
          <ac:chgData name="Paul LEGEARD" userId="73b5704d-da1d-4b70-8e12-6d54d32b01a3" providerId="ADAL" clId="{20AD8B11-130C-4F68-9211-C0E7C90F8BEE}" dt="2023-06-12T09:25:49.308" v="25560"/>
          <ac:spMkLst>
            <pc:docMk/>
            <pc:sldMk cId="729661495" sldId="2147471287"/>
            <ac:spMk id="23" creationId="{841DBF16-B7B4-B31E-CFDF-D2935CD1F121}"/>
          </ac:spMkLst>
        </pc:spChg>
        <pc:spChg chg="mod">
          <ac:chgData name="Paul LEGEARD" userId="73b5704d-da1d-4b70-8e12-6d54d32b01a3" providerId="ADAL" clId="{20AD8B11-130C-4F68-9211-C0E7C90F8BEE}" dt="2023-06-12T09:25:49.308" v="25560"/>
          <ac:spMkLst>
            <pc:docMk/>
            <pc:sldMk cId="729661495" sldId="2147471287"/>
            <ac:spMk id="24" creationId="{361330B9-74A1-91BA-FBA6-75AC0966B7CB}"/>
          </ac:spMkLst>
        </pc:spChg>
        <pc:spChg chg="mod">
          <ac:chgData name="Paul LEGEARD" userId="73b5704d-da1d-4b70-8e12-6d54d32b01a3" providerId="ADAL" clId="{20AD8B11-130C-4F68-9211-C0E7C90F8BEE}" dt="2023-06-12T09:28:08.164" v="25774" actId="20577"/>
          <ac:spMkLst>
            <pc:docMk/>
            <pc:sldMk cId="729661495" sldId="2147471287"/>
            <ac:spMk id="25" creationId="{380B4D12-5E04-2D90-3C37-5ED19D9470B9}"/>
          </ac:spMkLst>
        </pc:spChg>
        <pc:spChg chg="add mod">
          <ac:chgData name="Paul LEGEARD" userId="73b5704d-da1d-4b70-8e12-6d54d32b01a3" providerId="ADAL" clId="{20AD8B11-130C-4F68-9211-C0E7C90F8BEE}" dt="2023-06-12T09:25:50.965" v="25561" actId="1076"/>
          <ac:spMkLst>
            <pc:docMk/>
            <pc:sldMk cId="729661495" sldId="2147471287"/>
            <ac:spMk id="26" creationId="{2245A8B0-43C9-C151-8E7C-2B3E1780229E}"/>
          </ac:spMkLst>
        </pc:spChg>
        <pc:spChg chg="add del mod">
          <ac:chgData name="Paul LEGEARD" userId="73b5704d-da1d-4b70-8e12-6d54d32b01a3" providerId="ADAL" clId="{20AD8B11-130C-4F68-9211-C0E7C90F8BEE}" dt="2023-06-12T09:25:59.225" v="25572" actId="478"/>
          <ac:spMkLst>
            <pc:docMk/>
            <pc:sldMk cId="729661495" sldId="2147471287"/>
            <ac:spMk id="29" creationId="{90F8CF64-C143-1BA5-0021-DEDE8E80FE31}"/>
          </ac:spMkLst>
        </pc:spChg>
        <pc:spChg chg="add del mod">
          <ac:chgData name="Paul LEGEARD" userId="73b5704d-da1d-4b70-8e12-6d54d32b01a3" providerId="ADAL" clId="{20AD8B11-130C-4F68-9211-C0E7C90F8BEE}" dt="2023-06-12T09:25:59.225" v="25572" actId="478"/>
          <ac:spMkLst>
            <pc:docMk/>
            <pc:sldMk cId="729661495" sldId="2147471287"/>
            <ac:spMk id="31" creationId="{DB6445C5-F9D4-0510-2369-DC4721E8CC14}"/>
          </ac:spMkLst>
        </pc:spChg>
        <pc:spChg chg="add del mod">
          <ac:chgData name="Paul LEGEARD" userId="73b5704d-da1d-4b70-8e12-6d54d32b01a3" providerId="ADAL" clId="{20AD8B11-130C-4F68-9211-C0E7C90F8BEE}" dt="2023-06-12T09:26:18.914" v="25589"/>
          <ac:spMkLst>
            <pc:docMk/>
            <pc:sldMk cId="729661495" sldId="2147471287"/>
            <ac:spMk id="32" creationId="{4300F03E-1DEB-DD25-93A8-0B42096A7D96}"/>
          </ac:spMkLst>
        </pc:spChg>
        <pc:spChg chg="add del mod">
          <ac:chgData name="Paul LEGEARD" userId="73b5704d-da1d-4b70-8e12-6d54d32b01a3" providerId="ADAL" clId="{20AD8B11-130C-4F68-9211-C0E7C90F8BEE}" dt="2023-06-12T09:26:41.385" v="25597" actId="478"/>
          <ac:spMkLst>
            <pc:docMk/>
            <pc:sldMk cId="729661495" sldId="2147471287"/>
            <ac:spMk id="33" creationId="{F6B3A4DE-0AF6-CD20-A184-447C8A2E9170}"/>
          </ac:spMkLst>
        </pc:spChg>
        <pc:spChg chg="add mod">
          <ac:chgData name="Paul LEGEARD" userId="73b5704d-da1d-4b70-8e12-6d54d32b01a3" providerId="ADAL" clId="{20AD8B11-130C-4F68-9211-C0E7C90F8BEE}" dt="2023-06-12T09:27:06.796" v="25605" actId="1076"/>
          <ac:spMkLst>
            <pc:docMk/>
            <pc:sldMk cId="729661495" sldId="2147471287"/>
            <ac:spMk id="34" creationId="{91472E75-1C32-4B30-7354-DDE53CE6E474}"/>
          </ac:spMkLst>
        </pc:spChg>
        <pc:spChg chg="add mod">
          <ac:chgData name="Paul LEGEARD" userId="73b5704d-da1d-4b70-8e12-6d54d32b01a3" providerId="ADAL" clId="{20AD8B11-130C-4F68-9211-C0E7C90F8BEE}" dt="2023-06-12T09:27:19.562" v="25639" actId="1076"/>
          <ac:spMkLst>
            <pc:docMk/>
            <pc:sldMk cId="729661495" sldId="2147471287"/>
            <ac:spMk id="35" creationId="{4C126053-6C27-17C5-28FB-51F67B8A9CF4}"/>
          </ac:spMkLst>
        </pc:spChg>
        <pc:spChg chg="mod">
          <ac:chgData name="Paul LEGEARD" userId="73b5704d-da1d-4b70-8e12-6d54d32b01a3" providerId="ADAL" clId="{20AD8B11-130C-4F68-9211-C0E7C90F8BEE}" dt="2023-06-12T09:27:21.345" v="25640"/>
          <ac:spMkLst>
            <pc:docMk/>
            <pc:sldMk cId="729661495" sldId="2147471287"/>
            <ac:spMk id="37" creationId="{0BCA3344-0517-DA45-68F1-85FA3A52EAF4}"/>
          </ac:spMkLst>
        </pc:spChg>
        <pc:spChg chg="mod">
          <ac:chgData name="Paul LEGEARD" userId="73b5704d-da1d-4b70-8e12-6d54d32b01a3" providerId="ADAL" clId="{20AD8B11-130C-4F68-9211-C0E7C90F8BEE}" dt="2023-06-12T09:27:26.276" v="25645" actId="20577"/>
          <ac:spMkLst>
            <pc:docMk/>
            <pc:sldMk cId="729661495" sldId="2147471287"/>
            <ac:spMk id="38" creationId="{CB4378BB-5DCE-A130-8EEF-7E05EF1007F7}"/>
          </ac:spMkLst>
        </pc:spChg>
        <pc:spChg chg="mod">
          <ac:chgData name="Paul LEGEARD" userId="73b5704d-da1d-4b70-8e12-6d54d32b01a3" providerId="ADAL" clId="{20AD8B11-130C-4F68-9211-C0E7C90F8BEE}" dt="2023-06-12T09:27:32.609" v="25680" actId="20577"/>
          <ac:spMkLst>
            <pc:docMk/>
            <pc:sldMk cId="729661495" sldId="2147471287"/>
            <ac:spMk id="39" creationId="{992AC45C-30FC-4CF6-31E3-81699756175B}"/>
          </ac:spMkLst>
        </pc:spChg>
        <pc:spChg chg="add mod">
          <ac:chgData name="Paul LEGEARD" userId="73b5704d-da1d-4b70-8e12-6d54d32b01a3" providerId="ADAL" clId="{20AD8B11-130C-4F68-9211-C0E7C90F8BEE}" dt="2023-06-12T09:33:41.874" v="26014" actId="1076"/>
          <ac:spMkLst>
            <pc:docMk/>
            <pc:sldMk cId="729661495" sldId="2147471287"/>
            <ac:spMk id="40" creationId="{63B2437C-D6AD-8285-9EE1-5F8BF104F975}"/>
          </ac:spMkLst>
        </pc:spChg>
        <pc:spChg chg="add del mod">
          <ac:chgData name="Paul LEGEARD" userId="73b5704d-da1d-4b70-8e12-6d54d32b01a3" providerId="ADAL" clId="{20AD8B11-130C-4F68-9211-C0E7C90F8BEE}" dt="2023-06-12T09:33:36.272" v="26013" actId="478"/>
          <ac:spMkLst>
            <pc:docMk/>
            <pc:sldMk cId="729661495" sldId="2147471287"/>
            <ac:spMk id="41" creationId="{DE997097-8134-5731-CF18-6760CC8E669B}"/>
          </ac:spMkLst>
        </pc:spChg>
        <pc:spChg chg="mod">
          <ac:chgData name="Paul LEGEARD" userId="73b5704d-da1d-4b70-8e12-6d54d32b01a3" providerId="ADAL" clId="{20AD8B11-130C-4F68-9211-C0E7C90F8BEE}" dt="2023-06-12T09:28:52.744" v="25816"/>
          <ac:spMkLst>
            <pc:docMk/>
            <pc:sldMk cId="729661495" sldId="2147471287"/>
            <ac:spMk id="43" creationId="{6EE068F4-8C74-3825-2FEA-82D1DE996FEB}"/>
          </ac:spMkLst>
        </pc:spChg>
        <pc:spChg chg="mod">
          <ac:chgData name="Paul LEGEARD" userId="73b5704d-da1d-4b70-8e12-6d54d32b01a3" providerId="ADAL" clId="{20AD8B11-130C-4F68-9211-C0E7C90F8BEE}" dt="2023-06-12T09:28:56.926" v="25819" actId="20577"/>
          <ac:spMkLst>
            <pc:docMk/>
            <pc:sldMk cId="729661495" sldId="2147471287"/>
            <ac:spMk id="44" creationId="{131C59FD-4991-A4D3-83D6-9293BA740E93}"/>
          </ac:spMkLst>
        </pc:spChg>
        <pc:spChg chg="mod">
          <ac:chgData name="Paul LEGEARD" userId="73b5704d-da1d-4b70-8e12-6d54d32b01a3" providerId="ADAL" clId="{20AD8B11-130C-4F68-9211-C0E7C90F8BEE}" dt="2023-06-12T09:29:01.541" v="25841" actId="20577"/>
          <ac:spMkLst>
            <pc:docMk/>
            <pc:sldMk cId="729661495" sldId="2147471287"/>
            <ac:spMk id="45" creationId="{C1225A41-A35C-7B78-685F-39CF5D9247B3}"/>
          </ac:spMkLst>
        </pc:spChg>
        <pc:spChg chg="add mod">
          <ac:chgData name="Paul LEGEARD" userId="73b5704d-da1d-4b70-8e12-6d54d32b01a3" providerId="ADAL" clId="{20AD8B11-130C-4F68-9211-C0E7C90F8BEE}" dt="2023-06-12T09:29:37.705" v="25880" actId="20577"/>
          <ac:spMkLst>
            <pc:docMk/>
            <pc:sldMk cId="729661495" sldId="2147471287"/>
            <ac:spMk id="46" creationId="{6FDAC497-5212-34A3-B5AB-96602015FEEC}"/>
          </ac:spMkLst>
        </pc:spChg>
        <pc:spChg chg="add del mod">
          <ac:chgData name="Paul LEGEARD" userId="73b5704d-da1d-4b70-8e12-6d54d32b01a3" providerId="ADAL" clId="{20AD8B11-130C-4F68-9211-C0E7C90F8BEE}" dt="2023-06-12T09:33:36.272" v="26013" actId="478"/>
          <ac:spMkLst>
            <pc:docMk/>
            <pc:sldMk cId="729661495" sldId="2147471287"/>
            <ac:spMk id="47" creationId="{74E7BC0D-C420-5F5D-767A-C8B4EE2C32BD}"/>
          </ac:spMkLst>
        </pc:spChg>
        <pc:spChg chg="add mod">
          <ac:chgData name="Paul LEGEARD" userId="73b5704d-da1d-4b70-8e12-6d54d32b01a3" providerId="ADAL" clId="{20AD8B11-130C-4F68-9211-C0E7C90F8BEE}" dt="2023-06-12T09:33:41.874" v="26014" actId="1076"/>
          <ac:spMkLst>
            <pc:docMk/>
            <pc:sldMk cId="729661495" sldId="2147471287"/>
            <ac:spMk id="48" creationId="{68081A48-36A0-ACE9-4BED-B59D2B7AF2E6}"/>
          </ac:spMkLst>
        </pc:spChg>
        <pc:grpChg chg="add mod">
          <ac:chgData name="Paul LEGEARD" userId="73b5704d-da1d-4b70-8e12-6d54d32b01a3" providerId="ADAL" clId="{20AD8B11-130C-4F68-9211-C0E7C90F8BEE}" dt="2023-06-12T09:26:21.216" v="25590" actId="1076"/>
          <ac:grpSpMkLst>
            <pc:docMk/>
            <pc:sldMk cId="729661495" sldId="2147471287"/>
            <ac:grpSpMk id="7" creationId="{3424CC08-8E23-AD3B-F040-2D9D8720AAD2}"/>
          </ac:grpSpMkLst>
        </pc:grpChg>
        <pc:grpChg chg="add mod">
          <ac:chgData name="Paul LEGEARD" userId="73b5704d-da1d-4b70-8e12-6d54d32b01a3" providerId="ADAL" clId="{20AD8B11-130C-4F68-9211-C0E7C90F8BEE}" dt="2023-06-12T09:26:36.767" v="25595" actId="1076"/>
          <ac:grpSpMkLst>
            <pc:docMk/>
            <pc:sldMk cId="729661495" sldId="2147471287"/>
            <ac:grpSpMk id="13" creationId="{243938F8-C2B4-EB68-BBB0-A547009D4A9B}"/>
          </ac:grpSpMkLst>
        </pc:grpChg>
        <pc:grpChg chg="add mod">
          <ac:chgData name="Paul LEGEARD" userId="73b5704d-da1d-4b70-8e12-6d54d32b01a3" providerId="ADAL" clId="{20AD8B11-130C-4F68-9211-C0E7C90F8BEE}" dt="2023-06-12T09:26:44.916" v="25598" actId="1076"/>
          <ac:grpSpMkLst>
            <pc:docMk/>
            <pc:sldMk cId="729661495" sldId="2147471287"/>
            <ac:grpSpMk id="17" creationId="{F8D683FF-3B7F-F04C-2E69-F0E77DBAC5C1}"/>
          </ac:grpSpMkLst>
        </pc:grpChg>
        <pc:grpChg chg="add mod">
          <ac:chgData name="Paul LEGEARD" userId="73b5704d-da1d-4b70-8e12-6d54d32b01a3" providerId="ADAL" clId="{20AD8B11-130C-4F68-9211-C0E7C90F8BEE}" dt="2023-06-12T09:25:50.965" v="25561" actId="1076"/>
          <ac:grpSpMkLst>
            <pc:docMk/>
            <pc:sldMk cId="729661495" sldId="2147471287"/>
            <ac:grpSpMk id="22" creationId="{FF6FA001-F48D-C5E8-7BE8-D1A624BF9CAD}"/>
          </ac:grpSpMkLst>
        </pc:grpChg>
        <pc:grpChg chg="add mod">
          <ac:chgData name="Paul LEGEARD" userId="73b5704d-da1d-4b70-8e12-6d54d32b01a3" providerId="ADAL" clId="{20AD8B11-130C-4F68-9211-C0E7C90F8BEE}" dt="2023-06-12T09:27:23.389" v="25641" actId="1076"/>
          <ac:grpSpMkLst>
            <pc:docMk/>
            <pc:sldMk cId="729661495" sldId="2147471287"/>
            <ac:grpSpMk id="36" creationId="{EC5DD72B-F54A-746A-8333-0D09245C1132}"/>
          </ac:grpSpMkLst>
        </pc:grpChg>
        <pc:grpChg chg="add mod">
          <ac:chgData name="Paul LEGEARD" userId="73b5704d-da1d-4b70-8e12-6d54d32b01a3" providerId="ADAL" clId="{20AD8B11-130C-4F68-9211-C0E7C90F8BEE}" dt="2023-06-12T09:29:04.093" v="25842" actId="1076"/>
          <ac:grpSpMkLst>
            <pc:docMk/>
            <pc:sldMk cId="729661495" sldId="2147471287"/>
            <ac:grpSpMk id="42" creationId="{68467759-60F7-0D86-C928-82D0844A12C8}"/>
          </ac:grpSpMkLst>
        </pc:grpChg>
        <pc:graphicFrameChg chg="del">
          <ac:chgData name="Paul LEGEARD" userId="73b5704d-da1d-4b70-8e12-6d54d32b01a3" providerId="ADAL" clId="{20AD8B11-130C-4F68-9211-C0E7C90F8BEE}" dt="2023-06-12T09:25:48.811" v="25559" actId="478"/>
          <ac:graphicFrameMkLst>
            <pc:docMk/>
            <pc:sldMk cId="729661495" sldId="2147471287"/>
            <ac:graphicFrameMk id="3" creationId="{548344E8-ADB9-F03F-C8B0-839A4383DD30}"/>
          </ac:graphicFrameMkLst>
        </pc:graphicFrameChg>
        <pc:cxnChg chg="add del mod">
          <ac:chgData name="Paul LEGEARD" userId="73b5704d-da1d-4b70-8e12-6d54d32b01a3" providerId="ADAL" clId="{20AD8B11-130C-4F68-9211-C0E7C90F8BEE}" dt="2023-06-12T09:25:59.225" v="25572" actId="478"/>
          <ac:cxnSpMkLst>
            <pc:docMk/>
            <pc:sldMk cId="729661495" sldId="2147471287"/>
            <ac:cxnSpMk id="27" creationId="{A13A5ACF-A8C0-C639-74D9-4DC6921DD0D7}"/>
          </ac:cxnSpMkLst>
        </pc:cxnChg>
        <pc:cxnChg chg="add del mod">
          <ac:chgData name="Paul LEGEARD" userId="73b5704d-da1d-4b70-8e12-6d54d32b01a3" providerId="ADAL" clId="{20AD8B11-130C-4F68-9211-C0E7C90F8BEE}" dt="2023-06-12T09:25:59.225" v="25572" actId="478"/>
          <ac:cxnSpMkLst>
            <pc:docMk/>
            <pc:sldMk cId="729661495" sldId="2147471287"/>
            <ac:cxnSpMk id="28" creationId="{5FE7AEFF-014B-CEB5-365C-2DED8935897C}"/>
          </ac:cxnSpMkLst>
        </pc:cxnChg>
        <pc:cxnChg chg="add del mod">
          <ac:chgData name="Paul LEGEARD" userId="73b5704d-da1d-4b70-8e12-6d54d32b01a3" providerId="ADAL" clId="{20AD8B11-130C-4F68-9211-C0E7C90F8BEE}" dt="2023-06-12T09:25:59.225" v="25572" actId="478"/>
          <ac:cxnSpMkLst>
            <pc:docMk/>
            <pc:sldMk cId="729661495" sldId="2147471287"/>
            <ac:cxnSpMk id="30" creationId="{083BD1A1-1822-43A8-3B55-6A8CE06E2F07}"/>
          </ac:cxnSpMkLst>
        </pc:cxnChg>
      </pc:sldChg>
      <pc:sldChg chg="addSp delSp modSp add del mod">
        <pc:chgData name="Paul LEGEARD" userId="73b5704d-da1d-4b70-8e12-6d54d32b01a3" providerId="ADAL" clId="{20AD8B11-130C-4F68-9211-C0E7C90F8BEE}" dt="2023-06-12T12:21:05.895" v="26857" actId="47"/>
        <pc:sldMkLst>
          <pc:docMk/>
          <pc:sldMk cId="846451603" sldId="2147471288"/>
        </pc:sldMkLst>
        <pc:spChg chg="del">
          <ac:chgData name="Paul LEGEARD" userId="73b5704d-da1d-4b70-8e12-6d54d32b01a3" providerId="ADAL" clId="{20AD8B11-130C-4F68-9211-C0E7C90F8BEE}" dt="2023-06-12T09:34:32.183" v="26064" actId="478"/>
          <ac:spMkLst>
            <pc:docMk/>
            <pc:sldMk cId="846451603" sldId="2147471288"/>
            <ac:spMk id="2" creationId="{7134ADF6-9A35-1415-AB5E-17DB75A4984F}"/>
          </ac:spMkLst>
        </pc:spChg>
        <pc:spChg chg="add mod">
          <ac:chgData name="Paul LEGEARD" userId="73b5704d-da1d-4b70-8e12-6d54d32b01a3" providerId="ADAL" clId="{20AD8B11-130C-4F68-9211-C0E7C90F8BEE}" dt="2023-06-12T09:34:41.181" v="26076" actId="20577"/>
          <ac:spMkLst>
            <pc:docMk/>
            <pc:sldMk cId="846451603" sldId="2147471288"/>
            <ac:spMk id="3" creationId="{3DC45789-8D56-1924-2029-E2D89DA3A01A}"/>
          </ac:spMkLst>
        </pc:spChg>
        <pc:spChg chg="mod">
          <ac:chgData name="Paul LEGEARD" userId="73b5704d-da1d-4b70-8e12-6d54d32b01a3" providerId="ADAL" clId="{20AD8B11-130C-4F68-9211-C0E7C90F8BEE}" dt="2023-06-12T09:34:29.469" v="26063" actId="20577"/>
          <ac:spMkLst>
            <pc:docMk/>
            <pc:sldMk cId="846451603" sldId="2147471288"/>
            <ac:spMk id="4" creationId="{A9E90669-ADF1-0205-02F9-4BC20DC5190D}"/>
          </ac:spMkLst>
        </pc:spChg>
        <pc:spChg chg="add mod">
          <ac:chgData name="Paul LEGEARD" userId="73b5704d-da1d-4b70-8e12-6d54d32b01a3" providerId="ADAL" clId="{20AD8B11-130C-4F68-9211-C0E7C90F8BEE}" dt="2023-06-12T09:34:38.367" v="26066" actId="1076"/>
          <ac:spMkLst>
            <pc:docMk/>
            <pc:sldMk cId="846451603" sldId="2147471288"/>
            <ac:spMk id="5" creationId="{59D06F8E-F7EC-7BE7-C904-B9B96E1CFC0E}"/>
          </ac:spMkLst>
        </pc:spChg>
        <pc:spChg chg="add mod">
          <ac:chgData name="Paul LEGEARD" userId="73b5704d-da1d-4b70-8e12-6d54d32b01a3" providerId="ADAL" clId="{20AD8B11-130C-4F68-9211-C0E7C90F8BEE}" dt="2023-06-12T09:34:46.946" v="26086" actId="20577"/>
          <ac:spMkLst>
            <pc:docMk/>
            <pc:sldMk cId="846451603" sldId="2147471288"/>
            <ac:spMk id="6" creationId="{FBE4C108-47DC-25BB-1C37-B834CF764C83}"/>
          </ac:spMkLst>
        </pc:spChg>
        <pc:spChg chg="add mod">
          <ac:chgData name="Paul LEGEARD" userId="73b5704d-da1d-4b70-8e12-6d54d32b01a3" providerId="ADAL" clId="{20AD8B11-130C-4F68-9211-C0E7C90F8BEE}" dt="2023-06-12T09:34:45.293" v="26078" actId="1076"/>
          <ac:spMkLst>
            <pc:docMk/>
            <pc:sldMk cId="846451603" sldId="2147471288"/>
            <ac:spMk id="11" creationId="{A875ABEF-6D50-94B0-E6D7-20548094A8C4}"/>
          </ac:spMkLst>
        </pc:spChg>
        <pc:spChg chg="del">
          <ac:chgData name="Paul LEGEARD" userId="73b5704d-da1d-4b70-8e12-6d54d32b01a3" providerId="ADAL" clId="{20AD8B11-130C-4F68-9211-C0E7C90F8BEE}" dt="2023-06-12T09:34:32.183" v="26064" actId="478"/>
          <ac:spMkLst>
            <pc:docMk/>
            <pc:sldMk cId="846451603" sldId="2147471288"/>
            <ac:spMk id="26" creationId="{2245A8B0-43C9-C151-8E7C-2B3E1780229E}"/>
          </ac:spMkLst>
        </pc:spChg>
        <pc:spChg chg="del">
          <ac:chgData name="Paul LEGEARD" userId="73b5704d-da1d-4b70-8e12-6d54d32b01a3" providerId="ADAL" clId="{20AD8B11-130C-4F68-9211-C0E7C90F8BEE}" dt="2023-06-12T09:34:32.183" v="26064" actId="478"/>
          <ac:spMkLst>
            <pc:docMk/>
            <pc:sldMk cId="846451603" sldId="2147471288"/>
            <ac:spMk id="34" creationId="{91472E75-1C32-4B30-7354-DDE53CE6E474}"/>
          </ac:spMkLst>
        </pc:spChg>
        <pc:spChg chg="del">
          <ac:chgData name="Paul LEGEARD" userId="73b5704d-da1d-4b70-8e12-6d54d32b01a3" providerId="ADAL" clId="{20AD8B11-130C-4F68-9211-C0E7C90F8BEE}" dt="2023-06-12T09:34:32.183" v="26064" actId="478"/>
          <ac:spMkLst>
            <pc:docMk/>
            <pc:sldMk cId="846451603" sldId="2147471288"/>
            <ac:spMk id="35" creationId="{4C126053-6C27-17C5-28FB-51F67B8A9CF4}"/>
          </ac:spMkLst>
        </pc:spChg>
        <pc:spChg chg="del">
          <ac:chgData name="Paul LEGEARD" userId="73b5704d-da1d-4b70-8e12-6d54d32b01a3" providerId="ADAL" clId="{20AD8B11-130C-4F68-9211-C0E7C90F8BEE}" dt="2023-06-12T09:34:32.183" v="26064" actId="478"/>
          <ac:spMkLst>
            <pc:docMk/>
            <pc:sldMk cId="846451603" sldId="2147471288"/>
            <ac:spMk id="40" creationId="{63B2437C-D6AD-8285-9EE1-5F8BF104F975}"/>
          </ac:spMkLst>
        </pc:spChg>
        <pc:spChg chg="del">
          <ac:chgData name="Paul LEGEARD" userId="73b5704d-da1d-4b70-8e12-6d54d32b01a3" providerId="ADAL" clId="{20AD8B11-130C-4F68-9211-C0E7C90F8BEE}" dt="2023-06-12T09:34:32.183" v="26064" actId="478"/>
          <ac:spMkLst>
            <pc:docMk/>
            <pc:sldMk cId="846451603" sldId="2147471288"/>
            <ac:spMk id="48" creationId="{68081A48-36A0-ACE9-4BED-B59D2B7AF2E6}"/>
          </ac:spMkLst>
        </pc:spChg>
        <pc:grpChg chg="del">
          <ac:chgData name="Paul LEGEARD" userId="73b5704d-da1d-4b70-8e12-6d54d32b01a3" providerId="ADAL" clId="{20AD8B11-130C-4F68-9211-C0E7C90F8BEE}" dt="2023-06-12T09:34:32.183" v="26064" actId="478"/>
          <ac:grpSpMkLst>
            <pc:docMk/>
            <pc:sldMk cId="846451603" sldId="2147471288"/>
            <ac:grpSpMk id="7" creationId="{3424CC08-8E23-AD3B-F040-2D9D8720AAD2}"/>
          </ac:grpSpMkLst>
        </pc:grpChg>
        <pc:grpChg chg="del">
          <ac:chgData name="Paul LEGEARD" userId="73b5704d-da1d-4b70-8e12-6d54d32b01a3" providerId="ADAL" clId="{20AD8B11-130C-4F68-9211-C0E7C90F8BEE}" dt="2023-06-12T09:34:32.183" v="26064" actId="478"/>
          <ac:grpSpMkLst>
            <pc:docMk/>
            <pc:sldMk cId="846451603" sldId="2147471288"/>
            <ac:grpSpMk id="13" creationId="{243938F8-C2B4-EB68-BBB0-A547009D4A9B}"/>
          </ac:grpSpMkLst>
        </pc:grpChg>
        <pc:grpChg chg="del">
          <ac:chgData name="Paul LEGEARD" userId="73b5704d-da1d-4b70-8e12-6d54d32b01a3" providerId="ADAL" clId="{20AD8B11-130C-4F68-9211-C0E7C90F8BEE}" dt="2023-06-12T09:34:32.183" v="26064" actId="478"/>
          <ac:grpSpMkLst>
            <pc:docMk/>
            <pc:sldMk cId="846451603" sldId="2147471288"/>
            <ac:grpSpMk id="17" creationId="{F8D683FF-3B7F-F04C-2E69-F0E77DBAC5C1}"/>
          </ac:grpSpMkLst>
        </pc:grpChg>
        <pc:grpChg chg="del">
          <ac:chgData name="Paul LEGEARD" userId="73b5704d-da1d-4b70-8e12-6d54d32b01a3" providerId="ADAL" clId="{20AD8B11-130C-4F68-9211-C0E7C90F8BEE}" dt="2023-06-12T09:34:32.183" v="26064" actId="478"/>
          <ac:grpSpMkLst>
            <pc:docMk/>
            <pc:sldMk cId="846451603" sldId="2147471288"/>
            <ac:grpSpMk id="22" creationId="{FF6FA001-F48D-C5E8-7BE8-D1A624BF9CAD}"/>
          </ac:grpSpMkLst>
        </pc:grpChg>
        <pc:grpChg chg="del">
          <ac:chgData name="Paul LEGEARD" userId="73b5704d-da1d-4b70-8e12-6d54d32b01a3" providerId="ADAL" clId="{20AD8B11-130C-4F68-9211-C0E7C90F8BEE}" dt="2023-06-12T09:34:32.183" v="26064" actId="478"/>
          <ac:grpSpMkLst>
            <pc:docMk/>
            <pc:sldMk cId="846451603" sldId="2147471288"/>
            <ac:grpSpMk id="36" creationId="{EC5DD72B-F54A-746A-8333-0D09245C1132}"/>
          </ac:grpSpMkLst>
        </pc:grpChg>
        <pc:grpChg chg="del">
          <ac:chgData name="Paul LEGEARD" userId="73b5704d-da1d-4b70-8e12-6d54d32b01a3" providerId="ADAL" clId="{20AD8B11-130C-4F68-9211-C0E7C90F8BEE}" dt="2023-06-12T09:34:32.183" v="26064" actId="478"/>
          <ac:grpSpMkLst>
            <pc:docMk/>
            <pc:sldMk cId="846451603" sldId="2147471288"/>
            <ac:grpSpMk id="42" creationId="{68467759-60F7-0D86-C928-82D0844A12C8}"/>
          </ac:grpSpMkLst>
        </pc:grpChg>
      </pc:sldChg>
      <pc:sldChg chg="add">
        <pc:chgData name="Paul LEGEARD" userId="73b5704d-da1d-4b70-8e12-6d54d32b01a3" providerId="ADAL" clId="{20AD8B11-130C-4F68-9211-C0E7C90F8BEE}" dt="2023-06-26T06:54:03.299" v="29920"/>
        <pc:sldMkLst>
          <pc:docMk/>
          <pc:sldMk cId="928953804" sldId="2147471288"/>
        </pc:sldMkLst>
      </pc:sldChg>
      <pc:sldChg chg="add del">
        <pc:chgData name="Paul LEGEARD" userId="73b5704d-da1d-4b70-8e12-6d54d32b01a3" providerId="ADAL" clId="{20AD8B11-130C-4F68-9211-C0E7C90F8BEE}" dt="2023-06-26T06:53:58.225" v="29919" actId="2696"/>
        <pc:sldMkLst>
          <pc:docMk/>
          <pc:sldMk cId="1275200877" sldId="2147471288"/>
        </pc:sldMkLst>
      </pc:sldChg>
      <pc:sldChg chg="addSp modSp add del mod modNotesTx">
        <pc:chgData name="Paul LEGEARD" userId="73b5704d-da1d-4b70-8e12-6d54d32b01a3" providerId="ADAL" clId="{20AD8B11-130C-4F68-9211-C0E7C90F8BEE}" dt="2023-06-26T06:53:50.144" v="29917" actId="2696"/>
        <pc:sldMkLst>
          <pc:docMk/>
          <pc:sldMk cId="3600652313" sldId="2147471288"/>
        </pc:sldMkLst>
        <pc:spChg chg="mod">
          <ac:chgData name="Paul LEGEARD" userId="73b5704d-da1d-4b70-8e12-6d54d32b01a3" providerId="ADAL" clId="{20AD8B11-130C-4F68-9211-C0E7C90F8BEE}" dt="2023-06-15T10:51:58.650" v="29105" actId="1035"/>
          <ac:spMkLst>
            <pc:docMk/>
            <pc:sldMk cId="3600652313" sldId="2147471288"/>
            <ac:spMk id="2" creationId="{06EF97C7-1F07-6C36-7312-005A6989303B}"/>
          </ac:spMkLst>
        </pc:spChg>
        <pc:spChg chg="mod">
          <ac:chgData name="Paul LEGEARD" userId="73b5704d-da1d-4b70-8e12-6d54d32b01a3" providerId="ADAL" clId="{20AD8B11-130C-4F68-9211-C0E7C90F8BEE}" dt="2023-06-12T12:42:21.170" v="27444" actId="115"/>
          <ac:spMkLst>
            <pc:docMk/>
            <pc:sldMk cId="3600652313" sldId="2147471288"/>
            <ac:spMk id="4" creationId="{A9E90669-ADF1-0205-02F9-4BC20DC5190D}"/>
          </ac:spMkLst>
        </pc:spChg>
        <pc:spChg chg="mod">
          <ac:chgData name="Paul LEGEARD" userId="73b5704d-da1d-4b70-8e12-6d54d32b01a3" providerId="ADAL" clId="{20AD8B11-130C-4F68-9211-C0E7C90F8BEE}" dt="2023-06-15T10:51:58.650" v="29105" actId="1035"/>
          <ac:spMkLst>
            <pc:docMk/>
            <pc:sldMk cId="3600652313" sldId="2147471288"/>
            <ac:spMk id="6" creationId="{15A99339-E321-38D9-66E3-48BA11A7D3BD}"/>
          </ac:spMkLst>
        </pc:spChg>
        <pc:spChg chg="mod">
          <ac:chgData name="Paul LEGEARD" userId="73b5704d-da1d-4b70-8e12-6d54d32b01a3" providerId="ADAL" clId="{20AD8B11-130C-4F68-9211-C0E7C90F8BEE}" dt="2023-06-15T11:02:00.049" v="29833" actId="14100"/>
          <ac:spMkLst>
            <pc:docMk/>
            <pc:sldMk cId="3600652313" sldId="2147471288"/>
            <ac:spMk id="7" creationId="{6EA2099D-9DC4-FD77-FB8A-60F896044513}"/>
          </ac:spMkLst>
        </pc:spChg>
        <pc:spChg chg="mod">
          <ac:chgData name="Paul LEGEARD" userId="73b5704d-da1d-4b70-8e12-6d54d32b01a3" providerId="ADAL" clId="{20AD8B11-130C-4F68-9211-C0E7C90F8BEE}" dt="2023-06-15T11:02:00.049" v="29833" actId="14100"/>
          <ac:spMkLst>
            <pc:docMk/>
            <pc:sldMk cId="3600652313" sldId="2147471288"/>
            <ac:spMk id="8" creationId="{05E0258E-15F9-B3FE-686A-2440AD1C9E58}"/>
          </ac:spMkLst>
        </pc:spChg>
        <pc:graphicFrameChg chg="mod">
          <ac:chgData name="Paul LEGEARD" userId="73b5704d-da1d-4b70-8e12-6d54d32b01a3" providerId="ADAL" clId="{20AD8B11-130C-4F68-9211-C0E7C90F8BEE}" dt="2023-06-15T10:51:58.650" v="29105" actId="1035"/>
          <ac:graphicFrameMkLst>
            <pc:docMk/>
            <pc:sldMk cId="3600652313" sldId="2147471288"/>
            <ac:graphicFrameMk id="3" creationId="{E135D884-CFEA-4DF7-6A62-3D29FC019CAE}"/>
          </ac:graphicFrameMkLst>
        </pc:graphicFrameChg>
        <pc:graphicFrameChg chg="mod modGraphic">
          <ac:chgData name="Paul LEGEARD" userId="73b5704d-da1d-4b70-8e12-6d54d32b01a3" providerId="ADAL" clId="{20AD8B11-130C-4F68-9211-C0E7C90F8BEE}" dt="2023-06-15T10:51:58.650" v="29105" actId="1035"/>
          <ac:graphicFrameMkLst>
            <pc:docMk/>
            <pc:sldMk cId="3600652313" sldId="2147471288"/>
            <ac:graphicFrameMk id="5" creationId="{7D8E5C88-0B5B-5061-4ACC-4F44631A7E82}"/>
          </ac:graphicFrameMkLst>
        </pc:graphicFrameChg>
        <pc:graphicFrameChg chg="add mod modGraphic">
          <ac:chgData name="Paul LEGEARD" userId="73b5704d-da1d-4b70-8e12-6d54d32b01a3" providerId="ADAL" clId="{20AD8B11-130C-4F68-9211-C0E7C90F8BEE}" dt="2023-06-15T11:02:11.935" v="29844" actId="1035"/>
          <ac:graphicFrameMkLst>
            <pc:docMk/>
            <pc:sldMk cId="3600652313" sldId="2147471288"/>
            <ac:graphicFrameMk id="9" creationId="{51239E48-7966-E664-CC13-42A971F8F844}"/>
          </ac:graphicFrameMkLst>
        </pc:graphicFrameChg>
      </pc:sldChg>
      <pc:sldChg chg="addSp modSp add del mod">
        <pc:chgData name="Paul LEGEARD" userId="73b5704d-da1d-4b70-8e12-6d54d32b01a3" providerId="ADAL" clId="{20AD8B11-130C-4F68-9211-C0E7C90F8BEE}" dt="2023-06-26T06:53:50.144" v="29917" actId="2696"/>
        <pc:sldMkLst>
          <pc:docMk/>
          <pc:sldMk cId="1227594523" sldId="2147471289"/>
        </pc:sldMkLst>
        <pc:spChg chg="mod">
          <ac:chgData name="Paul LEGEARD" userId="73b5704d-da1d-4b70-8e12-6d54d32b01a3" providerId="ADAL" clId="{20AD8B11-130C-4F68-9211-C0E7C90F8BEE}" dt="2023-06-12T12:42:17.746" v="27443" actId="115"/>
          <ac:spMkLst>
            <pc:docMk/>
            <pc:sldMk cId="1227594523" sldId="2147471289"/>
            <ac:spMk id="4" creationId="{A9E90669-ADF1-0205-02F9-4BC20DC5190D}"/>
          </ac:spMkLst>
        </pc:spChg>
        <pc:graphicFrameChg chg="add mod modGraphic">
          <ac:chgData name="Paul LEGEARD" userId="73b5704d-da1d-4b70-8e12-6d54d32b01a3" providerId="ADAL" clId="{20AD8B11-130C-4F68-9211-C0E7C90F8BEE}" dt="2023-06-13T08:03:44.711" v="28449" actId="572"/>
          <ac:graphicFrameMkLst>
            <pc:docMk/>
            <pc:sldMk cId="1227594523" sldId="2147471289"/>
            <ac:graphicFrameMk id="2" creationId="{74CFBFDF-55E6-56F6-5F3D-4864479AABBD}"/>
          </ac:graphicFrameMkLst>
        </pc:graphicFrameChg>
        <pc:graphicFrameChg chg="mod modGraphic">
          <ac:chgData name="Paul LEGEARD" userId="73b5704d-da1d-4b70-8e12-6d54d32b01a3" providerId="ADAL" clId="{20AD8B11-130C-4F68-9211-C0E7C90F8BEE}" dt="2023-06-13T08:03:30.967" v="28444" actId="14100"/>
          <ac:graphicFrameMkLst>
            <pc:docMk/>
            <pc:sldMk cId="1227594523" sldId="2147471289"/>
            <ac:graphicFrameMk id="3" creationId="{548344E8-ADB9-F03F-C8B0-839A4383DD30}"/>
          </ac:graphicFrameMkLst>
        </pc:graphicFrameChg>
      </pc:sldChg>
      <pc:sldChg chg="add del">
        <pc:chgData name="Paul LEGEARD" userId="73b5704d-da1d-4b70-8e12-6d54d32b01a3" providerId="ADAL" clId="{20AD8B11-130C-4F68-9211-C0E7C90F8BEE}" dt="2023-06-26T06:53:58.225" v="29919" actId="2696"/>
        <pc:sldMkLst>
          <pc:docMk/>
          <pc:sldMk cId="2913926146" sldId="2147471289"/>
        </pc:sldMkLst>
      </pc:sldChg>
      <pc:sldChg chg="add">
        <pc:chgData name="Paul LEGEARD" userId="73b5704d-da1d-4b70-8e12-6d54d32b01a3" providerId="ADAL" clId="{20AD8B11-130C-4F68-9211-C0E7C90F8BEE}" dt="2023-06-26T06:54:03.299" v="29920"/>
        <pc:sldMkLst>
          <pc:docMk/>
          <pc:sldMk cId="3687830212" sldId="2147471289"/>
        </pc:sldMkLst>
      </pc:sldChg>
      <pc:sldChg chg="addSp delSp modSp add del mod">
        <pc:chgData name="Paul LEGEARD" userId="73b5704d-da1d-4b70-8e12-6d54d32b01a3" providerId="ADAL" clId="{20AD8B11-130C-4F68-9211-C0E7C90F8BEE}" dt="2023-06-26T06:53:50.144" v="29917" actId="2696"/>
        <pc:sldMkLst>
          <pc:docMk/>
          <pc:sldMk cId="1879933517" sldId="2147471290"/>
        </pc:sldMkLst>
        <pc:spChg chg="mod">
          <ac:chgData name="Paul LEGEARD" userId="73b5704d-da1d-4b70-8e12-6d54d32b01a3" providerId="ADAL" clId="{20AD8B11-130C-4F68-9211-C0E7C90F8BEE}" dt="2023-06-12T12:48:03.617" v="27939" actId="20577"/>
          <ac:spMkLst>
            <pc:docMk/>
            <pc:sldMk cId="1879933517" sldId="2147471290"/>
            <ac:spMk id="4" creationId="{A9E90669-ADF1-0205-02F9-4BC20DC5190D}"/>
          </ac:spMkLst>
        </pc:spChg>
        <pc:spChg chg="add del mod">
          <ac:chgData name="Paul LEGEARD" userId="73b5704d-da1d-4b70-8e12-6d54d32b01a3" providerId="ADAL" clId="{20AD8B11-130C-4F68-9211-C0E7C90F8BEE}" dt="2023-06-12T12:53:01.995" v="28217" actId="478"/>
          <ac:spMkLst>
            <pc:docMk/>
            <pc:sldMk cId="1879933517" sldId="2147471290"/>
            <ac:spMk id="9" creationId="{A2621ED9-BD1E-A7F6-8164-295AAA6A8285}"/>
          </ac:spMkLst>
        </pc:spChg>
        <pc:spChg chg="add mod">
          <ac:chgData name="Paul LEGEARD" userId="73b5704d-da1d-4b70-8e12-6d54d32b01a3" providerId="ADAL" clId="{20AD8B11-130C-4F68-9211-C0E7C90F8BEE}" dt="2023-06-12T12:52:43.531" v="28138" actId="1076"/>
          <ac:spMkLst>
            <pc:docMk/>
            <pc:sldMk cId="1879933517" sldId="2147471290"/>
            <ac:spMk id="10" creationId="{DBBBC852-D24C-B981-43EE-725AB9B50B00}"/>
          </ac:spMkLst>
        </pc:spChg>
        <pc:spChg chg="mod">
          <ac:chgData name="Paul LEGEARD" userId="73b5704d-da1d-4b70-8e12-6d54d32b01a3" providerId="ADAL" clId="{20AD8B11-130C-4F68-9211-C0E7C90F8BEE}" dt="2023-06-12T12:52:40.445" v="28137"/>
          <ac:spMkLst>
            <pc:docMk/>
            <pc:sldMk cId="1879933517" sldId="2147471290"/>
            <ac:spMk id="12" creationId="{3A401822-B490-34E2-3448-851A11CFFC1C}"/>
          </ac:spMkLst>
        </pc:spChg>
        <pc:spChg chg="mod">
          <ac:chgData name="Paul LEGEARD" userId="73b5704d-da1d-4b70-8e12-6d54d32b01a3" providerId="ADAL" clId="{20AD8B11-130C-4F68-9211-C0E7C90F8BEE}" dt="2023-06-12T12:52:40.445" v="28137"/>
          <ac:spMkLst>
            <pc:docMk/>
            <pc:sldMk cId="1879933517" sldId="2147471290"/>
            <ac:spMk id="15" creationId="{5E117C26-60AE-245A-A615-46D061C29A9F}"/>
          </ac:spMkLst>
        </pc:spChg>
        <pc:spChg chg="add mod">
          <ac:chgData name="Paul LEGEARD" userId="73b5704d-da1d-4b70-8e12-6d54d32b01a3" providerId="ADAL" clId="{20AD8B11-130C-4F68-9211-C0E7C90F8BEE}" dt="2023-06-12T12:53:00.632" v="28216" actId="20577"/>
          <ac:spMkLst>
            <pc:docMk/>
            <pc:sldMk cId="1879933517" sldId="2147471290"/>
            <ac:spMk id="17" creationId="{3AC989F4-0323-7EEF-7A2B-657D12A4F83A}"/>
          </ac:spMkLst>
        </pc:spChg>
        <pc:grpChg chg="add mod">
          <ac:chgData name="Paul LEGEARD" userId="73b5704d-da1d-4b70-8e12-6d54d32b01a3" providerId="ADAL" clId="{20AD8B11-130C-4F68-9211-C0E7C90F8BEE}" dt="2023-06-12T12:52:43.531" v="28138" actId="1076"/>
          <ac:grpSpMkLst>
            <pc:docMk/>
            <pc:sldMk cId="1879933517" sldId="2147471290"/>
            <ac:grpSpMk id="11" creationId="{5EB28BA6-A17C-C5EA-FD5C-D880AD601335}"/>
          </ac:grpSpMkLst>
        </pc:grpChg>
        <pc:grpChg chg="add mod">
          <ac:chgData name="Paul LEGEARD" userId="73b5704d-da1d-4b70-8e12-6d54d32b01a3" providerId="ADAL" clId="{20AD8B11-130C-4F68-9211-C0E7C90F8BEE}" dt="2023-06-12T12:52:43.531" v="28138" actId="1076"/>
          <ac:grpSpMkLst>
            <pc:docMk/>
            <pc:sldMk cId="1879933517" sldId="2147471290"/>
            <ac:grpSpMk id="14" creationId="{D051F98B-E248-370E-4E66-B506D7026ED5}"/>
          </ac:grpSpMkLst>
        </pc:grpChg>
        <pc:graphicFrameChg chg="add del mod">
          <ac:chgData name="Paul LEGEARD" userId="73b5704d-da1d-4b70-8e12-6d54d32b01a3" providerId="ADAL" clId="{20AD8B11-130C-4F68-9211-C0E7C90F8BEE}" dt="2023-06-12T12:52:13.609" v="28133" actId="478"/>
          <ac:graphicFrameMkLst>
            <pc:docMk/>
            <pc:sldMk cId="1879933517" sldId="2147471290"/>
            <ac:graphicFrameMk id="2" creationId="{4821BA9F-1AD6-0E0F-5C33-F7AAFBE5AB7D}"/>
          </ac:graphicFrameMkLst>
        </pc:graphicFrameChg>
        <pc:graphicFrameChg chg="del">
          <ac:chgData name="Paul LEGEARD" userId="73b5704d-da1d-4b70-8e12-6d54d32b01a3" providerId="ADAL" clId="{20AD8B11-130C-4F68-9211-C0E7C90F8BEE}" dt="2023-06-12T12:48:10.604" v="27940" actId="478"/>
          <ac:graphicFrameMkLst>
            <pc:docMk/>
            <pc:sldMk cId="1879933517" sldId="2147471290"/>
            <ac:graphicFrameMk id="3" creationId="{548344E8-ADB9-F03F-C8B0-839A4383DD30}"/>
          </ac:graphicFrameMkLst>
        </pc:graphicFrameChg>
        <pc:graphicFrameChg chg="add mod">
          <ac:chgData name="Paul LEGEARD" userId="73b5704d-da1d-4b70-8e12-6d54d32b01a3" providerId="ADAL" clId="{20AD8B11-130C-4F68-9211-C0E7C90F8BEE}" dt="2023-06-12T12:53:13.192" v="28237" actId="20577"/>
          <ac:graphicFrameMkLst>
            <pc:docMk/>
            <pc:sldMk cId="1879933517" sldId="2147471290"/>
            <ac:graphicFrameMk id="5" creationId="{AF75986A-53EE-DE02-FC91-8FE9547A7E3E}"/>
          </ac:graphicFrameMkLst>
        </pc:graphicFrameChg>
        <pc:graphicFrameChg chg="add del mod">
          <ac:chgData name="Paul LEGEARD" userId="73b5704d-da1d-4b70-8e12-6d54d32b01a3" providerId="ADAL" clId="{20AD8B11-130C-4F68-9211-C0E7C90F8BEE}" dt="2023-06-12T12:52:40.007" v="28136" actId="478"/>
          <ac:graphicFrameMkLst>
            <pc:docMk/>
            <pc:sldMk cId="1879933517" sldId="2147471290"/>
            <ac:graphicFrameMk id="6" creationId="{198BCB5B-3426-3BFC-D7C6-80E4E9098609}"/>
          </ac:graphicFrameMkLst>
        </pc:graphicFrameChg>
        <pc:graphicFrameChg chg="add del mod">
          <ac:chgData name="Paul LEGEARD" userId="73b5704d-da1d-4b70-8e12-6d54d32b01a3" providerId="ADAL" clId="{20AD8B11-130C-4F68-9211-C0E7C90F8BEE}" dt="2023-06-12T12:51:56.448" v="28128" actId="478"/>
          <ac:graphicFrameMkLst>
            <pc:docMk/>
            <pc:sldMk cId="1879933517" sldId="2147471290"/>
            <ac:graphicFrameMk id="7" creationId="{C570E0F4-342D-D1E6-5ABF-97126989AE3B}"/>
          </ac:graphicFrameMkLst>
        </pc:graphicFrameChg>
        <pc:picChg chg="mod">
          <ac:chgData name="Paul LEGEARD" userId="73b5704d-da1d-4b70-8e12-6d54d32b01a3" providerId="ADAL" clId="{20AD8B11-130C-4F68-9211-C0E7C90F8BEE}" dt="2023-06-12T12:52:40.445" v="28137"/>
          <ac:picMkLst>
            <pc:docMk/>
            <pc:sldMk cId="1879933517" sldId="2147471290"/>
            <ac:picMk id="13" creationId="{59D6430C-C06B-72EF-7C0C-9472652F5B13}"/>
          </ac:picMkLst>
        </pc:picChg>
        <pc:picChg chg="mod">
          <ac:chgData name="Paul LEGEARD" userId="73b5704d-da1d-4b70-8e12-6d54d32b01a3" providerId="ADAL" clId="{20AD8B11-130C-4F68-9211-C0E7C90F8BEE}" dt="2023-06-12T12:52:40.445" v="28137"/>
          <ac:picMkLst>
            <pc:docMk/>
            <pc:sldMk cId="1879933517" sldId="2147471290"/>
            <ac:picMk id="16" creationId="{BE970CA1-97E8-C2FF-5642-666882F8D0C7}"/>
          </ac:picMkLst>
        </pc:picChg>
      </pc:sldChg>
      <pc:sldChg chg="add">
        <pc:chgData name="Paul LEGEARD" userId="73b5704d-da1d-4b70-8e12-6d54d32b01a3" providerId="ADAL" clId="{20AD8B11-130C-4F68-9211-C0E7C90F8BEE}" dt="2023-06-26T06:54:03.299" v="29920"/>
        <pc:sldMkLst>
          <pc:docMk/>
          <pc:sldMk cId="2311230197" sldId="2147471290"/>
        </pc:sldMkLst>
      </pc:sldChg>
      <pc:sldChg chg="add del">
        <pc:chgData name="Paul LEGEARD" userId="73b5704d-da1d-4b70-8e12-6d54d32b01a3" providerId="ADAL" clId="{20AD8B11-130C-4F68-9211-C0E7C90F8BEE}" dt="2023-06-26T06:53:58.225" v="29919" actId="2696"/>
        <pc:sldMkLst>
          <pc:docMk/>
          <pc:sldMk cId="2856537544" sldId="2147471290"/>
        </pc:sldMkLst>
      </pc:sldChg>
      <pc:sldChg chg="modSp add del mod ord modNotesTx">
        <pc:chgData name="Paul LEGEARD" userId="73b5704d-da1d-4b70-8e12-6d54d32b01a3" providerId="ADAL" clId="{20AD8B11-130C-4F68-9211-C0E7C90F8BEE}" dt="2023-06-20T14:27:12.578" v="29890" actId="47"/>
        <pc:sldMkLst>
          <pc:docMk/>
          <pc:sldMk cId="2975393702" sldId="2147471291"/>
        </pc:sldMkLst>
        <pc:graphicFrameChg chg="mod modGraphic">
          <ac:chgData name="Paul LEGEARD" userId="73b5704d-da1d-4b70-8e12-6d54d32b01a3" providerId="ADAL" clId="{20AD8B11-130C-4F68-9211-C0E7C90F8BEE}" dt="2023-06-15T12:12:41.319" v="29889"/>
          <ac:graphicFrameMkLst>
            <pc:docMk/>
            <pc:sldMk cId="2975393702" sldId="2147471291"/>
            <ac:graphicFrameMk id="16" creationId="{77C0BDB6-D186-9855-90A3-B118F9D48880}"/>
          </ac:graphicFrameMkLst>
        </pc:graphicFrameChg>
      </pc:sldChg>
      <pc:sldChg chg="delSp add del mod">
        <pc:chgData name="Paul LEGEARD" userId="73b5704d-da1d-4b70-8e12-6d54d32b01a3" providerId="ADAL" clId="{20AD8B11-130C-4F68-9211-C0E7C90F8BEE}" dt="2023-07-10T12:59:54.168" v="29928"/>
        <pc:sldMkLst>
          <pc:docMk/>
          <pc:sldMk cId="3654346889" sldId="2147471305"/>
        </pc:sldMkLst>
        <pc:spChg chg="del">
          <ac:chgData name="Paul LEGEARD" userId="73b5704d-da1d-4b70-8e12-6d54d32b01a3" providerId="ADAL" clId="{20AD8B11-130C-4F68-9211-C0E7C90F8BEE}" dt="2023-06-20T14:30:21.826" v="29901" actId="478"/>
          <ac:spMkLst>
            <pc:docMk/>
            <pc:sldMk cId="3654346889" sldId="2147471305"/>
            <ac:spMk id="3" creationId="{7E6E5826-36BA-0337-B58E-E72571C6391E}"/>
          </ac:spMkLst>
        </pc:spChg>
      </pc:sldChg>
      <pc:sldChg chg="delSp add del mod">
        <pc:chgData name="Paul LEGEARD" userId="73b5704d-da1d-4b70-8e12-6d54d32b01a3" providerId="ADAL" clId="{20AD8B11-130C-4F68-9211-C0E7C90F8BEE}" dt="2023-07-10T12:59:54.168" v="29928"/>
        <pc:sldMkLst>
          <pc:docMk/>
          <pc:sldMk cId="570033873" sldId="2147471306"/>
        </pc:sldMkLst>
        <pc:spChg chg="del">
          <ac:chgData name="Paul LEGEARD" userId="73b5704d-da1d-4b70-8e12-6d54d32b01a3" providerId="ADAL" clId="{20AD8B11-130C-4F68-9211-C0E7C90F8BEE}" dt="2023-06-20T14:30:24.661" v="29902" actId="478"/>
          <ac:spMkLst>
            <pc:docMk/>
            <pc:sldMk cId="570033873" sldId="2147471306"/>
            <ac:spMk id="52" creationId="{79026F17-9DF7-4E58-8772-450528DEB792}"/>
          </ac:spMkLst>
        </pc:spChg>
      </pc:sldChg>
      <pc:sldChg chg="delSp add del mod">
        <pc:chgData name="Paul LEGEARD" userId="73b5704d-da1d-4b70-8e12-6d54d32b01a3" providerId="ADAL" clId="{20AD8B11-130C-4F68-9211-C0E7C90F8BEE}" dt="2023-07-10T12:59:54.168" v="29928"/>
        <pc:sldMkLst>
          <pc:docMk/>
          <pc:sldMk cId="453398197" sldId="2147471307"/>
        </pc:sldMkLst>
        <pc:spChg chg="del">
          <ac:chgData name="Paul LEGEARD" userId="73b5704d-da1d-4b70-8e12-6d54d32b01a3" providerId="ADAL" clId="{20AD8B11-130C-4F68-9211-C0E7C90F8BEE}" dt="2023-06-20T14:30:31.487" v="29904" actId="478"/>
          <ac:spMkLst>
            <pc:docMk/>
            <pc:sldMk cId="453398197" sldId="2147471307"/>
            <ac:spMk id="40" creationId="{2324513B-A0E3-4941-9A6C-CB44FBB8219C}"/>
          </ac:spMkLst>
        </pc:spChg>
      </pc:sldChg>
      <pc:sldMasterChg chg="delSldLayout">
        <pc:chgData name="Paul LEGEARD" userId="73b5704d-da1d-4b70-8e12-6d54d32b01a3" providerId="ADAL" clId="{20AD8B11-130C-4F68-9211-C0E7C90F8BEE}" dt="2023-07-10T12:59:47.956" v="29927" actId="47"/>
        <pc:sldMasterMkLst>
          <pc:docMk/>
          <pc:sldMasterMk cId="3605024799" sldId="2147484446"/>
        </pc:sldMasterMkLst>
        <pc:sldLayoutChg chg="del">
          <pc:chgData name="Paul LEGEARD" userId="73b5704d-da1d-4b70-8e12-6d54d32b01a3" providerId="ADAL" clId="{20AD8B11-130C-4F68-9211-C0E7C90F8BEE}" dt="2023-06-20T14:27:17.979" v="29893" actId="47"/>
          <pc:sldLayoutMkLst>
            <pc:docMk/>
            <pc:sldMasterMk cId="3605024799" sldId="2147484446"/>
            <pc:sldLayoutMk cId="3216125121" sldId="2147484563"/>
          </pc:sldLayoutMkLst>
        </pc:sldLayoutChg>
        <pc:sldLayoutChg chg="del">
          <pc:chgData name="Paul LEGEARD" userId="73b5704d-da1d-4b70-8e12-6d54d32b01a3" providerId="ADAL" clId="{20AD8B11-130C-4F68-9211-C0E7C90F8BEE}" dt="2023-06-08T15:36:03.359" v="12358" actId="47"/>
          <pc:sldLayoutMkLst>
            <pc:docMk/>
            <pc:sldMasterMk cId="3605024799" sldId="2147484446"/>
            <pc:sldLayoutMk cId="3028404137" sldId="2147484565"/>
          </pc:sldLayoutMkLst>
        </pc:sldLayoutChg>
        <pc:sldLayoutChg chg="del">
          <pc:chgData name="Paul LEGEARD" userId="73b5704d-da1d-4b70-8e12-6d54d32b01a3" providerId="ADAL" clId="{20AD8B11-130C-4F68-9211-C0E7C90F8BEE}" dt="2023-06-08T16:34:33.402" v="16066" actId="47"/>
          <pc:sldLayoutMkLst>
            <pc:docMk/>
            <pc:sldMasterMk cId="3605024799" sldId="2147484446"/>
            <pc:sldLayoutMk cId="1628636972" sldId="2147484566"/>
          </pc:sldLayoutMkLst>
        </pc:sldLayoutChg>
        <pc:sldLayoutChg chg="del">
          <pc:chgData name="Paul LEGEARD" userId="73b5704d-da1d-4b70-8e12-6d54d32b01a3" providerId="ADAL" clId="{20AD8B11-130C-4F68-9211-C0E7C90F8BEE}" dt="2023-06-08T15:36:03.359" v="12358" actId="47"/>
          <pc:sldLayoutMkLst>
            <pc:docMk/>
            <pc:sldMasterMk cId="3605024799" sldId="2147484446"/>
            <pc:sldLayoutMk cId="1693332872" sldId="2147484566"/>
          </pc:sldLayoutMkLst>
        </pc:sldLayoutChg>
        <pc:sldLayoutChg chg="del">
          <pc:chgData name="Paul LEGEARD" userId="73b5704d-da1d-4b70-8e12-6d54d32b01a3" providerId="ADAL" clId="{20AD8B11-130C-4F68-9211-C0E7C90F8BEE}" dt="2023-06-08T15:36:03.359" v="12358" actId="47"/>
          <pc:sldLayoutMkLst>
            <pc:docMk/>
            <pc:sldMasterMk cId="3605024799" sldId="2147484446"/>
            <pc:sldLayoutMk cId="1221125573" sldId="2147484567"/>
          </pc:sldLayoutMkLst>
        </pc:sldLayoutChg>
        <pc:sldLayoutChg chg="del">
          <pc:chgData name="Paul LEGEARD" userId="73b5704d-da1d-4b70-8e12-6d54d32b01a3" providerId="ADAL" clId="{20AD8B11-130C-4F68-9211-C0E7C90F8BEE}" dt="2023-07-10T12:59:41.674" v="29921" actId="47"/>
          <pc:sldLayoutMkLst>
            <pc:docMk/>
            <pc:sldMasterMk cId="3605024799" sldId="2147484446"/>
            <pc:sldLayoutMk cId="581256002" sldId="2147484582"/>
          </pc:sldLayoutMkLst>
        </pc:sldLayoutChg>
        <pc:sldLayoutChg chg="del">
          <pc:chgData name="Paul LEGEARD" userId="73b5704d-da1d-4b70-8e12-6d54d32b01a3" providerId="ADAL" clId="{20AD8B11-130C-4F68-9211-C0E7C90F8BEE}" dt="2023-07-10T12:59:47.956" v="29927" actId="47"/>
          <pc:sldLayoutMkLst>
            <pc:docMk/>
            <pc:sldMasterMk cId="3605024799" sldId="2147484446"/>
            <pc:sldLayoutMk cId="3464689215" sldId="2147484583"/>
          </pc:sldLayoutMkLst>
        </pc:sldLayoutChg>
      </pc:sldMasterChg>
      <pc:sldMasterChg chg="addSldLayout delSldLayout">
        <pc:chgData name="Paul LEGEARD" userId="73b5704d-da1d-4b70-8e12-6d54d32b01a3" providerId="ADAL" clId="{20AD8B11-130C-4F68-9211-C0E7C90F8BEE}" dt="2023-06-26T06:53:29.198" v="29909" actId="47"/>
        <pc:sldMasterMkLst>
          <pc:docMk/>
          <pc:sldMasterMk cId="3310629383" sldId="2147484566"/>
        </pc:sldMasterMkLst>
        <pc:sldLayoutChg chg="add del">
          <pc:chgData name="Paul LEGEARD" userId="73b5704d-da1d-4b70-8e12-6d54d32b01a3" providerId="ADAL" clId="{20AD8B11-130C-4F68-9211-C0E7C90F8BEE}" dt="2023-06-26T06:53:29.198" v="29909" actId="47"/>
          <pc:sldLayoutMkLst>
            <pc:docMk/>
            <pc:sldMasterMk cId="3310629383" sldId="2147484566"/>
            <pc:sldLayoutMk cId="650406696" sldId="2147484582"/>
          </pc:sldLayoutMkLst>
        </pc:sldLayoutChg>
      </pc:sldMasterChg>
    </pc:docChg>
  </pc:docChgLst>
  <pc:docChgLst>
    <pc:chgData name="Sabina PETRASHOVA" userId="S::sabina.petrashova_tribu-conseil.com#ext#@cacommun.onmicrosoft.com::130c87d6-a9a5-4581-a97a-ed5fb9af8a0e" providerId="AD" clId="Web-{34081FEC-4D52-465E-BFBC-C953512CAD7B}"/>
    <pc:docChg chg="">
      <pc:chgData name="Sabina PETRASHOVA" userId="S::sabina.petrashova_tribu-conseil.com#ext#@cacommun.onmicrosoft.com::130c87d6-a9a5-4581-a97a-ed5fb9af8a0e" providerId="AD" clId="Web-{34081FEC-4D52-465E-BFBC-C953512CAD7B}" dt="2023-09-29T13:24:17.326" v="0"/>
      <pc:docMkLst>
        <pc:docMk/>
      </pc:docMkLst>
      <pc:sldChg chg="delCm">
        <pc:chgData name="Sabina PETRASHOVA" userId="S::sabina.petrashova_tribu-conseil.com#ext#@cacommun.onmicrosoft.com::130c87d6-a9a5-4581-a97a-ed5fb9af8a0e" providerId="AD" clId="Web-{34081FEC-4D52-465E-BFBC-C953512CAD7B}" dt="2023-09-29T13:24:17.326" v="0"/>
        <pc:sldMkLst>
          <pc:docMk/>
          <pc:sldMk cId="2928538004" sldId="2147471350"/>
        </pc:sldMkLst>
        <pc:extLst>
          <p:ext xmlns:p="http://schemas.openxmlformats.org/presentationml/2006/main" uri="{D6D511B9-2390-475A-947B-AFAB55BFBCF1}">
            <pc226:cmChg xmlns:pc226="http://schemas.microsoft.com/office/powerpoint/2022/06/main/command" chg="del">
              <pc226:chgData name="Sabina PETRASHOVA" userId="S::sabina.petrashova_tribu-conseil.com#ext#@cacommun.onmicrosoft.com::130c87d6-a9a5-4581-a97a-ed5fb9af8a0e" providerId="AD" clId="Web-{34081FEC-4D52-465E-BFBC-C953512CAD7B}" dt="2023-09-29T13:24:17.326" v="0"/>
              <pc2:cmMkLst xmlns:pc2="http://schemas.microsoft.com/office/powerpoint/2019/9/main/command">
                <pc:docMk/>
                <pc:sldMk cId="2928538004" sldId="2147471350"/>
                <pc2:cmMk id="{22A02AB1-2E46-43AC-A869-988E7B16C21F}"/>
              </pc2:cmMkLst>
            </pc226:cmChg>
          </p:ext>
        </pc:extLst>
      </pc:sldChg>
    </pc:docChg>
  </pc:docChgLst>
  <pc:docChgLst>
    <pc:chgData name="Sabina PETRASHOVA" userId="S::sabina.petrashova_tribu-conseil.com#ext#@cacommun.onmicrosoft.com::130c87d6-a9a5-4581-a97a-ed5fb9af8a0e" providerId="AD" clId="Web-{9A6FDD47-11CA-47EB-B84A-CEF2345AB070}"/>
    <pc:docChg chg="addSld modSld">
      <pc:chgData name="Sabina PETRASHOVA" userId="S::sabina.petrashova_tribu-conseil.com#ext#@cacommun.onmicrosoft.com::130c87d6-a9a5-4581-a97a-ed5fb9af8a0e" providerId="AD" clId="Web-{9A6FDD47-11CA-47EB-B84A-CEF2345AB070}" dt="2023-09-20T08:55:53.049" v="1" actId="1076"/>
      <pc:docMkLst>
        <pc:docMk/>
      </pc:docMkLst>
      <pc:sldChg chg="modSp new">
        <pc:chgData name="Sabina PETRASHOVA" userId="S::sabina.petrashova_tribu-conseil.com#ext#@cacommun.onmicrosoft.com::130c87d6-a9a5-4581-a97a-ed5fb9af8a0e" providerId="AD" clId="Web-{9A6FDD47-11CA-47EB-B84A-CEF2345AB070}" dt="2023-09-20T08:55:53.049" v="1" actId="1076"/>
        <pc:sldMkLst>
          <pc:docMk/>
          <pc:sldMk cId="3578627088" sldId="2147471325"/>
        </pc:sldMkLst>
        <pc:spChg chg="mod">
          <ac:chgData name="Sabina PETRASHOVA" userId="S::sabina.petrashova_tribu-conseil.com#ext#@cacommun.onmicrosoft.com::130c87d6-a9a5-4581-a97a-ed5fb9af8a0e" providerId="AD" clId="Web-{9A6FDD47-11CA-47EB-B84A-CEF2345AB070}" dt="2023-09-20T08:55:53.049" v="1" actId="1076"/>
          <ac:spMkLst>
            <pc:docMk/>
            <pc:sldMk cId="3578627088" sldId="2147471325"/>
            <ac:spMk id="2" creationId="{A7267C16-6535-7340-73FB-30E29AE782F5}"/>
          </ac:spMkLst>
        </pc:spChg>
      </pc:sldChg>
    </pc:docChg>
  </pc:docChgLst>
  <pc:docChgLst>
    <pc:chgData name="Paul LEGEARD" userId="S::paul.legeard_tribu-conseil.com#ext#@cacommun.onmicrosoft.com::d93005c4-da71-4b00-9907-059060be94dc" providerId="AD" clId="Web-{DBE363AC-ADFE-449F-92D3-CBBE4D2AF456}"/>
    <pc:docChg chg="modSld">
      <pc:chgData name="Paul LEGEARD" userId="S::paul.legeard_tribu-conseil.com#ext#@cacommun.onmicrosoft.com::d93005c4-da71-4b00-9907-059060be94dc" providerId="AD" clId="Web-{DBE363AC-ADFE-449F-92D3-CBBE4D2AF456}" dt="2023-08-25T08:13:01.796" v="2" actId="14100"/>
      <pc:docMkLst>
        <pc:docMk/>
      </pc:docMkLst>
      <pc:sldChg chg="addSp modSp">
        <pc:chgData name="Paul LEGEARD" userId="S::paul.legeard_tribu-conseil.com#ext#@cacommun.onmicrosoft.com::d93005c4-da71-4b00-9907-059060be94dc" providerId="AD" clId="Web-{DBE363AC-ADFE-449F-92D3-CBBE4D2AF456}" dt="2023-08-25T08:13:01.796" v="2" actId="14100"/>
        <pc:sldMkLst>
          <pc:docMk/>
          <pc:sldMk cId="676178199" sldId="2147471308"/>
        </pc:sldMkLst>
        <pc:cxnChg chg="add mod">
          <ac:chgData name="Paul LEGEARD" userId="S::paul.legeard_tribu-conseil.com#ext#@cacommun.onmicrosoft.com::d93005c4-da71-4b00-9907-059060be94dc" providerId="AD" clId="Web-{DBE363AC-ADFE-449F-92D3-CBBE4D2AF456}" dt="2023-08-25T08:13:01.796" v="2" actId="14100"/>
          <ac:cxnSpMkLst>
            <pc:docMk/>
            <pc:sldMk cId="676178199" sldId="2147471308"/>
            <ac:cxnSpMk id="3" creationId="{072DBC73-B049-0F94-EFBB-E950D221720E}"/>
          </ac:cxnSpMkLst>
        </pc:cxnChg>
      </pc:sldChg>
    </pc:docChg>
  </pc:docChgLst>
  <pc:docChgLst>
    <pc:chgData name="Paul LEGEARD" userId="73b5704d-da1d-4b70-8e12-6d54d32b01a3" providerId="ADAL" clId="{48ECB617-96D0-4CF8-B8F2-059DAD9F4776}"/>
    <pc:docChg chg="undo custSel addSld delSld modSld sldOrd">
      <pc:chgData name="Paul LEGEARD" userId="73b5704d-da1d-4b70-8e12-6d54d32b01a3" providerId="ADAL" clId="{48ECB617-96D0-4CF8-B8F2-059DAD9F4776}" dt="2023-07-26T09:07:31.840" v="4111"/>
      <pc:docMkLst>
        <pc:docMk/>
      </pc:docMkLst>
      <pc:sldChg chg="addSp modSp mod">
        <pc:chgData name="Paul LEGEARD" userId="73b5704d-da1d-4b70-8e12-6d54d32b01a3" providerId="ADAL" clId="{48ECB617-96D0-4CF8-B8F2-059DAD9F4776}" dt="2023-07-26T07:45:45.644" v="69" actId="1076"/>
        <pc:sldMkLst>
          <pc:docMk/>
          <pc:sldMk cId="1065887249" sldId="256"/>
        </pc:sldMkLst>
        <pc:spChg chg="mod">
          <ac:chgData name="Paul LEGEARD" userId="73b5704d-da1d-4b70-8e12-6d54d32b01a3" providerId="ADAL" clId="{48ECB617-96D0-4CF8-B8F2-059DAD9F4776}" dt="2023-07-26T07:44:23.463" v="56" actId="404"/>
          <ac:spMkLst>
            <pc:docMk/>
            <pc:sldMk cId="1065887249" sldId="256"/>
            <ac:spMk id="3" creationId="{9E91F614-89FB-4354-B5E3-ECD766CDC165}"/>
          </ac:spMkLst>
        </pc:spChg>
        <pc:spChg chg="mod">
          <ac:chgData name="Paul LEGEARD" userId="73b5704d-da1d-4b70-8e12-6d54d32b01a3" providerId="ADAL" clId="{48ECB617-96D0-4CF8-B8F2-059DAD9F4776}" dt="2023-07-26T07:44:28.638" v="60" actId="20577"/>
          <ac:spMkLst>
            <pc:docMk/>
            <pc:sldMk cId="1065887249" sldId="256"/>
            <ac:spMk id="7" creationId="{BF1A3B6F-14E8-4284-B1D9-EED8011BDF16}"/>
          </ac:spMkLst>
        </pc:spChg>
        <pc:picChg chg="add mod">
          <ac:chgData name="Paul LEGEARD" userId="73b5704d-da1d-4b70-8e12-6d54d32b01a3" providerId="ADAL" clId="{48ECB617-96D0-4CF8-B8F2-059DAD9F4776}" dt="2023-07-26T07:45:45.644" v="69" actId="1076"/>
          <ac:picMkLst>
            <pc:docMk/>
            <pc:sldMk cId="1065887249" sldId="256"/>
            <ac:picMk id="1026" creationId="{3C56BD59-C263-4C3A-F38C-673CF917402C}"/>
          </ac:picMkLst>
        </pc:picChg>
      </pc:sldChg>
      <pc:sldChg chg="add del">
        <pc:chgData name="Paul LEGEARD" userId="73b5704d-da1d-4b70-8e12-6d54d32b01a3" providerId="ADAL" clId="{48ECB617-96D0-4CF8-B8F2-059DAD9F4776}" dt="2023-07-26T08:55:13.150" v="2930" actId="47"/>
        <pc:sldMkLst>
          <pc:docMk/>
          <pc:sldMk cId="3285664514" sldId="2145706718"/>
        </pc:sldMkLst>
      </pc:sldChg>
      <pc:sldChg chg="del">
        <pc:chgData name="Paul LEGEARD" userId="73b5704d-da1d-4b70-8e12-6d54d32b01a3" providerId="ADAL" clId="{48ECB617-96D0-4CF8-B8F2-059DAD9F4776}" dt="2023-07-26T07:46:26.710" v="158" actId="47"/>
        <pc:sldMkLst>
          <pc:docMk/>
          <pc:sldMk cId="1898269728" sldId="2147375048"/>
        </pc:sldMkLst>
      </pc:sldChg>
      <pc:sldChg chg="del">
        <pc:chgData name="Paul LEGEARD" userId="73b5704d-da1d-4b70-8e12-6d54d32b01a3" providerId="ADAL" clId="{48ECB617-96D0-4CF8-B8F2-059DAD9F4776}" dt="2023-07-26T07:46:26.522" v="157" actId="47"/>
        <pc:sldMkLst>
          <pc:docMk/>
          <pc:sldMk cId="2246377235" sldId="2147469763"/>
        </pc:sldMkLst>
      </pc:sldChg>
      <pc:sldChg chg="del">
        <pc:chgData name="Paul LEGEARD" userId="73b5704d-da1d-4b70-8e12-6d54d32b01a3" providerId="ADAL" clId="{48ECB617-96D0-4CF8-B8F2-059DAD9F4776}" dt="2023-07-26T07:46:27.229" v="160" actId="47"/>
        <pc:sldMkLst>
          <pc:docMk/>
          <pc:sldMk cId="2262956167" sldId="2147469844"/>
        </pc:sldMkLst>
      </pc:sldChg>
      <pc:sldChg chg="del">
        <pc:chgData name="Paul LEGEARD" userId="73b5704d-da1d-4b70-8e12-6d54d32b01a3" providerId="ADAL" clId="{48ECB617-96D0-4CF8-B8F2-059DAD9F4776}" dt="2023-07-26T07:46:28.628" v="166" actId="47"/>
        <pc:sldMkLst>
          <pc:docMk/>
          <pc:sldMk cId="2845898111" sldId="2147469886"/>
        </pc:sldMkLst>
      </pc:sldChg>
      <pc:sldChg chg="del">
        <pc:chgData name="Paul LEGEARD" userId="73b5704d-da1d-4b70-8e12-6d54d32b01a3" providerId="ADAL" clId="{48ECB617-96D0-4CF8-B8F2-059DAD9F4776}" dt="2023-07-26T07:46:29.556" v="168" actId="47"/>
        <pc:sldMkLst>
          <pc:docMk/>
          <pc:sldMk cId="2598858083" sldId="2147469914"/>
        </pc:sldMkLst>
      </pc:sldChg>
      <pc:sldChg chg="del">
        <pc:chgData name="Paul LEGEARD" userId="73b5704d-da1d-4b70-8e12-6d54d32b01a3" providerId="ADAL" clId="{48ECB617-96D0-4CF8-B8F2-059DAD9F4776}" dt="2023-07-26T07:46:27.025" v="159" actId="47"/>
        <pc:sldMkLst>
          <pc:docMk/>
          <pc:sldMk cId="1362949440" sldId="2147471256"/>
        </pc:sldMkLst>
      </pc:sldChg>
      <pc:sldChg chg="del">
        <pc:chgData name="Paul LEGEARD" userId="73b5704d-da1d-4b70-8e12-6d54d32b01a3" providerId="ADAL" clId="{48ECB617-96D0-4CF8-B8F2-059DAD9F4776}" dt="2023-07-26T07:46:27.433" v="161" actId="47"/>
        <pc:sldMkLst>
          <pc:docMk/>
          <pc:sldMk cId="2177110135" sldId="2147471267"/>
        </pc:sldMkLst>
      </pc:sldChg>
      <pc:sldChg chg="del">
        <pc:chgData name="Paul LEGEARD" userId="73b5704d-da1d-4b70-8e12-6d54d32b01a3" providerId="ADAL" clId="{48ECB617-96D0-4CF8-B8F2-059DAD9F4776}" dt="2023-07-26T07:46:27.684" v="162" actId="47"/>
        <pc:sldMkLst>
          <pc:docMk/>
          <pc:sldMk cId="3712366892" sldId="2147471271"/>
        </pc:sldMkLst>
      </pc:sldChg>
      <pc:sldChg chg="del">
        <pc:chgData name="Paul LEGEARD" userId="73b5704d-da1d-4b70-8e12-6d54d32b01a3" providerId="ADAL" clId="{48ECB617-96D0-4CF8-B8F2-059DAD9F4776}" dt="2023-07-26T07:46:29.099" v="167" actId="47"/>
        <pc:sldMkLst>
          <pc:docMk/>
          <pc:sldMk cId="802948229" sldId="2147471272"/>
        </pc:sldMkLst>
      </pc:sldChg>
      <pc:sldChg chg="del">
        <pc:chgData name="Paul LEGEARD" userId="73b5704d-da1d-4b70-8e12-6d54d32b01a3" providerId="ADAL" clId="{48ECB617-96D0-4CF8-B8F2-059DAD9F4776}" dt="2023-07-26T07:46:25.136" v="151" actId="47"/>
        <pc:sldMkLst>
          <pc:docMk/>
          <pc:sldMk cId="3696801894" sldId="2147471281"/>
        </pc:sldMkLst>
      </pc:sldChg>
      <pc:sldChg chg="del">
        <pc:chgData name="Paul LEGEARD" userId="73b5704d-da1d-4b70-8e12-6d54d32b01a3" providerId="ADAL" clId="{48ECB617-96D0-4CF8-B8F2-059DAD9F4776}" dt="2023-07-26T07:46:25.545" v="152" actId="47"/>
        <pc:sldMkLst>
          <pc:docMk/>
          <pc:sldMk cId="3442962359" sldId="2147471282"/>
        </pc:sldMkLst>
      </pc:sldChg>
      <pc:sldChg chg="del">
        <pc:chgData name="Paul LEGEARD" userId="73b5704d-da1d-4b70-8e12-6d54d32b01a3" providerId="ADAL" clId="{48ECB617-96D0-4CF8-B8F2-059DAD9F4776}" dt="2023-07-26T07:46:26.207" v="155" actId="47"/>
        <pc:sldMkLst>
          <pc:docMk/>
          <pc:sldMk cId="3813276438" sldId="2147471286"/>
        </pc:sldMkLst>
      </pc:sldChg>
      <pc:sldChg chg="del">
        <pc:chgData name="Paul LEGEARD" userId="73b5704d-da1d-4b70-8e12-6d54d32b01a3" providerId="ADAL" clId="{48ECB617-96D0-4CF8-B8F2-059DAD9F4776}" dt="2023-07-26T07:46:27.920" v="163" actId="47"/>
        <pc:sldMkLst>
          <pc:docMk/>
          <pc:sldMk cId="928953804" sldId="2147471288"/>
        </pc:sldMkLst>
      </pc:sldChg>
      <pc:sldChg chg="del">
        <pc:chgData name="Paul LEGEARD" userId="73b5704d-da1d-4b70-8e12-6d54d32b01a3" providerId="ADAL" clId="{48ECB617-96D0-4CF8-B8F2-059DAD9F4776}" dt="2023-07-26T07:46:28.062" v="164" actId="47"/>
        <pc:sldMkLst>
          <pc:docMk/>
          <pc:sldMk cId="3687830212" sldId="2147471289"/>
        </pc:sldMkLst>
      </pc:sldChg>
      <pc:sldChg chg="del">
        <pc:chgData name="Paul LEGEARD" userId="73b5704d-da1d-4b70-8e12-6d54d32b01a3" providerId="ADAL" clId="{48ECB617-96D0-4CF8-B8F2-059DAD9F4776}" dt="2023-07-26T07:46:28.298" v="165" actId="47"/>
        <pc:sldMkLst>
          <pc:docMk/>
          <pc:sldMk cId="2311230197" sldId="2147471290"/>
        </pc:sldMkLst>
      </pc:sldChg>
      <pc:sldChg chg="del">
        <pc:chgData name="Paul LEGEARD" userId="73b5704d-da1d-4b70-8e12-6d54d32b01a3" providerId="ADAL" clId="{48ECB617-96D0-4CF8-B8F2-059DAD9F4776}" dt="2023-07-26T07:46:25.797" v="153" actId="47"/>
        <pc:sldMkLst>
          <pc:docMk/>
          <pc:sldMk cId="3654346889" sldId="2147471305"/>
        </pc:sldMkLst>
      </pc:sldChg>
      <pc:sldChg chg="del">
        <pc:chgData name="Paul LEGEARD" userId="73b5704d-da1d-4b70-8e12-6d54d32b01a3" providerId="ADAL" clId="{48ECB617-96D0-4CF8-B8F2-059DAD9F4776}" dt="2023-07-26T07:46:26.034" v="154" actId="47"/>
        <pc:sldMkLst>
          <pc:docMk/>
          <pc:sldMk cId="570033873" sldId="2147471306"/>
        </pc:sldMkLst>
      </pc:sldChg>
      <pc:sldChg chg="del">
        <pc:chgData name="Paul LEGEARD" userId="73b5704d-da1d-4b70-8e12-6d54d32b01a3" providerId="ADAL" clId="{48ECB617-96D0-4CF8-B8F2-059DAD9F4776}" dt="2023-07-26T07:46:26.364" v="156" actId="47"/>
        <pc:sldMkLst>
          <pc:docMk/>
          <pc:sldMk cId="453398197" sldId="2147471307"/>
        </pc:sldMkLst>
      </pc:sldChg>
      <pc:sldChg chg="addSp delSp modSp add mod">
        <pc:chgData name="Paul LEGEARD" userId="73b5704d-da1d-4b70-8e12-6d54d32b01a3" providerId="ADAL" clId="{48ECB617-96D0-4CF8-B8F2-059DAD9F4776}" dt="2023-07-26T09:07:31.840" v="4111"/>
        <pc:sldMkLst>
          <pc:docMk/>
          <pc:sldMk cId="676178199" sldId="2147471308"/>
        </pc:sldMkLst>
        <pc:spChg chg="del">
          <ac:chgData name="Paul LEGEARD" userId="73b5704d-da1d-4b70-8e12-6d54d32b01a3" providerId="ADAL" clId="{48ECB617-96D0-4CF8-B8F2-059DAD9F4776}" dt="2023-07-26T07:46:20.558" v="150" actId="478"/>
          <ac:spMkLst>
            <pc:docMk/>
            <pc:sldMk cId="676178199" sldId="2147471308"/>
            <ac:spMk id="3" creationId="{93ADA718-20E5-764D-8AF3-50F634388ECF}"/>
          </ac:spMkLst>
        </pc:spChg>
        <pc:spChg chg="del">
          <ac:chgData name="Paul LEGEARD" userId="73b5704d-da1d-4b70-8e12-6d54d32b01a3" providerId="ADAL" clId="{48ECB617-96D0-4CF8-B8F2-059DAD9F4776}" dt="2023-07-26T07:46:20.558" v="150" actId="478"/>
          <ac:spMkLst>
            <pc:docMk/>
            <pc:sldMk cId="676178199" sldId="2147471308"/>
            <ac:spMk id="8" creationId="{89A39007-AA4F-6FC0-0F67-B3034C4AA797}"/>
          </ac:spMkLst>
        </pc:spChg>
        <pc:spChg chg="del">
          <ac:chgData name="Paul LEGEARD" userId="73b5704d-da1d-4b70-8e12-6d54d32b01a3" providerId="ADAL" clId="{48ECB617-96D0-4CF8-B8F2-059DAD9F4776}" dt="2023-07-26T07:46:20.558" v="150" actId="478"/>
          <ac:spMkLst>
            <pc:docMk/>
            <pc:sldMk cId="676178199" sldId="2147471308"/>
            <ac:spMk id="9" creationId="{79FE0BDF-92F0-FA56-674C-620E9842114E}"/>
          </ac:spMkLst>
        </pc:spChg>
        <pc:spChg chg="mod">
          <ac:chgData name="Paul LEGEARD" userId="73b5704d-da1d-4b70-8e12-6d54d32b01a3" providerId="ADAL" clId="{48ECB617-96D0-4CF8-B8F2-059DAD9F4776}" dt="2023-07-26T08:23:47.616" v="882" actId="403"/>
          <ac:spMkLst>
            <pc:docMk/>
            <pc:sldMk cId="676178199" sldId="2147471308"/>
            <ac:spMk id="10" creationId="{8358D74C-4804-E26A-A663-A72EC1B44D29}"/>
          </ac:spMkLst>
        </pc:spChg>
        <pc:spChg chg="del">
          <ac:chgData name="Paul LEGEARD" userId="73b5704d-da1d-4b70-8e12-6d54d32b01a3" providerId="ADAL" clId="{48ECB617-96D0-4CF8-B8F2-059DAD9F4776}" dt="2023-07-26T07:46:20.558" v="150" actId="478"/>
          <ac:spMkLst>
            <pc:docMk/>
            <pc:sldMk cId="676178199" sldId="2147471308"/>
            <ac:spMk id="11" creationId="{5BFAC0C4-83B5-EB20-E7B6-69B27EFFF4E1}"/>
          </ac:spMkLst>
        </pc:spChg>
        <pc:spChg chg="del">
          <ac:chgData name="Paul LEGEARD" userId="73b5704d-da1d-4b70-8e12-6d54d32b01a3" providerId="ADAL" clId="{48ECB617-96D0-4CF8-B8F2-059DAD9F4776}" dt="2023-07-26T07:46:20.558" v="150" actId="478"/>
          <ac:spMkLst>
            <pc:docMk/>
            <pc:sldMk cId="676178199" sldId="2147471308"/>
            <ac:spMk id="12" creationId="{FAAAE5D1-9B14-B7C3-6A45-9630B880FB83}"/>
          </ac:spMkLst>
        </pc:spChg>
        <pc:spChg chg="del">
          <ac:chgData name="Paul LEGEARD" userId="73b5704d-da1d-4b70-8e12-6d54d32b01a3" providerId="ADAL" clId="{48ECB617-96D0-4CF8-B8F2-059DAD9F4776}" dt="2023-07-26T07:46:20.558" v="150" actId="478"/>
          <ac:spMkLst>
            <pc:docMk/>
            <pc:sldMk cId="676178199" sldId="2147471308"/>
            <ac:spMk id="13" creationId="{22B4A8D4-5B45-3F3B-0898-5A7EB701E926}"/>
          </ac:spMkLst>
        </pc:spChg>
        <pc:spChg chg="del">
          <ac:chgData name="Paul LEGEARD" userId="73b5704d-da1d-4b70-8e12-6d54d32b01a3" providerId="ADAL" clId="{48ECB617-96D0-4CF8-B8F2-059DAD9F4776}" dt="2023-07-26T07:46:20.558" v="150" actId="478"/>
          <ac:spMkLst>
            <pc:docMk/>
            <pc:sldMk cId="676178199" sldId="2147471308"/>
            <ac:spMk id="14" creationId="{735D8BF5-081F-A15C-64E3-6298482CFF16}"/>
          </ac:spMkLst>
        </pc:spChg>
        <pc:spChg chg="del">
          <ac:chgData name="Paul LEGEARD" userId="73b5704d-da1d-4b70-8e12-6d54d32b01a3" providerId="ADAL" clId="{48ECB617-96D0-4CF8-B8F2-059DAD9F4776}" dt="2023-07-26T07:46:20.558" v="150" actId="478"/>
          <ac:spMkLst>
            <pc:docMk/>
            <pc:sldMk cId="676178199" sldId="2147471308"/>
            <ac:spMk id="16" creationId="{CD4FA003-12D1-CCAE-E5C9-8D5DA0116B40}"/>
          </ac:spMkLst>
        </pc:spChg>
        <pc:spChg chg="del">
          <ac:chgData name="Paul LEGEARD" userId="73b5704d-da1d-4b70-8e12-6d54d32b01a3" providerId="ADAL" clId="{48ECB617-96D0-4CF8-B8F2-059DAD9F4776}" dt="2023-07-26T07:46:20.558" v="150" actId="478"/>
          <ac:spMkLst>
            <pc:docMk/>
            <pc:sldMk cId="676178199" sldId="2147471308"/>
            <ac:spMk id="18" creationId="{3409023F-AB03-FFB5-8002-3ABF83C8F8CC}"/>
          </ac:spMkLst>
        </pc:spChg>
        <pc:spChg chg="del">
          <ac:chgData name="Paul LEGEARD" userId="73b5704d-da1d-4b70-8e12-6d54d32b01a3" providerId="ADAL" clId="{48ECB617-96D0-4CF8-B8F2-059DAD9F4776}" dt="2023-07-26T07:46:20.558" v="150" actId="478"/>
          <ac:spMkLst>
            <pc:docMk/>
            <pc:sldMk cId="676178199" sldId="2147471308"/>
            <ac:spMk id="19" creationId="{97015374-9970-5BF3-6BCD-E181360AD568}"/>
          </ac:spMkLst>
        </pc:spChg>
        <pc:spChg chg="add mod">
          <ac:chgData name="Paul LEGEARD" userId="73b5704d-da1d-4b70-8e12-6d54d32b01a3" providerId="ADAL" clId="{48ECB617-96D0-4CF8-B8F2-059DAD9F4776}" dt="2023-07-26T09:05:00.007" v="4035" actId="207"/>
          <ac:spMkLst>
            <pc:docMk/>
            <pc:sldMk cId="676178199" sldId="2147471308"/>
            <ac:spMk id="22" creationId="{9ED1D186-228D-F215-438A-6515AD458E1E}"/>
          </ac:spMkLst>
        </pc:spChg>
        <pc:spChg chg="del">
          <ac:chgData name="Paul LEGEARD" userId="73b5704d-da1d-4b70-8e12-6d54d32b01a3" providerId="ADAL" clId="{48ECB617-96D0-4CF8-B8F2-059DAD9F4776}" dt="2023-07-26T07:46:20.558" v="150" actId="478"/>
          <ac:spMkLst>
            <pc:docMk/>
            <pc:sldMk cId="676178199" sldId="2147471308"/>
            <ac:spMk id="23" creationId="{990C8C2F-A3A2-5843-757A-B2C0933946F9}"/>
          </ac:spMkLst>
        </pc:spChg>
        <pc:spChg chg="del">
          <ac:chgData name="Paul LEGEARD" userId="73b5704d-da1d-4b70-8e12-6d54d32b01a3" providerId="ADAL" clId="{48ECB617-96D0-4CF8-B8F2-059DAD9F4776}" dt="2023-07-26T07:46:20.558" v="150" actId="478"/>
          <ac:spMkLst>
            <pc:docMk/>
            <pc:sldMk cId="676178199" sldId="2147471308"/>
            <ac:spMk id="24" creationId="{496AD641-58AF-92CA-334F-20A67958625F}"/>
          </ac:spMkLst>
        </pc:spChg>
        <pc:spChg chg="del">
          <ac:chgData name="Paul LEGEARD" userId="73b5704d-da1d-4b70-8e12-6d54d32b01a3" providerId="ADAL" clId="{48ECB617-96D0-4CF8-B8F2-059DAD9F4776}" dt="2023-07-26T07:46:41.520" v="169" actId="478"/>
          <ac:spMkLst>
            <pc:docMk/>
            <pc:sldMk cId="676178199" sldId="2147471308"/>
            <ac:spMk id="25" creationId="{8E42CE21-BE9F-86F7-07C0-337C01E2660D}"/>
          </ac:spMkLst>
        </pc:spChg>
        <pc:spChg chg="del">
          <ac:chgData name="Paul LEGEARD" userId="73b5704d-da1d-4b70-8e12-6d54d32b01a3" providerId="ADAL" clId="{48ECB617-96D0-4CF8-B8F2-059DAD9F4776}" dt="2023-07-26T07:46:20.558" v="150" actId="478"/>
          <ac:spMkLst>
            <pc:docMk/>
            <pc:sldMk cId="676178199" sldId="2147471308"/>
            <ac:spMk id="33" creationId="{85F16104-257D-AD36-B7EE-9B79787C7377}"/>
          </ac:spMkLst>
        </pc:spChg>
        <pc:spChg chg="del">
          <ac:chgData name="Paul LEGEARD" userId="73b5704d-da1d-4b70-8e12-6d54d32b01a3" providerId="ADAL" clId="{48ECB617-96D0-4CF8-B8F2-059DAD9F4776}" dt="2023-07-26T07:46:20.558" v="150" actId="478"/>
          <ac:spMkLst>
            <pc:docMk/>
            <pc:sldMk cId="676178199" sldId="2147471308"/>
            <ac:spMk id="37" creationId="{3F70C861-F714-009B-5A8C-A6F7C205C3A9}"/>
          </ac:spMkLst>
        </pc:spChg>
        <pc:spChg chg="add mod">
          <ac:chgData name="Paul LEGEARD" userId="73b5704d-da1d-4b70-8e12-6d54d32b01a3" providerId="ADAL" clId="{48ECB617-96D0-4CF8-B8F2-059DAD9F4776}" dt="2023-07-26T09:05:00.007" v="4035" actId="207"/>
          <ac:spMkLst>
            <pc:docMk/>
            <pc:sldMk cId="676178199" sldId="2147471308"/>
            <ac:spMk id="38" creationId="{86BF3ADC-C72A-F714-3D83-424D39255B66}"/>
          </ac:spMkLst>
        </pc:spChg>
        <pc:spChg chg="del">
          <ac:chgData name="Paul LEGEARD" userId="73b5704d-da1d-4b70-8e12-6d54d32b01a3" providerId="ADAL" clId="{48ECB617-96D0-4CF8-B8F2-059DAD9F4776}" dt="2023-07-26T07:46:20.558" v="150" actId="478"/>
          <ac:spMkLst>
            <pc:docMk/>
            <pc:sldMk cId="676178199" sldId="2147471308"/>
            <ac:spMk id="44" creationId="{1E967DCB-2265-DED1-D06E-07AA0A8410ED}"/>
          </ac:spMkLst>
        </pc:spChg>
        <pc:spChg chg="del">
          <ac:chgData name="Paul LEGEARD" userId="73b5704d-da1d-4b70-8e12-6d54d32b01a3" providerId="ADAL" clId="{48ECB617-96D0-4CF8-B8F2-059DAD9F4776}" dt="2023-07-26T07:46:20.558" v="150" actId="478"/>
          <ac:spMkLst>
            <pc:docMk/>
            <pc:sldMk cId="676178199" sldId="2147471308"/>
            <ac:spMk id="46" creationId="{88C46F7B-C672-AF60-E15F-9473C2202D09}"/>
          </ac:spMkLst>
        </pc:spChg>
        <pc:spChg chg="del">
          <ac:chgData name="Paul LEGEARD" userId="73b5704d-da1d-4b70-8e12-6d54d32b01a3" providerId="ADAL" clId="{48ECB617-96D0-4CF8-B8F2-059DAD9F4776}" dt="2023-07-26T07:46:20.558" v="150" actId="478"/>
          <ac:spMkLst>
            <pc:docMk/>
            <pc:sldMk cId="676178199" sldId="2147471308"/>
            <ac:spMk id="47" creationId="{FFAFD1BF-14D3-78AD-FE1D-0C7475C874A5}"/>
          </ac:spMkLst>
        </pc:spChg>
        <pc:spChg chg="add mod">
          <ac:chgData name="Paul LEGEARD" userId="73b5704d-da1d-4b70-8e12-6d54d32b01a3" providerId="ADAL" clId="{48ECB617-96D0-4CF8-B8F2-059DAD9F4776}" dt="2023-07-26T09:05:00.007" v="4035" actId="207"/>
          <ac:spMkLst>
            <pc:docMk/>
            <pc:sldMk cId="676178199" sldId="2147471308"/>
            <ac:spMk id="48" creationId="{E13D7BAB-F51E-F4DB-7111-5710F9BBFD6D}"/>
          </ac:spMkLst>
        </pc:spChg>
        <pc:spChg chg="del">
          <ac:chgData name="Paul LEGEARD" userId="73b5704d-da1d-4b70-8e12-6d54d32b01a3" providerId="ADAL" clId="{48ECB617-96D0-4CF8-B8F2-059DAD9F4776}" dt="2023-07-26T07:46:20.558" v="150" actId="478"/>
          <ac:spMkLst>
            <pc:docMk/>
            <pc:sldMk cId="676178199" sldId="2147471308"/>
            <ac:spMk id="49" creationId="{8269E17D-FF9D-FA53-15C1-6A48879F0E93}"/>
          </ac:spMkLst>
        </pc:spChg>
        <pc:spChg chg="add mod">
          <ac:chgData name="Paul LEGEARD" userId="73b5704d-da1d-4b70-8e12-6d54d32b01a3" providerId="ADAL" clId="{48ECB617-96D0-4CF8-B8F2-059DAD9F4776}" dt="2023-07-26T09:05:00.007" v="4035" actId="207"/>
          <ac:spMkLst>
            <pc:docMk/>
            <pc:sldMk cId="676178199" sldId="2147471308"/>
            <ac:spMk id="50" creationId="{820A9BC1-EEAA-BA5B-27B8-2AEBFAA178C7}"/>
          </ac:spMkLst>
        </pc:spChg>
        <pc:spChg chg="add del">
          <ac:chgData name="Paul LEGEARD" userId="73b5704d-da1d-4b70-8e12-6d54d32b01a3" providerId="ADAL" clId="{48ECB617-96D0-4CF8-B8F2-059DAD9F4776}" dt="2023-07-26T08:24:46.504" v="1005" actId="478"/>
          <ac:spMkLst>
            <pc:docMk/>
            <pc:sldMk cId="676178199" sldId="2147471308"/>
            <ac:spMk id="51" creationId="{C4A3F293-6447-53FD-A825-7CB61F71CD8B}"/>
          </ac:spMkLst>
        </pc:spChg>
        <pc:spChg chg="del">
          <ac:chgData name="Paul LEGEARD" userId="73b5704d-da1d-4b70-8e12-6d54d32b01a3" providerId="ADAL" clId="{48ECB617-96D0-4CF8-B8F2-059DAD9F4776}" dt="2023-07-26T07:46:07.414" v="115" actId="478"/>
          <ac:spMkLst>
            <pc:docMk/>
            <pc:sldMk cId="676178199" sldId="2147471308"/>
            <ac:spMk id="52" creationId="{E2CBBA3F-72AA-53C4-C987-06851102BC49}"/>
          </ac:spMkLst>
        </pc:spChg>
        <pc:spChg chg="add del mod">
          <ac:chgData name="Paul LEGEARD" userId="73b5704d-da1d-4b70-8e12-6d54d32b01a3" providerId="ADAL" clId="{48ECB617-96D0-4CF8-B8F2-059DAD9F4776}" dt="2023-07-26T08:22:50.887" v="874" actId="478"/>
          <ac:spMkLst>
            <pc:docMk/>
            <pc:sldMk cId="676178199" sldId="2147471308"/>
            <ac:spMk id="53" creationId="{FAAB36F1-195E-EA2F-2ED7-24D302C30279}"/>
          </ac:spMkLst>
        </pc:spChg>
        <pc:spChg chg="del">
          <ac:chgData name="Paul LEGEARD" userId="73b5704d-da1d-4b70-8e12-6d54d32b01a3" providerId="ADAL" clId="{48ECB617-96D0-4CF8-B8F2-059DAD9F4776}" dt="2023-07-26T07:46:07.414" v="115" actId="478"/>
          <ac:spMkLst>
            <pc:docMk/>
            <pc:sldMk cId="676178199" sldId="2147471308"/>
            <ac:spMk id="54" creationId="{3FF47FD6-E9C9-CABF-BCE7-31C4E69A4228}"/>
          </ac:spMkLst>
        </pc:spChg>
        <pc:spChg chg="del">
          <ac:chgData name="Paul LEGEARD" userId="73b5704d-da1d-4b70-8e12-6d54d32b01a3" providerId="ADAL" clId="{48ECB617-96D0-4CF8-B8F2-059DAD9F4776}" dt="2023-07-26T07:46:20.558" v="150" actId="478"/>
          <ac:spMkLst>
            <pc:docMk/>
            <pc:sldMk cId="676178199" sldId="2147471308"/>
            <ac:spMk id="55" creationId="{6CD6A8BC-481F-7469-47A4-9149A0149C81}"/>
          </ac:spMkLst>
        </pc:spChg>
        <pc:spChg chg="add del mod">
          <ac:chgData name="Paul LEGEARD" userId="73b5704d-da1d-4b70-8e12-6d54d32b01a3" providerId="ADAL" clId="{48ECB617-96D0-4CF8-B8F2-059DAD9F4776}" dt="2023-07-26T08:23:57.089" v="887" actId="478"/>
          <ac:spMkLst>
            <pc:docMk/>
            <pc:sldMk cId="676178199" sldId="2147471308"/>
            <ac:spMk id="57" creationId="{F37B6FEA-02E1-4F4F-274D-5AC4BF6C1BCA}"/>
          </ac:spMkLst>
        </pc:spChg>
        <pc:spChg chg="add del mod">
          <ac:chgData name="Paul LEGEARD" userId="73b5704d-da1d-4b70-8e12-6d54d32b01a3" providerId="ADAL" clId="{48ECB617-96D0-4CF8-B8F2-059DAD9F4776}" dt="2023-07-26T08:34:17.821" v="1812" actId="478"/>
          <ac:spMkLst>
            <pc:docMk/>
            <pc:sldMk cId="676178199" sldId="2147471308"/>
            <ac:spMk id="58" creationId="{C4C0EA9D-63F1-83B0-48B4-A484C0E8855D}"/>
          </ac:spMkLst>
        </pc:spChg>
        <pc:spChg chg="add mod">
          <ac:chgData name="Paul LEGEARD" userId="73b5704d-da1d-4b70-8e12-6d54d32b01a3" providerId="ADAL" clId="{48ECB617-96D0-4CF8-B8F2-059DAD9F4776}" dt="2023-07-26T08:34:55.208" v="1860" actId="1036"/>
          <ac:spMkLst>
            <pc:docMk/>
            <pc:sldMk cId="676178199" sldId="2147471308"/>
            <ac:spMk id="63" creationId="{6FCA3EC8-5A48-9DF2-10E4-975E9FD57E5F}"/>
          </ac:spMkLst>
        </pc:spChg>
        <pc:spChg chg="add mod">
          <ac:chgData name="Paul LEGEARD" userId="73b5704d-da1d-4b70-8e12-6d54d32b01a3" providerId="ADAL" clId="{48ECB617-96D0-4CF8-B8F2-059DAD9F4776}" dt="2023-07-26T08:35:25.920" v="1889" actId="554"/>
          <ac:spMkLst>
            <pc:docMk/>
            <pc:sldMk cId="676178199" sldId="2147471308"/>
            <ac:spMk id="64" creationId="{1CC427C4-D55A-CBC2-5D0A-8CA116D8C0A2}"/>
          </ac:spMkLst>
        </pc:spChg>
        <pc:spChg chg="add mod ord">
          <ac:chgData name="Paul LEGEARD" userId="73b5704d-da1d-4b70-8e12-6d54d32b01a3" providerId="ADAL" clId="{48ECB617-96D0-4CF8-B8F2-059DAD9F4776}" dt="2023-07-26T08:35:25.920" v="1889" actId="554"/>
          <ac:spMkLst>
            <pc:docMk/>
            <pc:sldMk cId="676178199" sldId="2147471308"/>
            <ac:spMk id="65" creationId="{35EA0B87-9596-3B08-498E-A04A18655B28}"/>
          </ac:spMkLst>
        </pc:spChg>
        <pc:spChg chg="add mod">
          <ac:chgData name="Paul LEGEARD" userId="73b5704d-da1d-4b70-8e12-6d54d32b01a3" providerId="ADAL" clId="{48ECB617-96D0-4CF8-B8F2-059DAD9F4776}" dt="2023-07-26T08:35:30.495" v="1903" actId="1037"/>
          <ac:spMkLst>
            <pc:docMk/>
            <pc:sldMk cId="676178199" sldId="2147471308"/>
            <ac:spMk id="66" creationId="{7D19BC5E-2F04-9D18-83C4-2D66290220B5}"/>
          </ac:spMkLst>
        </pc:spChg>
        <pc:spChg chg="add mod">
          <ac:chgData name="Paul LEGEARD" userId="73b5704d-da1d-4b70-8e12-6d54d32b01a3" providerId="ADAL" clId="{48ECB617-96D0-4CF8-B8F2-059DAD9F4776}" dt="2023-07-26T08:35:30.495" v="1903" actId="1037"/>
          <ac:spMkLst>
            <pc:docMk/>
            <pc:sldMk cId="676178199" sldId="2147471308"/>
            <ac:spMk id="68" creationId="{57745933-26A6-E340-66EB-A32AAD3F2D50}"/>
          </ac:spMkLst>
        </pc:spChg>
        <pc:spChg chg="add del mod">
          <ac:chgData name="Paul LEGEARD" userId="73b5704d-da1d-4b70-8e12-6d54d32b01a3" providerId="ADAL" clId="{48ECB617-96D0-4CF8-B8F2-059DAD9F4776}" dt="2023-07-26T08:34:09.141" v="1796" actId="478"/>
          <ac:spMkLst>
            <pc:docMk/>
            <pc:sldMk cId="676178199" sldId="2147471308"/>
            <ac:spMk id="70" creationId="{30103970-BAF8-50BB-7DD4-07F386C4092C}"/>
          </ac:spMkLst>
        </pc:spChg>
        <pc:spChg chg="add del mod">
          <ac:chgData name="Paul LEGEARD" userId="73b5704d-da1d-4b70-8e12-6d54d32b01a3" providerId="ADAL" clId="{48ECB617-96D0-4CF8-B8F2-059DAD9F4776}" dt="2023-07-26T08:34:09.141" v="1796" actId="478"/>
          <ac:spMkLst>
            <pc:docMk/>
            <pc:sldMk cId="676178199" sldId="2147471308"/>
            <ac:spMk id="71" creationId="{1E448ECF-6899-E084-A7CA-5AAB86F39BB0}"/>
          </ac:spMkLst>
        </pc:spChg>
        <pc:spChg chg="add mod">
          <ac:chgData name="Paul LEGEARD" userId="73b5704d-da1d-4b70-8e12-6d54d32b01a3" providerId="ADAL" clId="{48ECB617-96D0-4CF8-B8F2-059DAD9F4776}" dt="2023-07-26T08:35:25.920" v="1889" actId="554"/>
          <ac:spMkLst>
            <pc:docMk/>
            <pc:sldMk cId="676178199" sldId="2147471308"/>
            <ac:spMk id="73" creationId="{52451232-9B16-2FF8-63C2-F949535A225E}"/>
          </ac:spMkLst>
        </pc:spChg>
        <pc:spChg chg="add mod">
          <ac:chgData name="Paul LEGEARD" userId="73b5704d-da1d-4b70-8e12-6d54d32b01a3" providerId="ADAL" clId="{48ECB617-96D0-4CF8-B8F2-059DAD9F4776}" dt="2023-07-26T08:35:30.495" v="1903" actId="1037"/>
          <ac:spMkLst>
            <pc:docMk/>
            <pc:sldMk cId="676178199" sldId="2147471308"/>
            <ac:spMk id="74" creationId="{97DD444E-A612-5CCE-E6B3-D463F37E89A1}"/>
          </ac:spMkLst>
        </pc:spChg>
        <pc:spChg chg="add del mod">
          <ac:chgData name="Paul LEGEARD" userId="73b5704d-da1d-4b70-8e12-6d54d32b01a3" providerId="ADAL" clId="{48ECB617-96D0-4CF8-B8F2-059DAD9F4776}" dt="2023-07-26T08:35:06.931" v="1863" actId="478"/>
          <ac:spMkLst>
            <pc:docMk/>
            <pc:sldMk cId="676178199" sldId="2147471308"/>
            <ac:spMk id="75" creationId="{B45EE036-D0EF-9C0F-8AFE-33094B6C9437}"/>
          </ac:spMkLst>
        </pc:spChg>
        <pc:spChg chg="add del mod">
          <ac:chgData name="Paul LEGEARD" userId="73b5704d-da1d-4b70-8e12-6d54d32b01a3" providerId="ADAL" clId="{48ECB617-96D0-4CF8-B8F2-059DAD9F4776}" dt="2023-07-26T08:35:06.931" v="1863" actId="478"/>
          <ac:spMkLst>
            <pc:docMk/>
            <pc:sldMk cId="676178199" sldId="2147471308"/>
            <ac:spMk id="77" creationId="{722F2C98-56D8-E7C6-99F4-F714AE442B98}"/>
          </ac:spMkLst>
        </pc:spChg>
        <pc:spChg chg="add del mod">
          <ac:chgData name="Paul LEGEARD" userId="73b5704d-da1d-4b70-8e12-6d54d32b01a3" providerId="ADAL" clId="{48ECB617-96D0-4CF8-B8F2-059DAD9F4776}" dt="2023-07-26T08:35:06.931" v="1863" actId="478"/>
          <ac:spMkLst>
            <pc:docMk/>
            <pc:sldMk cId="676178199" sldId="2147471308"/>
            <ac:spMk id="78" creationId="{05DFFE76-1BFE-42C7-65D2-FCF3EC23199A}"/>
          </ac:spMkLst>
        </pc:spChg>
        <pc:spChg chg="mod">
          <ac:chgData name="Paul LEGEARD" userId="73b5704d-da1d-4b70-8e12-6d54d32b01a3" providerId="ADAL" clId="{48ECB617-96D0-4CF8-B8F2-059DAD9F4776}" dt="2023-07-26T07:46:03.830" v="114" actId="20577"/>
          <ac:spMkLst>
            <pc:docMk/>
            <pc:sldMk cId="676178199" sldId="2147471308"/>
            <ac:spMk id="79" creationId="{9007893F-DE3F-4277-8B72-135CF4773651}"/>
          </ac:spMkLst>
        </pc:spChg>
        <pc:spChg chg="add del mod">
          <ac:chgData name="Paul LEGEARD" userId="73b5704d-da1d-4b70-8e12-6d54d32b01a3" providerId="ADAL" clId="{48ECB617-96D0-4CF8-B8F2-059DAD9F4776}" dt="2023-07-26T08:35:06.931" v="1863" actId="478"/>
          <ac:spMkLst>
            <pc:docMk/>
            <pc:sldMk cId="676178199" sldId="2147471308"/>
            <ac:spMk id="80" creationId="{92FE0527-EADF-A502-69A7-68C22998EDB4}"/>
          </ac:spMkLst>
        </pc:spChg>
        <pc:spChg chg="add del mod">
          <ac:chgData name="Paul LEGEARD" userId="73b5704d-da1d-4b70-8e12-6d54d32b01a3" providerId="ADAL" clId="{48ECB617-96D0-4CF8-B8F2-059DAD9F4776}" dt="2023-07-26T08:35:06.931" v="1863" actId="478"/>
          <ac:spMkLst>
            <pc:docMk/>
            <pc:sldMk cId="676178199" sldId="2147471308"/>
            <ac:spMk id="82" creationId="{472E1CD0-33B5-17A6-0545-FC9C027EA496}"/>
          </ac:spMkLst>
        </pc:spChg>
        <pc:spChg chg="add del mod">
          <ac:chgData name="Paul LEGEARD" userId="73b5704d-da1d-4b70-8e12-6d54d32b01a3" providerId="ADAL" clId="{48ECB617-96D0-4CF8-B8F2-059DAD9F4776}" dt="2023-07-26T08:35:06.931" v="1863" actId="478"/>
          <ac:spMkLst>
            <pc:docMk/>
            <pc:sldMk cId="676178199" sldId="2147471308"/>
            <ac:spMk id="83" creationId="{247E0C9D-9B23-FD39-1426-E049A067A4A3}"/>
          </ac:spMkLst>
        </pc:spChg>
        <pc:spChg chg="mod topLvl">
          <ac:chgData name="Paul LEGEARD" userId="73b5704d-da1d-4b70-8e12-6d54d32b01a3" providerId="ADAL" clId="{48ECB617-96D0-4CF8-B8F2-059DAD9F4776}" dt="2023-07-26T08:40:28.079" v="2191" actId="164"/>
          <ac:spMkLst>
            <pc:docMk/>
            <pc:sldMk cId="676178199" sldId="2147471308"/>
            <ac:spMk id="87" creationId="{459DDFF2-C9C9-0123-17D5-E979C5808623}"/>
          </ac:spMkLst>
        </pc:spChg>
        <pc:spChg chg="mod topLvl">
          <ac:chgData name="Paul LEGEARD" userId="73b5704d-da1d-4b70-8e12-6d54d32b01a3" providerId="ADAL" clId="{48ECB617-96D0-4CF8-B8F2-059DAD9F4776}" dt="2023-07-26T08:40:28.079" v="2191" actId="164"/>
          <ac:spMkLst>
            <pc:docMk/>
            <pc:sldMk cId="676178199" sldId="2147471308"/>
            <ac:spMk id="88" creationId="{49DB3507-AFE4-C388-89EC-8B960F6A0018}"/>
          </ac:spMkLst>
        </pc:spChg>
        <pc:spChg chg="mod topLvl">
          <ac:chgData name="Paul LEGEARD" userId="73b5704d-da1d-4b70-8e12-6d54d32b01a3" providerId="ADAL" clId="{48ECB617-96D0-4CF8-B8F2-059DAD9F4776}" dt="2023-07-26T08:40:28.079" v="2191" actId="164"/>
          <ac:spMkLst>
            <pc:docMk/>
            <pc:sldMk cId="676178199" sldId="2147471308"/>
            <ac:spMk id="90" creationId="{2E6A334D-82DF-7B1C-7BE5-FB07E644CBAE}"/>
          </ac:spMkLst>
        </pc:spChg>
        <pc:spChg chg="add mod">
          <ac:chgData name="Paul LEGEARD" userId="73b5704d-da1d-4b70-8e12-6d54d32b01a3" providerId="ADAL" clId="{48ECB617-96D0-4CF8-B8F2-059DAD9F4776}" dt="2023-07-26T08:41:33.562" v="2312" actId="164"/>
          <ac:spMkLst>
            <pc:docMk/>
            <pc:sldMk cId="676178199" sldId="2147471308"/>
            <ac:spMk id="91" creationId="{4D700269-6A7A-76FD-0E7F-EC3ACC08560E}"/>
          </ac:spMkLst>
        </pc:spChg>
        <pc:spChg chg="add mod">
          <ac:chgData name="Paul LEGEARD" userId="73b5704d-da1d-4b70-8e12-6d54d32b01a3" providerId="ADAL" clId="{48ECB617-96D0-4CF8-B8F2-059DAD9F4776}" dt="2023-07-26T08:41:33.562" v="2312" actId="164"/>
          <ac:spMkLst>
            <pc:docMk/>
            <pc:sldMk cId="676178199" sldId="2147471308"/>
            <ac:spMk id="92" creationId="{49D79271-3EE1-CB62-E4BE-7F87DB4AB02E}"/>
          </ac:spMkLst>
        </pc:spChg>
        <pc:spChg chg="add mod">
          <ac:chgData name="Paul LEGEARD" userId="73b5704d-da1d-4b70-8e12-6d54d32b01a3" providerId="ADAL" clId="{48ECB617-96D0-4CF8-B8F2-059DAD9F4776}" dt="2023-07-26T08:41:33.562" v="2312" actId="164"/>
          <ac:spMkLst>
            <pc:docMk/>
            <pc:sldMk cId="676178199" sldId="2147471308"/>
            <ac:spMk id="93" creationId="{310CEDD1-CE6B-7B6D-9D27-1338A9018CDD}"/>
          </ac:spMkLst>
        </pc:spChg>
        <pc:spChg chg="add mod">
          <ac:chgData name="Paul LEGEARD" userId="73b5704d-da1d-4b70-8e12-6d54d32b01a3" providerId="ADAL" clId="{48ECB617-96D0-4CF8-B8F2-059DAD9F4776}" dt="2023-07-26T08:41:38.574" v="2313" actId="164"/>
          <ac:spMkLst>
            <pc:docMk/>
            <pc:sldMk cId="676178199" sldId="2147471308"/>
            <ac:spMk id="96" creationId="{C17B801B-80D0-E401-880C-E04836667CB1}"/>
          </ac:spMkLst>
        </pc:spChg>
        <pc:spChg chg="add mod">
          <ac:chgData name="Paul LEGEARD" userId="73b5704d-da1d-4b70-8e12-6d54d32b01a3" providerId="ADAL" clId="{48ECB617-96D0-4CF8-B8F2-059DAD9F4776}" dt="2023-07-26T08:41:38.574" v="2313" actId="164"/>
          <ac:spMkLst>
            <pc:docMk/>
            <pc:sldMk cId="676178199" sldId="2147471308"/>
            <ac:spMk id="97" creationId="{D0E2A9BF-650E-0A7A-2115-525678C3A62D}"/>
          </ac:spMkLst>
        </pc:spChg>
        <pc:spChg chg="add mod">
          <ac:chgData name="Paul LEGEARD" userId="73b5704d-da1d-4b70-8e12-6d54d32b01a3" providerId="ADAL" clId="{48ECB617-96D0-4CF8-B8F2-059DAD9F4776}" dt="2023-07-26T08:41:38.574" v="2313" actId="164"/>
          <ac:spMkLst>
            <pc:docMk/>
            <pc:sldMk cId="676178199" sldId="2147471308"/>
            <ac:spMk id="98" creationId="{61178D78-F88A-6F94-7A2B-1515B91E6AFD}"/>
          </ac:spMkLst>
        </pc:spChg>
        <pc:spChg chg="add mod">
          <ac:chgData name="Paul LEGEARD" userId="73b5704d-da1d-4b70-8e12-6d54d32b01a3" providerId="ADAL" clId="{48ECB617-96D0-4CF8-B8F2-059DAD9F4776}" dt="2023-07-26T08:42:34.304" v="2439" actId="14100"/>
          <ac:spMkLst>
            <pc:docMk/>
            <pc:sldMk cId="676178199" sldId="2147471308"/>
            <ac:spMk id="102" creationId="{F9ECFEF9-F62B-C83B-C789-658F75ECD0B4}"/>
          </ac:spMkLst>
        </pc:spChg>
        <pc:spChg chg="add del mod">
          <ac:chgData name="Paul LEGEARD" userId="73b5704d-da1d-4b70-8e12-6d54d32b01a3" providerId="ADAL" clId="{48ECB617-96D0-4CF8-B8F2-059DAD9F4776}" dt="2023-07-26T09:06:36.733" v="4082" actId="478"/>
          <ac:spMkLst>
            <pc:docMk/>
            <pc:sldMk cId="676178199" sldId="2147471308"/>
            <ac:spMk id="107" creationId="{EF7EC4E0-C559-EDF9-8662-8E4BC75CB416}"/>
          </ac:spMkLst>
        </pc:spChg>
        <pc:spChg chg="add mod">
          <ac:chgData name="Paul LEGEARD" userId="73b5704d-da1d-4b70-8e12-6d54d32b01a3" providerId="ADAL" clId="{48ECB617-96D0-4CF8-B8F2-059DAD9F4776}" dt="2023-07-26T09:07:07.827" v="4105" actId="1036"/>
          <ac:spMkLst>
            <pc:docMk/>
            <pc:sldMk cId="676178199" sldId="2147471308"/>
            <ac:spMk id="108" creationId="{21AC3A26-AAFB-C796-6153-141A72E6E2B2}"/>
          </ac:spMkLst>
        </pc:spChg>
        <pc:spChg chg="add mod ord">
          <ac:chgData name="Paul LEGEARD" userId="73b5704d-da1d-4b70-8e12-6d54d32b01a3" providerId="ADAL" clId="{48ECB617-96D0-4CF8-B8F2-059DAD9F4776}" dt="2023-07-26T08:59:52.376" v="3697" actId="164"/>
          <ac:spMkLst>
            <pc:docMk/>
            <pc:sldMk cId="676178199" sldId="2147471308"/>
            <ac:spMk id="110" creationId="{95BCC87A-8D85-2F3E-0401-E5B518783EDC}"/>
          </ac:spMkLst>
        </pc:spChg>
        <pc:spChg chg="mod">
          <ac:chgData name="Paul LEGEARD" userId="73b5704d-da1d-4b70-8e12-6d54d32b01a3" providerId="ADAL" clId="{48ECB617-96D0-4CF8-B8F2-059DAD9F4776}" dt="2023-07-26T08:59:55.119" v="3698"/>
          <ac:spMkLst>
            <pc:docMk/>
            <pc:sldMk cId="676178199" sldId="2147471308"/>
            <ac:spMk id="113" creationId="{4C7F02FE-4218-EB50-3D04-BBE0F3065E64}"/>
          </ac:spMkLst>
        </pc:spChg>
        <pc:spChg chg="mod">
          <ac:chgData name="Paul LEGEARD" userId="73b5704d-da1d-4b70-8e12-6d54d32b01a3" providerId="ADAL" clId="{48ECB617-96D0-4CF8-B8F2-059DAD9F4776}" dt="2023-07-26T09:00:48.002" v="3736" actId="20577"/>
          <ac:spMkLst>
            <pc:docMk/>
            <pc:sldMk cId="676178199" sldId="2147471308"/>
            <ac:spMk id="114" creationId="{367272F4-27E6-5F40-8941-9FB5BC4DF00D}"/>
          </ac:spMkLst>
        </pc:spChg>
        <pc:spChg chg="mod">
          <ac:chgData name="Paul LEGEARD" userId="73b5704d-da1d-4b70-8e12-6d54d32b01a3" providerId="ADAL" clId="{48ECB617-96D0-4CF8-B8F2-059DAD9F4776}" dt="2023-07-26T09:01:49.013" v="3790" actId="1037"/>
          <ac:spMkLst>
            <pc:docMk/>
            <pc:sldMk cId="676178199" sldId="2147471308"/>
            <ac:spMk id="117" creationId="{9C8884B8-34FE-49DD-6D2D-086945276369}"/>
          </ac:spMkLst>
        </pc:spChg>
        <pc:spChg chg="mod">
          <ac:chgData name="Paul LEGEARD" userId="73b5704d-da1d-4b70-8e12-6d54d32b01a3" providerId="ADAL" clId="{48ECB617-96D0-4CF8-B8F2-059DAD9F4776}" dt="2023-07-26T09:00:54.951" v="3764" actId="20577"/>
          <ac:spMkLst>
            <pc:docMk/>
            <pc:sldMk cId="676178199" sldId="2147471308"/>
            <ac:spMk id="118" creationId="{CA9067E4-DB3C-AC45-CFFF-7AE4FB03D0ED}"/>
          </ac:spMkLst>
        </pc:spChg>
        <pc:spChg chg="mod">
          <ac:chgData name="Paul LEGEARD" userId="73b5704d-da1d-4b70-8e12-6d54d32b01a3" providerId="ADAL" clId="{48ECB617-96D0-4CF8-B8F2-059DAD9F4776}" dt="2023-07-26T09:00:59.050" v="3765"/>
          <ac:spMkLst>
            <pc:docMk/>
            <pc:sldMk cId="676178199" sldId="2147471308"/>
            <ac:spMk id="121" creationId="{2C627326-A7C0-9D54-EE23-E7D6E0EDA51C}"/>
          </ac:spMkLst>
        </pc:spChg>
        <pc:spChg chg="mod">
          <ac:chgData name="Paul LEGEARD" userId="73b5704d-da1d-4b70-8e12-6d54d32b01a3" providerId="ADAL" clId="{48ECB617-96D0-4CF8-B8F2-059DAD9F4776}" dt="2023-07-26T09:03:34.096" v="3914" actId="115"/>
          <ac:spMkLst>
            <pc:docMk/>
            <pc:sldMk cId="676178199" sldId="2147471308"/>
            <ac:spMk id="122" creationId="{3804BC53-240B-36B1-BA22-E38DC8CDB8D1}"/>
          </ac:spMkLst>
        </pc:spChg>
        <pc:spChg chg="mod">
          <ac:chgData name="Paul LEGEARD" userId="73b5704d-da1d-4b70-8e12-6d54d32b01a3" providerId="ADAL" clId="{48ECB617-96D0-4CF8-B8F2-059DAD9F4776}" dt="2023-07-26T09:07:25.779" v="4110" actId="1076"/>
          <ac:spMkLst>
            <pc:docMk/>
            <pc:sldMk cId="676178199" sldId="2147471308"/>
            <ac:spMk id="125" creationId="{82DEE5C4-715D-83C1-1FEC-E625659115FF}"/>
          </ac:spMkLst>
        </pc:spChg>
        <pc:spChg chg="mod">
          <ac:chgData name="Paul LEGEARD" userId="73b5704d-da1d-4b70-8e12-6d54d32b01a3" providerId="ADAL" clId="{48ECB617-96D0-4CF8-B8F2-059DAD9F4776}" dt="2023-07-26T09:07:25.779" v="4110" actId="1076"/>
          <ac:spMkLst>
            <pc:docMk/>
            <pc:sldMk cId="676178199" sldId="2147471308"/>
            <ac:spMk id="126" creationId="{C26C6C62-6C44-2CE2-459B-8B65CF23FBB3}"/>
          </ac:spMkLst>
        </pc:spChg>
        <pc:spChg chg="del">
          <ac:chgData name="Paul LEGEARD" userId="73b5704d-da1d-4b70-8e12-6d54d32b01a3" providerId="ADAL" clId="{48ECB617-96D0-4CF8-B8F2-059DAD9F4776}" dt="2023-07-26T07:46:20.558" v="150" actId="478"/>
          <ac:spMkLst>
            <pc:docMk/>
            <pc:sldMk cId="676178199" sldId="2147471308"/>
            <ac:spMk id="132" creationId="{0E5EF14A-AD9A-55F3-9388-667CCB1AEF21}"/>
          </ac:spMkLst>
        </pc:spChg>
        <pc:spChg chg="mod">
          <ac:chgData name="Paul LEGEARD" userId="73b5704d-da1d-4b70-8e12-6d54d32b01a3" providerId="ADAL" clId="{48ECB617-96D0-4CF8-B8F2-059DAD9F4776}" dt="2023-07-26T09:05:10.733" v="4036" actId="207"/>
          <ac:spMkLst>
            <pc:docMk/>
            <pc:sldMk cId="676178199" sldId="2147471308"/>
            <ac:spMk id="133" creationId="{79D62B0B-C47D-C23E-074C-B442DAEB4220}"/>
          </ac:spMkLst>
        </pc:spChg>
        <pc:spChg chg="mod">
          <ac:chgData name="Paul LEGEARD" userId="73b5704d-da1d-4b70-8e12-6d54d32b01a3" providerId="ADAL" clId="{48ECB617-96D0-4CF8-B8F2-059DAD9F4776}" dt="2023-07-26T09:05:10.733" v="4036" actId="207"/>
          <ac:spMkLst>
            <pc:docMk/>
            <pc:sldMk cId="676178199" sldId="2147471308"/>
            <ac:spMk id="134" creationId="{C4BD116B-3C6F-16D3-8278-6D0B9194D0E0}"/>
          </ac:spMkLst>
        </pc:spChg>
        <pc:spChg chg="del">
          <ac:chgData name="Paul LEGEARD" userId="73b5704d-da1d-4b70-8e12-6d54d32b01a3" providerId="ADAL" clId="{48ECB617-96D0-4CF8-B8F2-059DAD9F4776}" dt="2023-07-26T07:46:20.558" v="150" actId="478"/>
          <ac:spMkLst>
            <pc:docMk/>
            <pc:sldMk cId="676178199" sldId="2147471308"/>
            <ac:spMk id="135" creationId="{2E970DC8-90F1-FFE3-06E3-1B9D5C172430}"/>
          </ac:spMkLst>
        </pc:spChg>
        <pc:spChg chg="mod">
          <ac:chgData name="Paul LEGEARD" userId="73b5704d-da1d-4b70-8e12-6d54d32b01a3" providerId="ADAL" clId="{48ECB617-96D0-4CF8-B8F2-059DAD9F4776}" dt="2023-07-26T09:05:10.733" v="4036" actId="207"/>
          <ac:spMkLst>
            <pc:docMk/>
            <pc:sldMk cId="676178199" sldId="2147471308"/>
            <ac:spMk id="136" creationId="{66D7670C-8433-6B3D-39D9-719FA716AD95}"/>
          </ac:spMkLst>
        </pc:spChg>
        <pc:spChg chg="mod">
          <ac:chgData name="Paul LEGEARD" userId="73b5704d-da1d-4b70-8e12-6d54d32b01a3" providerId="ADAL" clId="{48ECB617-96D0-4CF8-B8F2-059DAD9F4776}" dt="2023-07-26T09:05:10.733" v="4036" actId="207"/>
          <ac:spMkLst>
            <pc:docMk/>
            <pc:sldMk cId="676178199" sldId="2147471308"/>
            <ac:spMk id="137" creationId="{50CB7B34-3F84-E069-0534-3BECDBBF0D37}"/>
          </ac:spMkLst>
        </pc:spChg>
        <pc:spChg chg="mod">
          <ac:chgData name="Paul LEGEARD" userId="73b5704d-da1d-4b70-8e12-6d54d32b01a3" providerId="ADAL" clId="{48ECB617-96D0-4CF8-B8F2-059DAD9F4776}" dt="2023-07-26T09:04:39.967" v="4031"/>
          <ac:spMkLst>
            <pc:docMk/>
            <pc:sldMk cId="676178199" sldId="2147471308"/>
            <ac:spMk id="139" creationId="{79315959-2C37-09A7-9F63-7CE8DAC6F54A}"/>
          </ac:spMkLst>
        </pc:spChg>
        <pc:spChg chg="mod">
          <ac:chgData name="Paul LEGEARD" userId="73b5704d-da1d-4b70-8e12-6d54d32b01a3" providerId="ADAL" clId="{48ECB617-96D0-4CF8-B8F2-059DAD9F4776}" dt="2023-07-26T09:04:39.967" v="4031"/>
          <ac:spMkLst>
            <pc:docMk/>
            <pc:sldMk cId="676178199" sldId="2147471308"/>
            <ac:spMk id="140" creationId="{4296304C-4695-A326-991B-791C5A1F8E2D}"/>
          </ac:spMkLst>
        </pc:spChg>
        <pc:spChg chg="mod">
          <ac:chgData name="Paul LEGEARD" userId="73b5704d-da1d-4b70-8e12-6d54d32b01a3" providerId="ADAL" clId="{48ECB617-96D0-4CF8-B8F2-059DAD9F4776}" dt="2023-07-26T09:04:39.967" v="4031"/>
          <ac:spMkLst>
            <pc:docMk/>
            <pc:sldMk cId="676178199" sldId="2147471308"/>
            <ac:spMk id="141" creationId="{2744BA94-B435-4A11-3DB3-F760373CD1A5}"/>
          </ac:spMkLst>
        </pc:spChg>
        <pc:spChg chg="mod">
          <ac:chgData name="Paul LEGEARD" userId="73b5704d-da1d-4b70-8e12-6d54d32b01a3" providerId="ADAL" clId="{48ECB617-96D0-4CF8-B8F2-059DAD9F4776}" dt="2023-07-26T09:04:39.967" v="4031"/>
          <ac:spMkLst>
            <pc:docMk/>
            <pc:sldMk cId="676178199" sldId="2147471308"/>
            <ac:spMk id="142" creationId="{7511807E-4006-D76D-21D6-EA9B7FAB83B6}"/>
          </ac:spMkLst>
        </pc:spChg>
        <pc:spChg chg="mod">
          <ac:chgData name="Paul LEGEARD" userId="73b5704d-da1d-4b70-8e12-6d54d32b01a3" providerId="ADAL" clId="{48ECB617-96D0-4CF8-B8F2-059DAD9F4776}" dt="2023-07-26T09:05:24.851" v="4038" actId="1076"/>
          <ac:spMkLst>
            <pc:docMk/>
            <pc:sldMk cId="676178199" sldId="2147471308"/>
            <ac:spMk id="144" creationId="{87AA16D2-BE46-29CC-D9F4-E0362AC3EFCE}"/>
          </ac:spMkLst>
        </pc:spChg>
        <pc:spChg chg="mod">
          <ac:chgData name="Paul LEGEARD" userId="73b5704d-da1d-4b70-8e12-6d54d32b01a3" providerId="ADAL" clId="{48ECB617-96D0-4CF8-B8F2-059DAD9F4776}" dt="2023-07-26T09:06:31.040" v="4081" actId="20577"/>
          <ac:spMkLst>
            <pc:docMk/>
            <pc:sldMk cId="676178199" sldId="2147471308"/>
            <ac:spMk id="145" creationId="{1092A8CA-9248-DB3D-59C7-371E5D115620}"/>
          </ac:spMkLst>
        </pc:spChg>
        <pc:spChg chg="del">
          <ac:chgData name="Paul LEGEARD" userId="73b5704d-da1d-4b70-8e12-6d54d32b01a3" providerId="ADAL" clId="{48ECB617-96D0-4CF8-B8F2-059DAD9F4776}" dt="2023-07-26T07:46:20.558" v="150" actId="478"/>
          <ac:spMkLst>
            <pc:docMk/>
            <pc:sldMk cId="676178199" sldId="2147471308"/>
            <ac:spMk id="156" creationId="{10A8D75D-73B9-6740-1790-EDBC966A5C18}"/>
          </ac:spMkLst>
        </pc:spChg>
        <pc:grpChg chg="add mod ord">
          <ac:chgData name="Paul LEGEARD" userId="73b5704d-da1d-4b70-8e12-6d54d32b01a3" providerId="ADAL" clId="{48ECB617-96D0-4CF8-B8F2-059DAD9F4776}" dt="2023-07-26T09:05:49.271" v="4039" actId="164"/>
          <ac:grpSpMkLst>
            <pc:docMk/>
            <pc:sldMk cId="676178199" sldId="2147471308"/>
            <ac:grpSpMk id="21" creationId="{1F3CBDB3-DA32-0A68-5707-417B5026FBDE}"/>
          </ac:grpSpMkLst>
        </pc:grpChg>
        <pc:grpChg chg="del">
          <ac:chgData name="Paul LEGEARD" userId="73b5704d-da1d-4b70-8e12-6d54d32b01a3" providerId="ADAL" clId="{48ECB617-96D0-4CF8-B8F2-059DAD9F4776}" dt="2023-07-26T07:46:20.558" v="150" actId="478"/>
          <ac:grpSpMkLst>
            <pc:docMk/>
            <pc:sldMk cId="676178199" sldId="2147471308"/>
            <ac:grpSpMk id="39" creationId="{5035A8E9-D3BD-EE8A-49D1-280244404E50}"/>
          </ac:grpSpMkLst>
        </pc:grpChg>
        <pc:grpChg chg="del">
          <ac:chgData name="Paul LEGEARD" userId="73b5704d-da1d-4b70-8e12-6d54d32b01a3" providerId="ADAL" clId="{48ECB617-96D0-4CF8-B8F2-059DAD9F4776}" dt="2023-07-26T07:46:20.558" v="150" actId="478"/>
          <ac:grpSpMkLst>
            <pc:docMk/>
            <pc:sldMk cId="676178199" sldId="2147471308"/>
            <ac:grpSpMk id="40" creationId="{694A0649-7007-5667-C9A0-84056CF8E6DC}"/>
          </ac:grpSpMkLst>
        </pc:grpChg>
        <pc:grpChg chg="del">
          <ac:chgData name="Paul LEGEARD" userId="73b5704d-da1d-4b70-8e12-6d54d32b01a3" providerId="ADAL" clId="{48ECB617-96D0-4CF8-B8F2-059DAD9F4776}" dt="2023-07-26T07:46:20.558" v="150" actId="478"/>
          <ac:grpSpMkLst>
            <pc:docMk/>
            <pc:sldMk cId="676178199" sldId="2147471308"/>
            <ac:grpSpMk id="41" creationId="{604FE3CD-4952-5409-F5CC-88FD21E61984}"/>
          </ac:grpSpMkLst>
        </pc:grpChg>
        <pc:grpChg chg="del">
          <ac:chgData name="Paul LEGEARD" userId="73b5704d-da1d-4b70-8e12-6d54d32b01a3" providerId="ADAL" clId="{48ECB617-96D0-4CF8-B8F2-059DAD9F4776}" dt="2023-07-26T07:46:20.558" v="150" actId="478"/>
          <ac:grpSpMkLst>
            <pc:docMk/>
            <pc:sldMk cId="676178199" sldId="2147471308"/>
            <ac:grpSpMk id="42" creationId="{CAACC4AA-8A85-8EB2-E22F-11C27F01DA3C}"/>
          </ac:grpSpMkLst>
        </pc:grpChg>
        <pc:grpChg chg="add mod">
          <ac:chgData name="Paul LEGEARD" userId="73b5704d-da1d-4b70-8e12-6d54d32b01a3" providerId="ADAL" clId="{48ECB617-96D0-4CF8-B8F2-059DAD9F4776}" dt="2023-07-26T08:35:25.920" v="1889" actId="554"/>
          <ac:grpSpMkLst>
            <pc:docMk/>
            <pc:sldMk cId="676178199" sldId="2147471308"/>
            <ac:grpSpMk id="84" creationId="{37A3BA35-D65F-5153-4D5F-AF2A35A2D01E}"/>
          </ac:grpSpMkLst>
        </pc:grpChg>
        <pc:grpChg chg="add mod">
          <ac:chgData name="Paul LEGEARD" userId="73b5704d-da1d-4b70-8e12-6d54d32b01a3" providerId="ADAL" clId="{48ECB617-96D0-4CF8-B8F2-059DAD9F4776}" dt="2023-07-26T08:35:30.495" v="1903" actId="1037"/>
          <ac:grpSpMkLst>
            <pc:docMk/>
            <pc:sldMk cId="676178199" sldId="2147471308"/>
            <ac:grpSpMk id="85" creationId="{4D4CC50A-4C82-CA11-3076-9EC7BB2E1F4B}"/>
          </ac:grpSpMkLst>
        </pc:grpChg>
        <pc:grpChg chg="add del mod">
          <ac:chgData name="Paul LEGEARD" userId="73b5704d-da1d-4b70-8e12-6d54d32b01a3" providerId="ADAL" clId="{48ECB617-96D0-4CF8-B8F2-059DAD9F4776}" dt="2023-07-26T08:38:35.828" v="2060" actId="165"/>
          <ac:grpSpMkLst>
            <pc:docMk/>
            <pc:sldMk cId="676178199" sldId="2147471308"/>
            <ac:grpSpMk id="86" creationId="{7DA8D024-901F-9E10-DFB0-215E524022C8}"/>
          </ac:grpSpMkLst>
        </pc:grpChg>
        <pc:grpChg chg="add mod">
          <ac:chgData name="Paul LEGEARD" userId="73b5704d-da1d-4b70-8e12-6d54d32b01a3" providerId="ADAL" clId="{48ECB617-96D0-4CF8-B8F2-059DAD9F4776}" dt="2023-07-26T08:40:28.079" v="2191" actId="164"/>
          <ac:grpSpMkLst>
            <pc:docMk/>
            <pc:sldMk cId="676178199" sldId="2147471308"/>
            <ac:grpSpMk id="95" creationId="{B5358DD1-B4B4-195D-8095-FCADBE0D5FDF}"/>
          </ac:grpSpMkLst>
        </pc:grpChg>
        <pc:grpChg chg="add mod">
          <ac:chgData name="Paul LEGEARD" userId="73b5704d-da1d-4b70-8e12-6d54d32b01a3" providerId="ADAL" clId="{48ECB617-96D0-4CF8-B8F2-059DAD9F4776}" dt="2023-07-26T08:41:33.562" v="2312" actId="164"/>
          <ac:grpSpMkLst>
            <pc:docMk/>
            <pc:sldMk cId="676178199" sldId="2147471308"/>
            <ac:grpSpMk id="100" creationId="{377EC751-52A0-C9BA-7148-39A4C6425BAF}"/>
          </ac:grpSpMkLst>
        </pc:grpChg>
        <pc:grpChg chg="add mod">
          <ac:chgData name="Paul LEGEARD" userId="73b5704d-da1d-4b70-8e12-6d54d32b01a3" providerId="ADAL" clId="{48ECB617-96D0-4CF8-B8F2-059DAD9F4776}" dt="2023-07-26T08:41:38.574" v="2313" actId="164"/>
          <ac:grpSpMkLst>
            <pc:docMk/>
            <pc:sldMk cId="676178199" sldId="2147471308"/>
            <ac:grpSpMk id="101" creationId="{844BA70C-A6E6-E2FC-B599-8A69572A392B}"/>
          </ac:grpSpMkLst>
        </pc:grpChg>
        <pc:grpChg chg="add mod">
          <ac:chgData name="Paul LEGEARD" userId="73b5704d-da1d-4b70-8e12-6d54d32b01a3" providerId="ADAL" clId="{48ECB617-96D0-4CF8-B8F2-059DAD9F4776}" dt="2023-07-26T09:05:49.271" v="4039" actId="164"/>
          <ac:grpSpMkLst>
            <pc:docMk/>
            <pc:sldMk cId="676178199" sldId="2147471308"/>
            <ac:grpSpMk id="111" creationId="{2444B336-7F46-B935-0D27-542E5AEF459C}"/>
          </ac:grpSpMkLst>
        </pc:grpChg>
        <pc:grpChg chg="add mod">
          <ac:chgData name="Paul LEGEARD" userId="73b5704d-da1d-4b70-8e12-6d54d32b01a3" providerId="ADAL" clId="{48ECB617-96D0-4CF8-B8F2-059DAD9F4776}" dt="2023-07-26T09:05:54.840" v="4040" actId="164"/>
          <ac:grpSpMkLst>
            <pc:docMk/>
            <pc:sldMk cId="676178199" sldId="2147471308"/>
            <ac:grpSpMk id="112" creationId="{C0992C37-88C5-1DD3-FECC-6305F998FD8E}"/>
          </ac:grpSpMkLst>
        </pc:grpChg>
        <pc:grpChg chg="add mod">
          <ac:chgData name="Paul LEGEARD" userId="73b5704d-da1d-4b70-8e12-6d54d32b01a3" providerId="ADAL" clId="{48ECB617-96D0-4CF8-B8F2-059DAD9F4776}" dt="2023-07-26T09:05:59.651" v="4041" actId="164"/>
          <ac:grpSpMkLst>
            <pc:docMk/>
            <pc:sldMk cId="676178199" sldId="2147471308"/>
            <ac:grpSpMk id="116" creationId="{D6BCD494-0A7A-A846-960A-821068C96FD2}"/>
          </ac:grpSpMkLst>
        </pc:grpChg>
        <pc:grpChg chg="add mod">
          <ac:chgData name="Paul LEGEARD" userId="73b5704d-da1d-4b70-8e12-6d54d32b01a3" providerId="ADAL" clId="{48ECB617-96D0-4CF8-B8F2-059DAD9F4776}" dt="2023-07-26T09:06:04.347" v="4042" actId="164"/>
          <ac:grpSpMkLst>
            <pc:docMk/>
            <pc:sldMk cId="676178199" sldId="2147471308"/>
            <ac:grpSpMk id="120" creationId="{9AC7066F-4FB2-5907-6FE4-C486EB5FBBA5}"/>
          </ac:grpSpMkLst>
        </pc:grpChg>
        <pc:grpChg chg="add mod">
          <ac:chgData name="Paul LEGEARD" userId="73b5704d-da1d-4b70-8e12-6d54d32b01a3" providerId="ADAL" clId="{48ECB617-96D0-4CF8-B8F2-059DAD9F4776}" dt="2023-07-26T09:07:25.779" v="4110" actId="1076"/>
          <ac:grpSpMkLst>
            <pc:docMk/>
            <pc:sldMk cId="676178199" sldId="2147471308"/>
            <ac:grpSpMk id="124" creationId="{4D62AD86-206E-19DC-A681-D1AC1C44C040}"/>
          </ac:grpSpMkLst>
        </pc:grpChg>
        <pc:grpChg chg="add mod">
          <ac:chgData name="Paul LEGEARD" userId="73b5704d-da1d-4b70-8e12-6d54d32b01a3" providerId="ADAL" clId="{48ECB617-96D0-4CF8-B8F2-059DAD9F4776}" dt="2023-07-26T09:05:54.840" v="4040" actId="164"/>
          <ac:grpSpMkLst>
            <pc:docMk/>
            <pc:sldMk cId="676178199" sldId="2147471308"/>
            <ac:grpSpMk id="131" creationId="{B041AB4E-1905-ED54-ABFC-4BF5EABEE6C0}"/>
          </ac:grpSpMkLst>
        </pc:grpChg>
        <pc:grpChg chg="add mod">
          <ac:chgData name="Paul LEGEARD" userId="73b5704d-da1d-4b70-8e12-6d54d32b01a3" providerId="ADAL" clId="{48ECB617-96D0-4CF8-B8F2-059DAD9F4776}" dt="2023-07-26T09:05:59.651" v="4041" actId="164"/>
          <ac:grpSpMkLst>
            <pc:docMk/>
            <pc:sldMk cId="676178199" sldId="2147471308"/>
            <ac:grpSpMk id="138" creationId="{DEE309BC-1D5A-1549-912F-A7E4A8248A68}"/>
          </ac:grpSpMkLst>
        </pc:grpChg>
        <pc:grpChg chg="add mod">
          <ac:chgData name="Paul LEGEARD" userId="73b5704d-da1d-4b70-8e12-6d54d32b01a3" providerId="ADAL" clId="{48ECB617-96D0-4CF8-B8F2-059DAD9F4776}" dt="2023-07-26T09:05:24.851" v="4038" actId="1076"/>
          <ac:grpSpMkLst>
            <pc:docMk/>
            <pc:sldMk cId="676178199" sldId="2147471308"/>
            <ac:grpSpMk id="143" creationId="{0A008D09-D710-5BB5-6F94-800C9481FD54}"/>
          </ac:grpSpMkLst>
        </pc:grpChg>
        <pc:grpChg chg="add mod">
          <ac:chgData name="Paul LEGEARD" userId="73b5704d-da1d-4b70-8e12-6d54d32b01a3" providerId="ADAL" clId="{48ECB617-96D0-4CF8-B8F2-059DAD9F4776}" dt="2023-07-26T09:05:49.271" v="4039" actId="164"/>
          <ac:grpSpMkLst>
            <pc:docMk/>
            <pc:sldMk cId="676178199" sldId="2147471308"/>
            <ac:grpSpMk id="147" creationId="{FF3164B5-2D25-5455-2D7E-CE106761313B}"/>
          </ac:grpSpMkLst>
        </pc:grpChg>
        <pc:grpChg chg="add mod">
          <ac:chgData name="Paul LEGEARD" userId="73b5704d-da1d-4b70-8e12-6d54d32b01a3" providerId="ADAL" clId="{48ECB617-96D0-4CF8-B8F2-059DAD9F4776}" dt="2023-07-26T09:05:54.840" v="4040" actId="164"/>
          <ac:grpSpMkLst>
            <pc:docMk/>
            <pc:sldMk cId="676178199" sldId="2147471308"/>
            <ac:grpSpMk id="148" creationId="{18A95DEC-F387-0C3F-ABE3-F0E96AF15BB0}"/>
          </ac:grpSpMkLst>
        </pc:grpChg>
        <pc:grpChg chg="add mod">
          <ac:chgData name="Paul LEGEARD" userId="73b5704d-da1d-4b70-8e12-6d54d32b01a3" providerId="ADAL" clId="{48ECB617-96D0-4CF8-B8F2-059DAD9F4776}" dt="2023-07-26T09:05:59.651" v="4041" actId="164"/>
          <ac:grpSpMkLst>
            <pc:docMk/>
            <pc:sldMk cId="676178199" sldId="2147471308"/>
            <ac:grpSpMk id="149" creationId="{7F44572C-1DA9-23B1-B4D1-51F8611F2307}"/>
          </ac:grpSpMkLst>
        </pc:grpChg>
        <pc:grpChg chg="add mod">
          <ac:chgData name="Paul LEGEARD" userId="73b5704d-da1d-4b70-8e12-6d54d32b01a3" providerId="ADAL" clId="{48ECB617-96D0-4CF8-B8F2-059DAD9F4776}" dt="2023-07-26T09:06:04.347" v="4042" actId="164"/>
          <ac:grpSpMkLst>
            <pc:docMk/>
            <pc:sldMk cId="676178199" sldId="2147471308"/>
            <ac:grpSpMk id="150" creationId="{FC23FA13-596D-1FCA-F241-65F57C55207A}"/>
          </ac:grpSpMkLst>
        </pc:grpChg>
        <pc:grpChg chg="add mod">
          <ac:chgData name="Paul LEGEARD" userId="73b5704d-da1d-4b70-8e12-6d54d32b01a3" providerId="ADAL" clId="{48ECB617-96D0-4CF8-B8F2-059DAD9F4776}" dt="2023-07-26T09:07:25.779" v="4110" actId="1076"/>
          <ac:grpSpMkLst>
            <pc:docMk/>
            <pc:sldMk cId="676178199" sldId="2147471308"/>
            <ac:grpSpMk id="151" creationId="{6B3DECA7-2CBD-D28B-2482-53603AAD1C13}"/>
          </ac:grpSpMkLst>
        </pc:grpChg>
        <pc:graphicFrameChg chg="add del mod">
          <ac:chgData name="Paul LEGEARD" userId="73b5704d-da1d-4b70-8e12-6d54d32b01a3" providerId="ADAL" clId="{48ECB617-96D0-4CF8-B8F2-059DAD9F4776}" dt="2023-07-26T09:06:36.733" v="4082" actId="478"/>
          <ac:graphicFrameMkLst>
            <pc:docMk/>
            <pc:sldMk cId="676178199" sldId="2147471308"/>
            <ac:graphicFrameMk id="103" creationId="{A79C4120-4F89-48DB-66A3-04D7865D2B37}"/>
          </ac:graphicFrameMkLst>
        </pc:graphicFrameChg>
        <pc:picChg chg="del">
          <ac:chgData name="Paul LEGEARD" userId="73b5704d-da1d-4b70-8e12-6d54d32b01a3" providerId="ADAL" clId="{48ECB617-96D0-4CF8-B8F2-059DAD9F4776}" dt="2023-07-26T07:46:20.558" v="150" actId="478"/>
          <ac:picMkLst>
            <pc:docMk/>
            <pc:sldMk cId="676178199" sldId="2147471308"/>
            <ac:picMk id="4" creationId="{05DF792A-8CA8-0C06-7BCA-69D57CEE02DF}"/>
          </ac:picMkLst>
        </pc:picChg>
        <pc:picChg chg="del">
          <ac:chgData name="Paul LEGEARD" userId="73b5704d-da1d-4b70-8e12-6d54d32b01a3" providerId="ADAL" clId="{48ECB617-96D0-4CF8-B8F2-059DAD9F4776}" dt="2023-07-26T07:46:20.558" v="150" actId="478"/>
          <ac:picMkLst>
            <pc:docMk/>
            <pc:sldMk cId="676178199" sldId="2147471308"/>
            <ac:picMk id="5" creationId="{611BEB46-7FB6-8674-FA39-A6AF4FF71664}"/>
          </ac:picMkLst>
        </pc:picChg>
        <pc:picChg chg="del">
          <ac:chgData name="Paul LEGEARD" userId="73b5704d-da1d-4b70-8e12-6d54d32b01a3" providerId="ADAL" clId="{48ECB617-96D0-4CF8-B8F2-059DAD9F4776}" dt="2023-07-26T07:46:20.558" v="150" actId="478"/>
          <ac:picMkLst>
            <pc:docMk/>
            <pc:sldMk cId="676178199" sldId="2147471308"/>
            <ac:picMk id="6" creationId="{257DE536-6435-F07D-803A-360D3EC34443}"/>
          </ac:picMkLst>
        </pc:picChg>
        <pc:picChg chg="del">
          <ac:chgData name="Paul LEGEARD" userId="73b5704d-da1d-4b70-8e12-6d54d32b01a3" providerId="ADAL" clId="{48ECB617-96D0-4CF8-B8F2-059DAD9F4776}" dt="2023-07-26T07:46:20.558" v="150" actId="478"/>
          <ac:picMkLst>
            <pc:docMk/>
            <pc:sldMk cId="676178199" sldId="2147471308"/>
            <ac:picMk id="7" creationId="{1C14A8FF-7B92-6150-10A3-B2795949EA9B}"/>
          </ac:picMkLst>
        </pc:picChg>
        <pc:picChg chg="del">
          <ac:chgData name="Paul LEGEARD" userId="73b5704d-da1d-4b70-8e12-6d54d32b01a3" providerId="ADAL" clId="{48ECB617-96D0-4CF8-B8F2-059DAD9F4776}" dt="2023-07-26T07:46:20.558" v="150" actId="478"/>
          <ac:picMkLst>
            <pc:docMk/>
            <pc:sldMk cId="676178199" sldId="2147471308"/>
            <ac:picMk id="15" creationId="{09C3F587-9751-CCB0-0CD3-3EB1E7ECBA60}"/>
          </ac:picMkLst>
        </pc:picChg>
        <pc:picChg chg="del">
          <ac:chgData name="Paul LEGEARD" userId="73b5704d-da1d-4b70-8e12-6d54d32b01a3" providerId="ADAL" clId="{48ECB617-96D0-4CF8-B8F2-059DAD9F4776}" dt="2023-07-26T07:46:20.558" v="150" actId="478"/>
          <ac:picMkLst>
            <pc:docMk/>
            <pc:sldMk cId="676178199" sldId="2147471308"/>
            <ac:picMk id="17" creationId="{EF9847B9-A517-008C-5C5E-A2BC3E541EAC}"/>
          </ac:picMkLst>
        </pc:picChg>
        <pc:picChg chg="del">
          <ac:chgData name="Paul LEGEARD" userId="73b5704d-da1d-4b70-8e12-6d54d32b01a3" providerId="ADAL" clId="{48ECB617-96D0-4CF8-B8F2-059DAD9F4776}" dt="2023-07-26T07:46:20.558" v="150" actId="478"/>
          <ac:picMkLst>
            <pc:docMk/>
            <pc:sldMk cId="676178199" sldId="2147471308"/>
            <ac:picMk id="56" creationId="{F36D1BD7-2516-28BC-4176-E016C917CF65}"/>
          </ac:picMkLst>
        </pc:picChg>
        <pc:picChg chg="add del mod">
          <ac:chgData name="Paul LEGEARD" userId="73b5704d-da1d-4b70-8e12-6d54d32b01a3" providerId="ADAL" clId="{48ECB617-96D0-4CF8-B8F2-059DAD9F4776}" dt="2023-07-26T08:29:42.118" v="1328" actId="478"/>
          <ac:picMkLst>
            <pc:docMk/>
            <pc:sldMk cId="676178199" sldId="2147471308"/>
            <ac:picMk id="67" creationId="{497D5DC7-B5EA-5D1C-F369-66ECABC30CCD}"/>
          </ac:picMkLst>
        </pc:picChg>
        <pc:picChg chg="add mod">
          <ac:chgData name="Paul LEGEARD" userId="73b5704d-da1d-4b70-8e12-6d54d32b01a3" providerId="ADAL" clId="{48ECB617-96D0-4CF8-B8F2-059DAD9F4776}" dt="2023-07-26T08:35:30.495" v="1903" actId="1037"/>
          <ac:picMkLst>
            <pc:docMk/>
            <pc:sldMk cId="676178199" sldId="2147471308"/>
            <ac:picMk id="69" creationId="{38926AFB-D384-1A24-CFAD-D8E970FC0425}"/>
          </ac:picMkLst>
        </pc:picChg>
        <pc:picChg chg="add del mod">
          <ac:chgData name="Paul LEGEARD" userId="73b5704d-da1d-4b70-8e12-6d54d32b01a3" providerId="ADAL" clId="{48ECB617-96D0-4CF8-B8F2-059DAD9F4776}" dt="2023-07-26T08:34:09.141" v="1796" actId="478"/>
          <ac:picMkLst>
            <pc:docMk/>
            <pc:sldMk cId="676178199" sldId="2147471308"/>
            <ac:picMk id="72" creationId="{7E8BBF47-350A-24F1-BC55-24086AAB1C2D}"/>
          </ac:picMkLst>
        </pc:picChg>
        <pc:picChg chg="add del mod">
          <ac:chgData name="Paul LEGEARD" userId="73b5704d-da1d-4b70-8e12-6d54d32b01a3" providerId="ADAL" clId="{48ECB617-96D0-4CF8-B8F2-059DAD9F4776}" dt="2023-07-26T08:35:06.931" v="1863" actId="478"/>
          <ac:picMkLst>
            <pc:docMk/>
            <pc:sldMk cId="676178199" sldId="2147471308"/>
            <ac:picMk id="76" creationId="{1FC65183-EF61-6496-1F86-D7C076E22F10}"/>
          </ac:picMkLst>
        </pc:picChg>
        <pc:picChg chg="add del mod">
          <ac:chgData name="Paul LEGEARD" userId="73b5704d-da1d-4b70-8e12-6d54d32b01a3" providerId="ADAL" clId="{48ECB617-96D0-4CF8-B8F2-059DAD9F4776}" dt="2023-07-26T08:35:06.931" v="1863" actId="478"/>
          <ac:picMkLst>
            <pc:docMk/>
            <pc:sldMk cId="676178199" sldId="2147471308"/>
            <ac:picMk id="81" creationId="{A9F1534A-C620-DD32-F676-F85A671CE362}"/>
          </ac:picMkLst>
        </pc:picChg>
        <pc:picChg chg="del mod">
          <ac:chgData name="Paul LEGEARD" userId="73b5704d-da1d-4b70-8e12-6d54d32b01a3" providerId="ADAL" clId="{48ECB617-96D0-4CF8-B8F2-059DAD9F4776}" dt="2023-07-26T08:35:47.528" v="1922" actId="478"/>
          <ac:picMkLst>
            <pc:docMk/>
            <pc:sldMk cId="676178199" sldId="2147471308"/>
            <ac:picMk id="89" creationId="{D032D93D-C1D3-1C8B-7A7A-ABB798A372A9}"/>
          </ac:picMkLst>
        </pc:picChg>
        <pc:picChg chg="add del mod">
          <ac:chgData name="Paul LEGEARD" userId="73b5704d-da1d-4b70-8e12-6d54d32b01a3" providerId="ADAL" clId="{48ECB617-96D0-4CF8-B8F2-059DAD9F4776}" dt="2023-07-26T08:39:31.009" v="2087" actId="478"/>
          <ac:picMkLst>
            <pc:docMk/>
            <pc:sldMk cId="676178199" sldId="2147471308"/>
            <ac:picMk id="94" creationId="{6D128D65-4E78-1257-5B91-8A5FA85B8E05}"/>
          </ac:picMkLst>
        </pc:picChg>
        <pc:picChg chg="add del mod">
          <ac:chgData name="Paul LEGEARD" userId="73b5704d-da1d-4b70-8e12-6d54d32b01a3" providerId="ADAL" clId="{48ECB617-96D0-4CF8-B8F2-059DAD9F4776}" dt="2023-07-26T08:41:07.317" v="2297" actId="478"/>
          <ac:picMkLst>
            <pc:docMk/>
            <pc:sldMk cId="676178199" sldId="2147471308"/>
            <ac:picMk id="99" creationId="{566CC4C2-5BAF-AEEF-296D-EDC1E9F01B44}"/>
          </ac:picMkLst>
        </pc:picChg>
        <pc:picChg chg="add del mod">
          <ac:chgData name="Paul LEGEARD" userId="73b5704d-da1d-4b70-8e12-6d54d32b01a3" providerId="ADAL" clId="{48ECB617-96D0-4CF8-B8F2-059DAD9F4776}" dt="2023-07-26T09:06:36.733" v="4082" actId="478"/>
          <ac:picMkLst>
            <pc:docMk/>
            <pc:sldMk cId="676178199" sldId="2147471308"/>
            <ac:picMk id="104" creationId="{814E3078-486B-DDD7-E7ED-17A8DB9984D7}"/>
          </ac:picMkLst>
        </pc:picChg>
        <pc:picChg chg="add del mod">
          <ac:chgData name="Paul LEGEARD" userId="73b5704d-da1d-4b70-8e12-6d54d32b01a3" providerId="ADAL" clId="{48ECB617-96D0-4CF8-B8F2-059DAD9F4776}" dt="2023-07-26T09:06:36.733" v="4082" actId="478"/>
          <ac:picMkLst>
            <pc:docMk/>
            <pc:sldMk cId="676178199" sldId="2147471308"/>
            <ac:picMk id="105" creationId="{A5A16B6F-6563-70AB-9E49-66632B43168F}"/>
          </ac:picMkLst>
        </pc:picChg>
        <pc:picChg chg="add del mod">
          <ac:chgData name="Paul LEGEARD" userId="73b5704d-da1d-4b70-8e12-6d54d32b01a3" providerId="ADAL" clId="{48ECB617-96D0-4CF8-B8F2-059DAD9F4776}" dt="2023-07-26T09:06:36.733" v="4082" actId="478"/>
          <ac:picMkLst>
            <pc:docMk/>
            <pc:sldMk cId="676178199" sldId="2147471308"/>
            <ac:picMk id="106" creationId="{EE40D625-2AD6-621A-88DC-A55713B867F1}"/>
          </ac:picMkLst>
        </pc:picChg>
        <pc:picChg chg="add del mod">
          <ac:chgData name="Paul LEGEARD" userId="73b5704d-da1d-4b70-8e12-6d54d32b01a3" providerId="ADAL" clId="{48ECB617-96D0-4CF8-B8F2-059DAD9F4776}" dt="2023-07-26T09:04:14.606" v="4021" actId="478"/>
          <ac:picMkLst>
            <pc:docMk/>
            <pc:sldMk cId="676178199" sldId="2147471308"/>
            <ac:picMk id="109" creationId="{387EA0F0-A110-A4FB-55C5-0B7D5229FE23}"/>
          </ac:picMkLst>
        </pc:picChg>
        <pc:picChg chg="del mod">
          <ac:chgData name="Paul LEGEARD" userId="73b5704d-da1d-4b70-8e12-6d54d32b01a3" providerId="ADAL" clId="{48ECB617-96D0-4CF8-B8F2-059DAD9F4776}" dt="2023-07-26T09:04:17.298" v="4022" actId="478"/>
          <ac:picMkLst>
            <pc:docMk/>
            <pc:sldMk cId="676178199" sldId="2147471308"/>
            <ac:picMk id="115" creationId="{9C299CCF-224B-E669-B426-F969497DCD54}"/>
          </ac:picMkLst>
        </pc:picChg>
        <pc:picChg chg="del mod">
          <ac:chgData name="Paul LEGEARD" userId="73b5704d-da1d-4b70-8e12-6d54d32b01a3" providerId="ADAL" clId="{48ECB617-96D0-4CF8-B8F2-059DAD9F4776}" dt="2023-07-26T09:04:21.123" v="4023" actId="478"/>
          <ac:picMkLst>
            <pc:docMk/>
            <pc:sldMk cId="676178199" sldId="2147471308"/>
            <ac:picMk id="119" creationId="{23CCE41D-0DB5-4BAC-1662-DC280144F683}"/>
          </ac:picMkLst>
        </pc:picChg>
        <pc:picChg chg="del mod">
          <ac:chgData name="Paul LEGEARD" userId="73b5704d-da1d-4b70-8e12-6d54d32b01a3" providerId="ADAL" clId="{48ECB617-96D0-4CF8-B8F2-059DAD9F4776}" dt="2023-07-26T09:02:18.929" v="3863" actId="478"/>
          <ac:picMkLst>
            <pc:docMk/>
            <pc:sldMk cId="676178199" sldId="2147471308"/>
            <ac:picMk id="123" creationId="{95DE8EC0-6631-0724-1CF7-D9662B1CF2FD}"/>
          </ac:picMkLst>
        </pc:picChg>
        <pc:picChg chg="del mod">
          <ac:chgData name="Paul LEGEARD" userId="73b5704d-da1d-4b70-8e12-6d54d32b01a3" providerId="ADAL" clId="{48ECB617-96D0-4CF8-B8F2-059DAD9F4776}" dt="2023-07-26T09:03:58.276" v="4003" actId="478"/>
          <ac:picMkLst>
            <pc:docMk/>
            <pc:sldMk cId="676178199" sldId="2147471308"/>
            <ac:picMk id="127" creationId="{4456E555-C34C-E4F8-E04A-C73CA0F6B060}"/>
          </ac:picMkLst>
        </pc:picChg>
        <pc:picChg chg="add mod">
          <ac:chgData name="Paul LEGEARD" userId="73b5704d-da1d-4b70-8e12-6d54d32b01a3" providerId="ADAL" clId="{48ECB617-96D0-4CF8-B8F2-059DAD9F4776}" dt="2023-07-26T09:07:31.840" v="4111"/>
          <ac:picMkLst>
            <pc:docMk/>
            <pc:sldMk cId="676178199" sldId="2147471308"/>
            <ac:picMk id="130" creationId="{39110FC8-2FAA-2621-32B9-6A8E1948B35E}"/>
          </ac:picMkLst>
        </pc:picChg>
        <pc:picChg chg="add del mod">
          <ac:chgData name="Paul LEGEARD" userId="73b5704d-da1d-4b70-8e12-6d54d32b01a3" providerId="ADAL" clId="{48ECB617-96D0-4CF8-B8F2-059DAD9F4776}" dt="2023-07-26T09:06:14.477" v="4044" actId="478"/>
          <ac:picMkLst>
            <pc:docMk/>
            <pc:sldMk cId="676178199" sldId="2147471308"/>
            <ac:picMk id="146" creationId="{E88E567A-186C-80E4-CE05-F103C7E1C208}"/>
          </ac:picMkLst>
        </pc:picChg>
        <pc:picChg chg="add mod">
          <ac:chgData name="Paul LEGEARD" userId="73b5704d-da1d-4b70-8e12-6d54d32b01a3" providerId="ADAL" clId="{48ECB617-96D0-4CF8-B8F2-059DAD9F4776}" dt="2023-07-26T09:07:22.543" v="4108"/>
          <ac:picMkLst>
            <pc:docMk/>
            <pc:sldMk cId="676178199" sldId="2147471308"/>
            <ac:picMk id="152" creationId="{5E2772B7-3B6B-4F35-6728-F01AC38A6A20}"/>
          </ac:picMkLst>
        </pc:picChg>
        <pc:picChg chg="add mod">
          <ac:chgData name="Paul LEGEARD" userId="73b5704d-da1d-4b70-8e12-6d54d32b01a3" providerId="ADAL" clId="{48ECB617-96D0-4CF8-B8F2-059DAD9F4776}" dt="2023-07-26T08:35:25.920" v="1889" actId="554"/>
          <ac:picMkLst>
            <pc:docMk/>
            <pc:sldMk cId="676178199" sldId="2147471308"/>
            <ac:picMk id="2050" creationId="{3CC10AA9-00A7-EECD-ABB2-AADA2C744141}"/>
          </ac:picMkLst>
        </pc:picChg>
        <pc:picChg chg="add del mod">
          <ac:chgData name="Paul LEGEARD" userId="73b5704d-da1d-4b70-8e12-6d54d32b01a3" providerId="ADAL" clId="{48ECB617-96D0-4CF8-B8F2-059DAD9F4776}" dt="2023-07-26T08:41:40.636" v="2314" actId="478"/>
          <ac:picMkLst>
            <pc:docMk/>
            <pc:sldMk cId="676178199" sldId="2147471308"/>
            <ac:picMk id="2051" creationId="{3197698B-92B4-1D05-FFD3-0D921541E97E}"/>
          </ac:picMkLst>
        </pc:picChg>
        <pc:picChg chg="add mod">
          <ac:chgData name="Paul LEGEARD" userId="73b5704d-da1d-4b70-8e12-6d54d32b01a3" providerId="ADAL" clId="{48ECB617-96D0-4CF8-B8F2-059DAD9F4776}" dt="2023-07-26T08:40:28.079" v="2191" actId="164"/>
          <ac:picMkLst>
            <pc:docMk/>
            <pc:sldMk cId="676178199" sldId="2147471308"/>
            <ac:picMk id="2052" creationId="{DBB638F2-210E-D30B-13B0-5DF6886100BB}"/>
          </ac:picMkLst>
        </pc:picChg>
        <pc:picChg chg="add mod">
          <ac:chgData name="Paul LEGEARD" userId="73b5704d-da1d-4b70-8e12-6d54d32b01a3" providerId="ADAL" clId="{48ECB617-96D0-4CF8-B8F2-059DAD9F4776}" dt="2023-07-26T08:41:33.562" v="2312" actId="164"/>
          <ac:picMkLst>
            <pc:docMk/>
            <pc:sldMk cId="676178199" sldId="2147471308"/>
            <ac:picMk id="2054" creationId="{2D5A360C-0D60-6960-742D-8B14671BB58A}"/>
          </ac:picMkLst>
        </pc:picChg>
        <pc:picChg chg="add mod">
          <ac:chgData name="Paul LEGEARD" userId="73b5704d-da1d-4b70-8e12-6d54d32b01a3" providerId="ADAL" clId="{48ECB617-96D0-4CF8-B8F2-059DAD9F4776}" dt="2023-07-26T08:41:38.574" v="2313" actId="164"/>
          <ac:picMkLst>
            <pc:docMk/>
            <pc:sldMk cId="676178199" sldId="2147471308"/>
            <ac:picMk id="2056" creationId="{58F0EF2C-CAE4-9B28-A49F-14771131E86B}"/>
          </ac:picMkLst>
        </pc:picChg>
        <pc:picChg chg="add mod">
          <ac:chgData name="Paul LEGEARD" userId="73b5704d-da1d-4b70-8e12-6d54d32b01a3" providerId="ADAL" clId="{48ECB617-96D0-4CF8-B8F2-059DAD9F4776}" dt="2023-07-26T09:07:25.779" v="4110" actId="1076"/>
          <ac:picMkLst>
            <pc:docMk/>
            <pc:sldMk cId="676178199" sldId="2147471308"/>
            <ac:picMk id="2058" creationId="{371DE01A-2B50-4B31-07A5-CD9CD39EEBC5}"/>
          </ac:picMkLst>
        </pc:picChg>
        <pc:cxnChg chg="del">
          <ac:chgData name="Paul LEGEARD" userId="73b5704d-da1d-4b70-8e12-6d54d32b01a3" providerId="ADAL" clId="{48ECB617-96D0-4CF8-B8F2-059DAD9F4776}" dt="2023-07-26T07:46:20.558" v="150" actId="478"/>
          <ac:cxnSpMkLst>
            <pc:docMk/>
            <pc:sldMk cId="676178199" sldId="2147471308"/>
            <ac:cxnSpMk id="32" creationId="{4547ABFA-43AE-C704-9B64-DD90F2605276}"/>
          </ac:cxnSpMkLst>
        </pc:cxnChg>
        <pc:cxnChg chg="del">
          <ac:chgData name="Paul LEGEARD" userId="73b5704d-da1d-4b70-8e12-6d54d32b01a3" providerId="ADAL" clId="{48ECB617-96D0-4CF8-B8F2-059DAD9F4776}" dt="2023-07-26T07:46:20.558" v="150" actId="478"/>
          <ac:cxnSpMkLst>
            <pc:docMk/>
            <pc:sldMk cId="676178199" sldId="2147471308"/>
            <ac:cxnSpMk id="43" creationId="{71559AE3-35B0-CFFD-C5DF-156B574FE92E}"/>
          </ac:cxnSpMkLst>
        </pc:cxnChg>
        <pc:cxnChg chg="del">
          <ac:chgData name="Paul LEGEARD" userId="73b5704d-da1d-4b70-8e12-6d54d32b01a3" providerId="ADAL" clId="{48ECB617-96D0-4CF8-B8F2-059DAD9F4776}" dt="2023-07-26T07:46:20.558" v="150" actId="478"/>
          <ac:cxnSpMkLst>
            <pc:docMk/>
            <pc:sldMk cId="676178199" sldId="2147471308"/>
            <ac:cxnSpMk id="45" creationId="{7126B096-8B7E-D92D-016B-75299711F589}"/>
          </ac:cxnSpMkLst>
        </pc:cxnChg>
        <pc:cxnChg chg="add mod">
          <ac:chgData name="Paul LEGEARD" userId="73b5704d-da1d-4b70-8e12-6d54d32b01a3" providerId="ADAL" clId="{48ECB617-96D0-4CF8-B8F2-059DAD9F4776}" dt="2023-07-26T09:01:31.605" v="3770" actId="14100"/>
          <ac:cxnSpMkLst>
            <pc:docMk/>
            <pc:sldMk cId="676178199" sldId="2147471308"/>
            <ac:cxnSpMk id="60" creationId="{7BD1BF1F-230B-D82C-80A0-441278E22926}"/>
          </ac:cxnSpMkLst>
        </pc:cxnChg>
      </pc:sldChg>
      <pc:sldChg chg="add del">
        <pc:chgData name="Paul LEGEARD" userId="73b5704d-da1d-4b70-8e12-6d54d32b01a3" providerId="ADAL" clId="{48ECB617-96D0-4CF8-B8F2-059DAD9F4776}" dt="2023-07-26T07:45:50.791" v="71" actId="47"/>
        <pc:sldMkLst>
          <pc:docMk/>
          <pc:sldMk cId="1090538606" sldId="2147471308"/>
        </pc:sldMkLst>
      </pc:sldChg>
      <pc:sldChg chg="addSp delSp modSp add mod">
        <pc:chgData name="Paul LEGEARD" userId="73b5704d-da1d-4b70-8e12-6d54d32b01a3" providerId="ADAL" clId="{48ECB617-96D0-4CF8-B8F2-059DAD9F4776}" dt="2023-07-26T09:06:45.530" v="4083" actId="478"/>
        <pc:sldMkLst>
          <pc:docMk/>
          <pc:sldMk cId="3810706850" sldId="2147471309"/>
        </pc:sldMkLst>
        <pc:spChg chg="add del mod">
          <ac:chgData name="Paul LEGEARD" userId="73b5704d-da1d-4b70-8e12-6d54d32b01a3" providerId="ADAL" clId="{48ECB617-96D0-4CF8-B8F2-059DAD9F4776}" dt="2023-07-26T09:06:45.530" v="4083" actId="478"/>
          <ac:spMkLst>
            <pc:docMk/>
            <pc:sldMk cId="3810706850" sldId="2147471309"/>
            <ac:spMk id="7" creationId="{02996367-3C39-9569-AEA6-BCF12AB6D36A}"/>
          </ac:spMkLst>
        </pc:spChg>
        <pc:spChg chg="mod">
          <ac:chgData name="Paul LEGEARD" userId="73b5704d-da1d-4b70-8e12-6d54d32b01a3" providerId="ADAL" clId="{48ECB617-96D0-4CF8-B8F2-059DAD9F4776}" dt="2023-07-26T08:55:09.887" v="2929" actId="20577"/>
          <ac:spMkLst>
            <pc:docMk/>
            <pc:sldMk cId="3810706850" sldId="2147471309"/>
            <ac:spMk id="10" creationId="{8358D74C-4804-E26A-A663-A72EC1B44D29}"/>
          </ac:spMkLst>
        </pc:spChg>
        <pc:spChg chg="mod">
          <ac:chgData name="Paul LEGEARD" userId="73b5704d-da1d-4b70-8e12-6d54d32b01a3" providerId="ADAL" clId="{48ECB617-96D0-4CF8-B8F2-059DAD9F4776}" dt="2023-07-26T08:52:21.450" v="2465" actId="313"/>
          <ac:spMkLst>
            <pc:docMk/>
            <pc:sldMk cId="3810706850" sldId="2147471309"/>
            <ac:spMk id="79" creationId="{9007893F-DE3F-4277-8B72-135CF4773651}"/>
          </ac:spMkLst>
        </pc:spChg>
        <pc:graphicFrameChg chg="add del mod">
          <ac:chgData name="Paul LEGEARD" userId="73b5704d-da1d-4b70-8e12-6d54d32b01a3" providerId="ADAL" clId="{48ECB617-96D0-4CF8-B8F2-059DAD9F4776}" dt="2023-07-26T09:06:45.530" v="4083" actId="478"/>
          <ac:graphicFrameMkLst>
            <pc:docMk/>
            <pc:sldMk cId="3810706850" sldId="2147471309"/>
            <ac:graphicFrameMk id="3" creationId="{0526DB5A-CD4F-AA98-C039-69C9D41511D1}"/>
          </ac:graphicFrameMkLst>
        </pc:graphicFrameChg>
        <pc:picChg chg="add del mod">
          <ac:chgData name="Paul LEGEARD" userId="73b5704d-da1d-4b70-8e12-6d54d32b01a3" providerId="ADAL" clId="{48ECB617-96D0-4CF8-B8F2-059DAD9F4776}" dt="2023-07-26T09:06:45.530" v="4083" actId="478"/>
          <ac:picMkLst>
            <pc:docMk/>
            <pc:sldMk cId="3810706850" sldId="2147471309"/>
            <ac:picMk id="4" creationId="{1AD56DBB-9B01-1375-E68A-0EC7974B9F78}"/>
          </ac:picMkLst>
        </pc:picChg>
        <pc:picChg chg="add del mod">
          <ac:chgData name="Paul LEGEARD" userId="73b5704d-da1d-4b70-8e12-6d54d32b01a3" providerId="ADAL" clId="{48ECB617-96D0-4CF8-B8F2-059DAD9F4776}" dt="2023-07-26T09:06:45.530" v="4083" actId="478"/>
          <ac:picMkLst>
            <pc:docMk/>
            <pc:sldMk cId="3810706850" sldId="2147471309"/>
            <ac:picMk id="5" creationId="{9B957894-BCB9-25B9-7540-5578078A7492}"/>
          </ac:picMkLst>
        </pc:picChg>
        <pc:picChg chg="add del mod">
          <ac:chgData name="Paul LEGEARD" userId="73b5704d-da1d-4b70-8e12-6d54d32b01a3" providerId="ADAL" clId="{48ECB617-96D0-4CF8-B8F2-059DAD9F4776}" dt="2023-07-26T09:06:45.530" v="4083" actId="478"/>
          <ac:picMkLst>
            <pc:docMk/>
            <pc:sldMk cId="3810706850" sldId="2147471309"/>
            <ac:picMk id="6" creationId="{812042F8-6ADC-2523-1632-6A0A5E67480A}"/>
          </ac:picMkLst>
        </pc:picChg>
      </pc:sldChg>
      <pc:sldChg chg="modSp add mod">
        <pc:chgData name="Paul LEGEARD" userId="73b5704d-da1d-4b70-8e12-6d54d32b01a3" providerId="ADAL" clId="{48ECB617-96D0-4CF8-B8F2-059DAD9F4776}" dt="2023-07-26T08:55:30.429" v="2960" actId="20577"/>
        <pc:sldMkLst>
          <pc:docMk/>
          <pc:sldMk cId="1914982492" sldId="2147471310"/>
        </pc:sldMkLst>
        <pc:spChg chg="mod">
          <ac:chgData name="Paul LEGEARD" userId="73b5704d-da1d-4b70-8e12-6d54d32b01a3" providerId="ADAL" clId="{48ECB617-96D0-4CF8-B8F2-059DAD9F4776}" dt="2023-07-26T08:55:30.429" v="2960" actId="20577"/>
          <ac:spMkLst>
            <pc:docMk/>
            <pc:sldMk cId="1914982492" sldId="2147471310"/>
            <ac:spMk id="10" creationId="{8358D74C-4804-E26A-A663-A72EC1B44D29}"/>
          </ac:spMkLst>
        </pc:spChg>
        <pc:spChg chg="mod">
          <ac:chgData name="Paul LEGEARD" userId="73b5704d-da1d-4b70-8e12-6d54d32b01a3" providerId="ADAL" clId="{48ECB617-96D0-4CF8-B8F2-059DAD9F4776}" dt="2023-07-26T07:56:13.016" v="463" actId="20577"/>
          <ac:spMkLst>
            <pc:docMk/>
            <pc:sldMk cId="1914982492" sldId="2147471310"/>
            <ac:spMk id="79" creationId="{9007893F-DE3F-4277-8B72-135CF4773651}"/>
          </ac:spMkLst>
        </pc:spChg>
      </pc:sldChg>
      <pc:sldChg chg="modSp add mod">
        <pc:chgData name="Paul LEGEARD" userId="73b5704d-da1d-4b70-8e12-6d54d32b01a3" providerId="ADAL" clId="{48ECB617-96D0-4CF8-B8F2-059DAD9F4776}" dt="2023-07-26T08:57:04.044" v="3363" actId="14100"/>
        <pc:sldMkLst>
          <pc:docMk/>
          <pc:sldMk cId="2927294659" sldId="2147471311"/>
        </pc:sldMkLst>
        <pc:spChg chg="mod">
          <ac:chgData name="Paul LEGEARD" userId="73b5704d-da1d-4b70-8e12-6d54d32b01a3" providerId="ADAL" clId="{48ECB617-96D0-4CF8-B8F2-059DAD9F4776}" dt="2023-07-26T08:57:04.044" v="3363" actId="14100"/>
          <ac:spMkLst>
            <pc:docMk/>
            <pc:sldMk cId="2927294659" sldId="2147471311"/>
            <ac:spMk id="10" creationId="{8358D74C-4804-E26A-A663-A72EC1B44D29}"/>
          </ac:spMkLst>
        </pc:spChg>
        <pc:spChg chg="mod">
          <ac:chgData name="Paul LEGEARD" userId="73b5704d-da1d-4b70-8e12-6d54d32b01a3" providerId="ADAL" clId="{48ECB617-96D0-4CF8-B8F2-059DAD9F4776}" dt="2023-07-26T07:56:37.131" v="592" actId="20577"/>
          <ac:spMkLst>
            <pc:docMk/>
            <pc:sldMk cId="2927294659" sldId="2147471311"/>
            <ac:spMk id="79" creationId="{9007893F-DE3F-4277-8B72-135CF4773651}"/>
          </ac:spMkLst>
        </pc:spChg>
      </pc:sldChg>
      <pc:sldChg chg="modSp add mod ord">
        <pc:chgData name="Paul LEGEARD" userId="73b5704d-da1d-4b70-8e12-6d54d32b01a3" providerId="ADAL" clId="{48ECB617-96D0-4CF8-B8F2-059DAD9F4776}" dt="2023-07-26T08:56:19.280" v="3195" actId="20577"/>
        <pc:sldMkLst>
          <pc:docMk/>
          <pc:sldMk cId="2001826884" sldId="2147471312"/>
        </pc:sldMkLst>
        <pc:spChg chg="mod">
          <ac:chgData name="Paul LEGEARD" userId="73b5704d-da1d-4b70-8e12-6d54d32b01a3" providerId="ADAL" clId="{48ECB617-96D0-4CF8-B8F2-059DAD9F4776}" dt="2023-07-26T08:56:19.280" v="3195" actId="20577"/>
          <ac:spMkLst>
            <pc:docMk/>
            <pc:sldMk cId="2001826884" sldId="2147471312"/>
            <ac:spMk id="10" creationId="{8358D74C-4804-E26A-A663-A72EC1B44D29}"/>
          </ac:spMkLst>
        </pc:spChg>
        <pc:spChg chg="mod">
          <ac:chgData name="Paul LEGEARD" userId="73b5704d-da1d-4b70-8e12-6d54d32b01a3" providerId="ADAL" clId="{48ECB617-96D0-4CF8-B8F2-059DAD9F4776}" dt="2023-07-26T08:55:43.188" v="2997" actId="20577"/>
          <ac:spMkLst>
            <pc:docMk/>
            <pc:sldMk cId="2001826884" sldId="2147471312"/>
            <ac:spMk id="79" creationId="{9007893F-DE3F-4277-8B72-135CF4773651}"/>
          </ac:spMkLst>
        </pc:spChg>
      </pc:sldChg>
      <pc:sldChg chg="modSp add mod">
        <pc:chgData name="Paul LEGEARD" userId="73b5704d-da1d-4b70-8e12-6d54d32b01a3" providerId="ADAL" clId="{48ECB617-96D0-4CF8-B8F2-059DAD9F4776}" dt="2023-07-26T08:57:29.009" v="3494" actId="20577"/>
        <pc:sldMkLst>
          <pc:docMk/>
          <pc:sldMk cId="294859765" sldId="2147471313"/>
        </pc:sldMkLst>
        <pc:spChg chg="mod">
          <ac:chgData name="Paul LEGEARD" userId="73b5704d-da1d-4b70-8e12-6d54d32b01a3" providerId="ADAL" clId="{48ECB617-96D0-4CF8-B8F2-059DAD9F4776}" dt="2023-07-26T08:57:29.009" v="3494" actId="20577"/>
          <ac:spMkLst>
            <pc:docMk/>
            <pc:sldMk cId="294859765" sldId="2147471313"/>
            <ac:spMk id="10" creationId="{8358D74C-4804-E26A-A663-A72EC1B44D29}"/>
          </ac:spMkLst>
        </pc:spChg>
      </pc:sldChg>
      <pc:sldChg chg="modSp add mod">
        <pc:chgData name="Paul LEGEARD" userId="73b5704d-da1d-4b70-8e12-6d54d32b01a3" providerId="ADAL" clId="{48ECB617-96D0-4CF8-B8F2-059DAD9F4776}" dt="2023-07-26T08:57:56.897" v="3640" actId="20577"/>
        <pc:sldMkLst>
          <pc:docMk/>
          <pc:sldMk cId="2186310076" sldId="2147471314"/>
        </pc:sldMkLst>
        <pc:spChg chg="mod">
          <ac:chgData name="Paul LEGEARD" userId="73b5704d-da1d-4b70-8e12-6d54d32b01a3" providerId="ADAL" clId="{48ECB617-96D0-4CF8-B8F2-059DAD9F4776}" dt="2023-07-26T08:57:56.897" v="3640" actId="20577"/>
          <ac:spMkLst>
            <pc:docMk/>
            <pc:sldMk cId="2186310076" sldId="2147471314"/>
            <ac:spMk id="10" creationId="{8358D74C-4804-E26A-A663-A72EC1B44D29}"/>
          </ac:spMkLst>
        </pc:spChg>
        <pc:spChg chg="mod">
          <ac:chgData name="Paul LEGEARD" userId="73b5704d-da1d-4b70-8e12-6d54d32b01a3" providerId="ADAL" clId="{48ECB617-96D0-4CF8-B8F2-059DAD9F4776}" dt="2023-07-26T08:57:37.327" v="3517" actId="20577"/>
          <ac:spMkLst>
            <pc:docMk/>
            <pc:sldMk cId="2186310076" sldId="2147471314"/>
            <ac:spMk id="79" creationId="{9007893F-DE3F-4277-8B72-135CF4773651}"/>
          </ac:spMkLst>
        </pc:spChg>
      </pc:sldChg>
      <pc:sldChg chg="modSp add del mod">
        <pc:chgData name="Paul LEGEARD" userId="73b5704d-da1d-4b70-8e12-6d54d32b01a3" providerId="ADAL" clId="{48ECB617-96D0-4CF8-B8F2-059DAD9F4776}" dt="2023-07-26T08:54:46.495" v="2827" actId="47"/>
        <pc:sldMkLst>
          <pc:docMk/>
          <pc:sldMk cId="3783579680" sldId="2147471314"/>
        </pc:sldMkLst>
        <pc:spChg chg="mod">
          <ac:chgData name="Paul LEGEARD" userId="73b5704d-da1d-4b70-8e12-6d54d32b01a3" providerId="ADAL" clId="{48ECB617-96D0-4CF8-B8F2-059DAD9F4776}" dt="2023-07-26T08:32:33.914" v="1692" actId="20577"/>
          <ac:spMkLst>
            <pc:docMk/>
            <pc:sldMk cId="3783579680" sldId="2147471314"/>
            <ac:spMk id="10" creationId="{8358D74C-4804-E26A-A663-A72EC1B44D29}"/>
          </ac:spMkLst>
        </pc:spChg>
        <pc:spChg chg="mod">
          <ac:chgData name="Paul LEGEARD" userId="73b5704d-da1d-4b70-8e12-6d54d32b01a3" providerId="ADAL" clId="{48ECB617-96D0-4CF8-B8F2-059DAD9F4776}" dt="2023-07-26T08:32:21.648" v="1621" actId="20577"/>
          <ac:spMkLst>
            <pc:docMk/>
            <pc:sldMk cId="3783579680" sldId="2147471314"/>
            <ac:spMk id="79" creationId="{9007893F-DE3F-4277-8B72-135CF4773651}"/>
          </ac:spMkLst>
        </pc:spChg>
      </pc:sldChg>
      <pc:sldMasterChg chg="delSldLayout">
        <pc:chgData name="Paul LEGEARD" userId="73b5704d-da1d-4b70-8e12-6d54d32b01a3" providerId="ADAL" clId="{48ECB617-96D0-4CF8-B8F2-059DAD9F4776}" dt="2023-07-26T08:55:13.150" v="2930" actId="47"/>
        <pc:sldMasterMkLst>
          <pc:docMk/>
          <pc:sldMasterMk cId="3605024799" sldId="2147484446"/>
        </pc:sldMasterMkLst>
        <pc:sldLayoutChg chg="del">
          <pc:chgData name="Paul LEGEARD" userId="73b5704d-da1d-4b70-8e12-6d54d32b01a3" providerId="ADAL" clId="{48ECB617-96D0-4CF8-B8F2-059DAD9F4776}" dt="2023-07-26T07:46:29.099" v="167" actId="47"/>
          <pc:sldLayoutMkLst>
            <pc:docMk/>
            <pc:sldMasterMk cId="3605024799" sldId="2147484446"/>
            <pc:sldLayoutMk cId="255360106" sldId="2147484562"/>
          </pc:sldLayoutMkLst>
        </pc:sldLayoutChg>
        <pc:sldLayoutChg chg="del">
          <pc:chgData name="Paul LEGEARD" userId="73b5704d-da1d-4b70-8e12-6d54d32b01a3" providerId="ADAL" clId="{48ECB617-96D0-4CF8-B8F2-059DAD9F4776}" dt="2023-07-26T07:46:26.710" v="158" actId="47"/>
          <pc:sldLayoutMkLst>
            <pc:docMk/>
            <pc:sldMasterMk cId="3605024799" sldId="2147484446"/>
            <pc:sldLayoutMk cId="3502171670" sldId="2147484564"/>
          </pc:sldLayoutMkLst>
        </pc:sldLayoutChg>
        <pc:sldLayoutChg chg="del">
          <pc:chgData name="Paul LEGEARD" userId="73b5704d-da1d-4b70-8e12-6d54d32b01a3" providerId="ADAL" clId="{48ECB617-96D0-4CF8-B8F2-059DAD9F4776}" dt="2023-07-26T07:46:29.556" v="168" actId="47"/>
          <pc:sldLayoutMkLst>
            <pc:docMk/>
            <pc:sldMasterMk cId="3605024799" sldId="2147484446"/>
            <pc:sldLayoutMk cId="3800737714" sldId="2147484565"/>
          </pc:sldLayoutMkLst>
        </pc:sldLayoutChg>
        <pc:sldLayoutChg chg="del">
          <pc:chgData name="Paul LEGEARD" userId="73b5704d-da1d-4b70-8e12-6d54d32b01a3" providerId="ADAL" clId="{48ECB617-96D0-4CF8-B8F2-059DAD9F4776}" dt="2023-07-26T07:46:26.522" v="157" actId="47"/>
          <pc:sldLayoutMkLst>
            <pc:docMk/>
            <pc:sldMasterMk cId="3605024799" sldId="2147484446"/>
            <pc:sldLayoutMk cId="988043319" sldId="2147484583"/>
          </pc:sldLayoutMkLst>
        </pc:sldLayoutChg>
        <pc:sldLayoutChg chg="del">
          <pc:chgData name="Paul LEGEARD" userId="73b5704d-da1d-4b70-8e12-6d54d32b01a3" providerId="ADAL" clId="{48ECB617-96D0-4CF8-B8F2-059DAD9F4776}" dt="2023-07-26T08:55:13.150" v="2930" actId="47"/>
          <pc:sldLayoutMkLst>
            <pc:docMk/>
            <pc:sldMasterMk cId="3605024799" sldId="2147484446"/>
            <pc:sldLayoutMk cId="2048352605" sldId="2147484583"/>
          </pc:sldLayoutMkLst>
        </pc:sldLayoutChg>
      </pc:sldMasterChg>
    </pc:docChg>
  </pc:docChgLst>
  <pc:docChgLst>
    <pc:chgData name="Paul LEGEARD" userId="S::paul.legeard_tribu-conseil.com#ext#@cacommun.onmicrosoft.com::d93005c4-da71-4b00-9907-059060be94dc" providerId="AD" clId="Web-{006F6A77-3385-8C03-5DE6-88457B724B94}"/>
    <pc:docChg chg="modSld">
      <pc:chgData name="Paul LEGEARD" userId="S::paul.legeard_tribu-conseil.com#ext#@cacommun.onmicrosoft.com::d93005c4-da71-4b00-9907-059060be94dc" providerId="AD" clId="Web-{006F6A77-3385-8C03-5DE6-88457B724B94}" dt="2023-04-25T06:28:24.571" v="66" actId="1076"/>
      <pc:docMkLst>
        <pc:docMk/>
      </pc:docMkLst>
      <pc:sldChg chg="addSp modSp">
        <pc:chgData name="Paul LEGEARD" userId="S::paul.legeard_tribu-conseil.com#ext#@cacommun.onmicrosoft.com::d93005c4-da71-4b00-9907-059060be94dc" providerId="AD" clId="Web-{006F6A77-3385-8C03-5DE6-88457B724B94}" dt="2023-04-25T06:28:24.571" v="66" actId="1076"/>
        <pc:sldMkLst>
          <pc:docMk/>
          <pc:sldMk cId="796615112" sldId="2147469839"/>
        </pc:sldMkLst>
        <pc:spChg chg="mod">
          <ac:chgData name="Paul LEGEARD" userId="S::paul.legeard_tribu-conseil.com#ext#@cacommun.onmicrosoft.com::d93005c4-da71-4b00-9907-059060be94dc" providerId="AD" clId="Web-{006F6A77-3385-8C03-5DE6-88457B724B94}" dt="2023-04-25T06:27:37.757" v="4" actId="1076"/>
          <ac:spMkLst>
            <pc:docMk/>
            <pc:sldMk cId="796615112" sldId="2147469839"/>
            <ac:spMk id="5" creationId="{E11F70F4-0FFB-CADB-AA35-592CD41EF5A3}"/>
          </ac:spMkLst>
        </pc:spChg>
        <pc:spChg chg="add mod">
          <ac:chgData name="Paul LEGEARD" userId="S::paul.legeard_tribu-conseil.com#ext#@cacommun.onmicrosoft.com::d93005c4-da71-4b00-9907-059060be94dc" providerId="AD" clId="Web-{006F6A77-3385-8C03-5DE6-88457B724B94}" dt="2023-04-25T06:28:16.274" v="62"/>
          <ac:spMkLst>
            <pc:docMk/>
            <pc:sldMk cId="796615112" sldId="2147469839"/>
            <ac:spMk id="7" creationId="{9BC126E8-407F-1D59-C680-8B4DE20F37D7}"/>
          </ac:spMkLst>
        </pc:spChg>
        <pc:graphicFrameChg chg="mod">
          <ac:chgData name="Paul LEGEARD" userId="S::paul.legeard_tribu-conseil.com#ext#@cacommun.onmicrosoft.com::d93005c4-da71-4b00-9907-059060be94dc" providerId="AD" clId="Web-{006F6A77-3385-8C03-5DE6-88457B724B94}" dt="2023-04-25T06:27:37.726" v="3" actId="1076"/>
          <ac:graphicFrameMkLst>
            <pc:docMk/>
            <pc:sldMk cId="796615112" sldId="2147469839"/>
            <ac:graphicFrameMk id="3" creationId="{E55CB80B-B5B0-5FF0-291A-5D7D28DD4786}"/>
          </ac:graphicFrameMkLst>
        </pc:graphicFrameChg>
        <pc:picChg chg="add mod ord">
          <ac:chgData name="Paul LEGEARD" userId="S::paul.legeard_tribu-conseil.com#ext#@cacommun.onmicrosoft.com::d93005c4-da71-4b00-9907-059060be94dc" providerId="AD" clId="Web-{006F6A77-3385-8C03-5DE6-88457B724B94}" dt="2023-04-25T06:28:24.571" v="66" actId="1076"/>
          <ac:picMkLst>
            <pc:docMk/>
            <pc:sldMk cId="796615112" sldId="2147469839"/>
            <ac:picMk id="2" creationId="{7BDDA423-5ECB-6EA2-438C-00833E96E7F3}"/>
          </ac:picMkLst>
        </pc:picChg>
        <pc:picChg chg="add">
          <ac:chgData name="Paul LEGEARD" userId="S::paul.legeard_tribu-conseil.com#ext#@cacommun.onmicrosoft.com::d93005c4-da71-4b00-9907-059060be94dc" providerId="AD" clId="Web-{006F6A77-3385-8C03-5DE6-88457B724B94}" dt="2023-04-25T06:27:46.617" v="6"/>
          <ac:picMkLst>
            <pc:docMk/>
            <pc:sldMk cId="796615112" sldId="2147469839"/>
            <ac:picMk id="10" creationId="{43C41EA7-F73F-B002-4B54-9F861632C8AA}"/>
          </ac:picMkLst>
        </pc:picChg>
      </pc:sldChg>
    </pc:docChg>
  </pc:docChgLst>
  <pc:docChgLst>
    <pc:chgData name="Paul LEGEARD" userId="S::paul.legeard_tribu-conseil.com#ext#@cacommun.onmicrosoft.com::d93005c4-da71-4b00-9907-059060be94dc" providerId="AD" clId="Web-{68CFDB4A-1896-B2D3-AA88-77FCEC9F08BC}"/>
    <pc:docChg chg="modSld">
      <pc:chgData name="Paul LEGEARD" userId="S::paul.legeard_tribu-conseil.com#ext#@cacommun.onmicrosoft.com::d93005c4-da71-4b00-9907-059060be94dc" providerId="AD" clId="Web-{68CFDB4A-1896-B2D3-AA88-77FCEC9F08BC}" dt="2023-04-14T06:24:24.008" v="2" actId="20577"/>
      <pc:docMkLst>
        <pc:docMk/>
      </pc:docMkLst>
      <pc:sldChg chg="modSp">
        <pc:chgData name="Paul LEGEARD" userId="S::paul.legeard_tribu-conseil.com#ext#@cacommun.onmicrosoft.com::d93005c4-da71-4b00-9907-059060be94dc" providerId="AD" clId="Web-{68CFDB4A-1896-B2D3-AA88-77FCEC9F08BC}" dt="2023-04-14T06:24:24.008" v="2" actId="20577"/>
        <pc:sldMkLst>
          <pc:docMk/>
          <pc:sldMk cId="1778774327" sldId="2147469809"/>
        </pc:sldMkLst>
        <pc:spChg chg="mod">
          <ac:chgData name="Paul LEGEARD" userId="S::paul.legeard_tribu-conseil.com#ext#@cacommun.onmicrosoft.com::d93005c4-da71-4b00-9907-059060be94dc" providerId="AD" clId="Web-{68CFDB4A-1896-B2D3-AA88-77FCEC9F08BC}" dt="2023-04-14T06:24:24.008" v="2" actId="20577"/>
          <ac:spMkLst>
            <pc:docMk/>
            <pc:sldMk cId="1778774327" sldId="2147469809"/>
            <ac:spMk id="18" creationId="{1BA1E44B-3419-7961-612C-E692E9DCCEB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128CCD-66B0-4D08-9F6D-2F7400678FC6}" type="datetimeFigureOut">
              <a:rPr lang="fr-FR" smtClean="0"/>
              <a:t>13/10/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11EE13-69D5-4A32-842F-13C10B9C6935}" type="slidenum">
              <a:rPr lang="fr-FR" smtClean="0"/>
              <a:t>‹N°›</a:t>
            </a:fld>
            <a:endParaRPr lang="fr-FR"/>
          </a:p>
        </p:txBody>
      </p:sp>
    </p:spTree>
    <p:extLst>
      <p:ext uri="{BB962C8B-B14F-4D97-AF65-F5344CB8AC3E}">
        <p14:creationId xmlns:p14="http://schemas.microsoft.com/office/powerpoint/2010/main" val="17475662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a:t>
            </a:fld>
            <a:endParaRPr lang="fr-FR"/>
          </a:p>
        </p:txBody>
      </p:sp>
    </p:spTree>
    <p:extLst>
      <p:ext uri="{BB962C8B-B14F-4D97-AF65-F5344CB8AC3E}">
        <p14:creationId xmlns:p14="http://schemas.microsoft.com/office/powerpoint/2010/main" val="2628553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3</a:t>
            </a:fld>
            <a:endParaRPr lang="fr-FR"/>
          </a:p>
        </p:txBody>
      </p:sp>
    </p:spTree>
    <p:extLst>
      <p:ext uri="{BB962C8B-B14F-4D97-AF65-F5344CB8AC3E}">
        <p14:creationId xmlns:p14="http://schemas.microsoft.com/office/powerpoint/2010/main" val="3142117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4</a:t>
            </a:fld>
            <a:endParaRPr lang="fr-FR"/>
          </a:p>
        </p:txBody>
      </p:sp>
    </p:spTree>
    <p:extLst>
      <p:ext uri="{BB962C8B-B14F-4D97-AF65-F5344CB8AC3E}">
        <p14:creationId xmlns:p14="http://schemas.microsoft.com/office/powerpoint/2010/main" val="2255846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5</a:t>
            </a:fld>
            <a:endParaRPr lang="fr-FR"/>
          </a:p>
        </p:txBody>
      </p:sp>
    </p:spTree>
    <p:extLst>
      <p:ext uri="{BB962C8B-B14F-4D97-AF65-F5344CB8AC3E}">
        <p14:creationId xmlns:p14="http://schemas.microsoft.com/office/powerpoint/2010/main" val="4268078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6</a:t>
            </a:fld>
            <a:endParaRPr lang="fr-FR"/>
          </a:p>
        </p:txBody>
      </p:sp>
    </p:spTree>
    <p:extLst>
      <p:ext uri="{BB962C8B-B14F-4D97-AF65-F5344CB8AC3E}">
        <p14:creationId xmlns:p14="http://schemas.microsoft.com/office/powerpoint/2010/main" val="3691867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a:t>Les applications Power Apps lancés depuis </a:t>
            </a:r>
            <a:r>
              <a:rPr lang="fr-FR" err="1"/>
              <a:t>Sharepoint</a:t>
            </a:r>
            <a:r>
              <a:rPr lang="fr-FR"/>
              <a:t> et les flux Power automate lancés depuis Power BI et </a:t>
            </a:r>
            <a:r>
              <a:rPr lang="fr-FR" err="1"/>
              <a:t>Sharepoint</a:t>
            </a:r>
            <a:r>
              <a:rPr lang="fr-FR"/>
              <a:t> seront tout de même hébergés au sein de Default</a:t>
            </a: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7</a:t>
            </a:fld>
            <a:endParaRPr lang="fr-FR"/>
          </a:p>
        </p:txBody>
      </p:sp>
    </p:spTree>
    <p:extLst>
      <p:ext uri="{BB962C8B-B14F-4D97-AF65-F5344CB8AC3E}">
        <p14:creationId xmlns:p14="http://schemas.microsoft.com/office/powerpoint/2010/main" val="2712992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8</a:t>
            </a:fld>
            <a:endParaRPr lang="fr-FR"/>
          </a:p>
        </p:txBody>
      </p:sp>
    </p:spTree>
    <p:extLst>
      <p:ext uri="{BB962C8B-B14F-4D97-AF65-F5344CB8AC3E}">
        <p14:creationId xmlns:p14="http://schemas.microsoft.com/office/powerpoint/2010/main" val="2822896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21</a:t>
            </a:fld>
            <a:endParaRPr lang="fr-FR"/>
          </a:p>
        </p:txBody>
      </p:sp>
    </p:spTree>
    <p:extLst>
      <p:ext uri="{BB962C8B-B14F-4D97-AF65-F5344CB8AC3E}">
        <p14:creationId xmlns:p14="http://schemas.microsoft.com/office/powerpoint/2010/main" val="22789847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23</a:t>
            </a:fld>
            <a:endParaRPr lang="fr-FR"/>
          </a:p>
        </p:txBody>
      </p:sp>
    </p:spTree>
    <p:extLst>
      <p:ext uri="{BB962C8B-B14F-4D97-AF65-F5344CB8AC3E}">
        <p14:creationId xmlns:p14="http://schemas.microsoft.com/office/powerpoint/2010/main" val="3325618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24</a:t>
            </a:fld>
            <a:endParaRPr lang="fr-FR"/>
          </a:p>
        </p:txBody>
      </p:sp>
    </p:spTree>
    <p:extLst>
      <p:ext uri="{BB962C8B-B14F-4D97-AF65-F5344CB8AC3E}">
        <p14:creationId xmlns:p14="http://schemas.microsoft.com/office/powerpoint/2010/main" val="958237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t>Speaker : @David Reverdy</a:t>
            </a:r>
          </a:p>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25</a:t>
            </a:fld>
            <a:endParaRPr lang="fr-FR"/>
          </a:p>
        </p:txBody>
      </p:sp>
    </p:spTree>
    <p:extLst>
      <p:ext uri="{BB962C8B-B14F-4D97-AF65-F5344CB8AC3E}">
        <p14:creationId xmlns:p14="http://schemas.microsoft.com/office/powerpoint/2010/main" val="1327312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2</a:t>
            </a:fld>
            <a:endParaRPr lang="fr-FR"/>
          </a:p>
        </p:txBody>
      </p:sp>
    </p:spTree>
    <p:extLst>
      <p:ext uri="{BB962C8B-B14F-4D97-AF65-F5344CB8AC3E}">
        <p14:creationId xmlns:p14="http://schemas.microsoft.com/office/powerpoint/2010/main" val="16653279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B511EE13-69D5-4A32-842F-13C10B9C6935}" type="slidenum">
              <a:rPr lang="fr-FR" smtClean="0"/>
              <a:t>26</a:t>
            </a:fld>
            <a:endParaRPr lang="fr-FR"/>
          </a:p>
        </p:txBody>
      </p:sp>
    </p:spTree>
    <p:extLst>
      <p:ext uri="{BB962C8B-B14F-4D97-AF65-F5344CB8AC3E}">
        <p14:creationId xmlns:p14="http://schemas.microsoft.com/office/powerpoint/2010/main" val="4135861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3</a:t>
            </a:fld>
            <a:endParaRPr lang="fr-FR"/>
          </a:p>
        </p:txBody>
      </p:sp>
    </p:spTree>
    <p:extLst>
      <p:ext uri="{BB962C8B-B14F-4D97-AF65-F5344CB8AC3E}">
        <p14:creationId xmlns:p14="http://schemas.microsoft.com/office/powerpoint/2010/main" val="1097882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4</a:t>
            </a:fld>
            <a:endParaRPr lang="fr-FR"/>
          </a:p>
        </p:txBody>
      </p:sp>
    </p:spTree>
    <p:extLst>
      <p:ext uri="{BB962C8B-B14F-4D97-AF65-F5344CB8AC3E}">
        <p14:creationId xmlns:p14="http://schemas.microsoft.com/office/powerpoint/2010/main" val="2744925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5</a:t>
            </a:fld>
            <a:endParaRPr lang="fr-FR"/>
          </a:p>
        </p:txBody>
      </p:sp>
    </p:spTree>
    <p:extLst>
      <p:ext uri="{BB962C8B-B14F-4D97-AF65-F5344CB8AC3E}">
        <p14:creationId xmlns:p14="http://schemas.microsoft.com/office/powerpoint/2010/main" val="1341864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6</a:t>
            </a:fld>
            <a:endParaRPr lang="fr-FR"/>
          </a:p>
        </p:txBody>
      </p:sp>
    </p:spTree>
    <p:extLst>
      <p:ext uri="{BB962C8B-B14F-4D97-AF65-F5344CB8AC3E}">
        <p14:creationId xmlns:p14="http://schemas.microsoft.com/office/powerpoint/2010/main" val="9840244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8</a:t>
            </a:fld>
            <a:endParaRPr lang="fr-FR"/>
          </a:p>
        </p:txBody>
      </p:sp>
    </p:spTree>
    <p:extLst>
      <p:ext uri="{BB962C8B-B14F-4D97-AF65-F5344CB8AC3E}">
        <p14:creationId xmlns:p14="http://schemas.microsoft.com/office/powerpoint/2010/main" val="2323845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1</a:t>
            </a:fld>
            <a:endParaRPr lang="fr-FR"/>
          </a:p>
        </p:txBody>
      </p:sp>
    </p:spTree>
    <p:extLst>
      <p:ext uri="{BB962C8B-B14F-4D97-AF65-F5344CB8AC3E}">
        <p14:creationId xmlns:p14="http://schemas.microsoft.com/office/powerpoint/2010/main" val="1448691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a:p>
        </p:txBody>
      </p:sp>
      <p:sp>
        <p:nvSpPr>
          <p:cNvPr id="4" name="Espace réservé du numéro de diapositive 3"/>
          <p:cNvSpPr>
            <a:spLocks noGrp="1"/>
          </p:cNvSpPr>
          <p:nvPr>
            <p:ph type="sldNum" sz="quarter" idx="5"/>
          </p:nvPr>
        </p:nvSpPr>
        <p:spPr/>
        <p:txBody>
          <a:bodyPr/>
          <a:lstStyle/>
          <a:p>
            <a:fld id="{B511EE13-69D5-4A32-842F-13C10B9C6935}" type="slidenum">
              <a:rPr lang="fr-FR" smtClean="0"/>
              <a:t>12</a:t>
            </a:fld>
            <a:endParaRPr lang="fr-FR"/>
          </a:p>
        </p:txBody>
      </p:sp>
    </p:spTree>
    <p:extLst>
      <p:ext uri="{BB962C8B-B14F-4D97-AF65-F5344CB8AC3E}">
        <p14:creationId xmlns:p14="http://schemas.microsoft.com/office/powerpoint/2010/main" val="1142632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uvertu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a:prstGeom prst="rect">
            <a:avLst/>
          </a:prstGeo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a:prstGeom prst="rect">
            <a:avLst/>
          </a:prstGeom>
        </p:spPr>
        <p:txBody>
          <a:bodyPr anchor="b">
            <a:normAutofit/>
          </a:bodyPr>
          <a:lstStyle>
            <a:lvl1pPr algn="l" defTabSz="360000">
              <a:lnSpc>
                <a:spcPct val="85000"/>
              </a:lnSpc>
              <a:tabLst/>
              <a:defRPr sz="4400"/>
            </a:lvl1pPr>
          </a:lstStyle>
          <a:p>
            <a:r>
              <a:rPr lang="fr-FR"/>
              <a:t>Modifiez le style du titre</a:t>
            </a:r>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a:prstGeom prst="rect">
            <a:avLst/>
          </a:prstGeo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Image 2">
            <a:extLst>
              <a:ext uri="{FF2B5EF4-FFF2-40B4-BE49-F238E27FC236}">
                <a16:creationId xmlns:a16="http://schemas.microsoft.com/office/drawing/2014/main" id="{5EBD69E8-80FD-47C1-BDE7-EA2480CCC7A0}"/>
              </a:ext>
            </a:extLst>
          </p:cNvPr>
          <p:cNvPicPr>
            <a:picLocks noChangeAspect="1"/>
          </p:cNvPicPr>
          <p:nvPr userDrawn="1"/>
        </p:nvPicPr>
        <p:blipFill>
          <a:blip r:embed="rId2"/>
          <a:stretch>
            <a:fillRect/>
          </a:stretch>
        </p:blipFill>
        <p:spPr>
          <a:xfrm>
            <a:off x="9217047" y="4850022"/>
            <a:ext cx="2393282" cy="1188114"/>
          </a:xfrm>
          <a:prstGeom prst="rect">
            <a:avLst/>
          </a:prstGeom>
        </p:spPr>
      </p:pic>
      <p:sp>
        <p:nvSpPr>
          <p:cNvPr id="10" name="Espace réservé du texte 4">
            <a:extLst>
              <a:ext uri="{FF2B5EF4-FFF2-40B4-BE49-F238E27FC236}">
                <a16:creationId xmlns:a16="http://schemas.microsoft.com/office/drawing/2014/main" id="{B1989603-24F3-4EB1-81D8-DD319FC5F91C}"/>
              </a:ext>
            </a:extLst>
          </p:cNvPr>
          <p:cNvSpPr txBox="1">
            <a:spLocks/>
          </p:cNvSpPr>
          <p:nvPr userDrawn="1"/>
        </p:nvSpPr>
        <p:spPr>
          <a:xfrm>
            <a:off x="707611"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pic>
        <p:nvPicPr>
          <p:cNvPr id="11" name="Image 10">
            <a:extLst>
              <a:ext uri="{FF2B5EF4-FFF2-40B4-BE49-F238E27FC236}">
                <a16:creationId xmlns:a16="http://schemas.microsoft.com/office/drawing/2014/main" id="{9C3FD668-8FE4-453D-A050-14E80DE9DBA7}"/>
              </a:ext>
            </a:extLst>
          </p:cNvPr>
          <p:cNvPicPr>
            <a:picLocks noChangeAspect="1"/>
          </p:cNvPicPr>
          <p:nvPr userDrawn="1"/>
        </p:nvPicPr>
        <p:blipFill>
          <a:blip r:embed="rId3"/>
          <a:stretch>
            <a:fillRect/>
          </a:stretch>
        </p:blipFill>
        <p:spPr>
          <a:xfrm>
            <a:off x="798768" y="731742"/>
            <a:ext cx="5163312" cy="5163312"/>
          </a:xfrm>
          <a:prstGeom prst="rect">
            <a:avLst/>
          </a:prstGeom>
        </p:spPr>
      </p:pic>
    </p:spTree>
    <p:extLst>
      <p:ext uri="{BB962C8B-B14F-4D97-AF65-F5344CB8AC3E}">
        <p14:creationId xmlns:p14="http://schemas.microsoft.com/office/powerpoint/2010/main" val="10016628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B5B6FE49-74B6-4DA2-BFEB-6DB07B4E0060}"/>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A5BA546-1879-432B-A158-FCB2E80D2F23}"/>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34049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F99899B9-33CA-4CD3-9698-CE0BE895C95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F2C5454A-260A-4934-BAB6-001AFB7146BC}"/>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1739167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6CC8D299-D7F3-4B91-9D6F-999B50A0BB55}"/>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1BEA130-0337-41B4-A954-F635A5584B88}"/>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0999494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253130"/>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9" name="Espace réservé de la date 3">
            <a:extLst>
              <a:ext uri="{FF2B5EF4-FFF2-40B4-BE49-F238E27FC236}">
                <a16:creationId xmlns:a16="http://schemas.microsoft.com/office/drawing/2014/main" id="{A9E3B85B-FAA6-4EBD-931B-1056323187A4}"/>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8888F873-F6E1-4DE4-865A-A557E509BC24}"/>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3910163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1"/>
            <a:ext cx="6480000" cy="2916953"/>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7" y="2125662"/>
            <a:ext cx="4130841" cy="3784943"/>
          </a:xfrm>
          <a:prstGeom prst="rect">
            <a:avLst/>
          </a:prstGeom>
          <a:solidFill>
            <a:schemeClr val="bg1">
              <a:lumMod val="95000"/>
            </a:schemeClr>
          </a:solidFill>
        </p:spPr>
        <p:txBody>
          <a:bodyPr anchor="ctr"/>
          <a:lstStyle>
            <a:lvl1pPr algn="ctr">
              <a:defRPr/>
            </a:lvl1pPr>
          </a:lstStyle>
          <a:p>
            <a:r>
              <a:rPr lang="fr-FR"/>
              <a:t>Cliquez sur l'icône pour ajouter un graphique</a:t>
            </a:r>
          </a:p>
        </p:txBody>
      </p:sp>
      <p:sp>
        <p:nvSpPr>
          <p:cNvPr id="9" name="Espace réservé de la date 3">
            <a:extLst>
              <a:ext uri="{FF2B5EF4-FFF2-40B4-BE49-F238E27FC236}">
                <a16:creationId xmlns:a16="http://schemas.microsoft.com/office/drawing/2014/main" id="{D64631C5-7305-42A4-8D65-5C4C808F316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B38D5601-3298-4366-8A8C-7CA131EB5479}"/>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40291341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719997" y="1819655"/>
            <a:ext cx="10800000" cy="4090951"/>
          </a:xfrm>
          <a:prstGeom prst="rect">
            <a:avLst/>
          </a:prstGeo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7" name="Espace réservé de la date 3">
            <a:extLst>
              <a:ext uri="{FF2B5EF4-FFF2-40B4-BE49-F238E27FC236}">
                <a16:creationId xmlns:a16="http://schemas.microsoft.com/office/drawing/2014/main" id="{7B6542A8-9842-4351-9A88-AB9CCBCB5FD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9" name="Espace réservé du numéro de diapositive 5">
            <a:extLst>
              <a:ext uri="{FF2B5EF4-FFF2-40B4-BE49-F238E27FC236}">
                <a16:creationId xmlns:a16="http://schemas.microsoft.com/office/drawing/2014/main" id="{59B4AD3B-858F-48FF-B2D8-CB247CF708BC}"/>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9939474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EFC3A1B9-30C4-48D2-B7F7-2DF55BFBFB7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rgbClr val="009597"/>
                </a:solidFill>
              </a:defRPr>
            </a:lvl1pPr>
          </a:lstStyle>
          <a:p>
            <a:r>
              <a:rPr lang="fr-FR"/>
              <a:t>Modifiez le style du titre</a:t>
            </a:r>
          </a:p>
        </p:txBody>
      </p:sp>
      <p:sp>
        <p:nvSpPr>
          <p:cNvPr id="15" name="Sous-titre 2">
            <a:extLst>
              <a:ext uri="{FF2B5EF4-FFF2-40B4-BE49-F238E27FC236}">
                <a16:creationId xmlns:a16="http://schemas.microsoft.com/office/drawing/2014/main" id="{0E5D6B6E-8133-4B1A-BEF3-EFCB7E761F2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774785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rgbClr val="FBBA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pic>
        <p:nvPicPr>
          <p:cNvPr id="8" name="Image 7">
            <a:extLst>
              <a:ext uri="{FF2B5EF4-FFF2-40B4-BE49-F238E27FC236}">
                <a16:creationId xmlns:a16="http://schemas.microsoft.com/office/drawing/2014/main" id="{D9662163-E7FF-4508-B82D-4A7B2BFC83EE}"/>
              </a:ext>
            </a:extLst>
          </p:cNvPr>
          <p:cNvPicPr>
            <a:picLocks noChangeAspect="1"/>
          </p:cNvPicPr>
          <p:nvPr userDrawn="1"/>
        </p:nvPicPr>
        <p:blipFill>
          <a:blip r:embed="rId2"/>
          <a:stretch>
            <a:fillRect/>
          </a:stretch>
        </p:blipFill>
        <p:spPr>
          <a:xfrm>
            <a:off x="7164034" y="1665536"/>
            <a:ext cx="4245213" cy="4247608"/>
          </a:xfrm>
          <a:prstGeom prst="rect">
            <a:avLst/>
          </a:prstGeom>
        </p:spPr>
      </p:pic>
    </p:spTree>
    <p:extLst>
      <p:ext uri="{BB962C8B-B14F-4D97-AF65-F5344CB8AC3E}">
        <p14:creationId xmlns:p14="http://schemas.microsoft.com/office/powerpoint/2010/main" val="3696195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9" name="Espace réservé de la date 3">
            <a:extLst>
              <a:ext uri="{FF2B5EF4-FFF2-40B4-BE49-F238E27FC236}">
                <a16:creationId xmlns:a16="http://schemas.microsoft.com/office/drawing/2014/main" id="{A9E3B85B-FAA6-4EBD-931B-1056323187A4}"/>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8888F873-F6E1-4DE4-865A-A557E509BC24}"/>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31992779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1"/>
            <a:ext cx="6480000" cy="2916953"/>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7" y="2125662"/>
            <a:ext cx="4130841" cy="3784943"/>
          </a:xfrm>
          <a:prstGeom prst="rect">
            <a:avLst/>
          </a:prstGeom>
          <a:solidFill>
            <a:schemeClr val="bg1">
              <a:lumMod val="95000"/>
            </a:schemeClr>
          </a:solidFill>
        </p:spPr>
        <p:txBody>
          <a:bodyPr anchor="ctr"/>
          <a:lstStyle>
            <a:lvl1pPr algn="ctr">
              <a:defRPr/>
            </a:lvl1pPr>
          </a:lstStyle>
          <a:p>
            <a:r>
              <a:rPr lang="fr-FR"/>
              <a:t>Cliquez sur l'icône pour ajouter un graphique</a:t>
            </a:r>
          </a:p>
        </p:txBody>
      </p:sp>
      <p:sp>
        <p:nvSpPr>
          <p:cNvPr id="9" name="Espace réservé de la date 3">
            <a:extLst>
              <a:ext uri="{FF2B5EF4-FFF2-40B4-BE49-F238E27FC236}">
                <a16:creationId xmlns:a16="http://schemas.microsoft.com/office/drawing/2014/main" id="{D64631C5-7305-42A4-8D65-5C4C808F316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B38D5601-3298-4366-8A8C-7CA131EB5479}"/>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964660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uverture avec photo">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4207" y="6174395"/>
            <a:ext cx="4320000" cy="252000"/>
          </a:xfrm>
          <a:prstGeom prst="rect">
            <a:avLst/>
          </a:prstGeo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6230470" y="731743"/>
            <a:ext cx="5580000" cy="2414623"/>
          </a:xfrm>
          <a:prstGeom prst="rect">
            <a:avLst/>
          </a:prstGeom>
        </p:spPr>
        <p:txBody>
          <a:bodyPr anchor="b">
            <a:normAutofit/>
          </a:bodyPr>
          <a:lstStyle>
            <a:lvl1pPr algn="l" defTabSz="360000">
              <a:lnSpc>
                <a:spcPct val="85000"/>
              </a:lnSpc>
              <a:tabLst/>
              <a:defRPr sz="4400"/>
            </a:lvl1pPr>
          </a:lstStyle>
          <a:p>
            <a:r>
              <a:rPr lang="fr-FR"/>
              <a:t>Modifiez le style du titre</a:t>
            </a:r>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6230470" y="3056037"/>
            <a:ext cx="5580000" cy="2340000"/>
          </a:xfrm>
          <a:prstGeom prst="rect">
            <a:avLst/>
          </a:prstGeom>
        </p:spPr>
        <p:txBody>
          <a:bodyPr anchor="t"/>
          <a:lstStyle>
            <a:lvl1pPr marL="0" indent="0" algn="l" defTabSz="360000">
              <a:lnSpc>
                <a:spcPct val="85000"/>
              </a:lnSpc>
              <a:buNone/>
              <a:tabLst/>
              <a:defRPr sz="4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cxnSp>
        <p:nvCxnSpPr>
          <p:cNvPr id="17" name="Connecteur droit 16">
            <a:extLst>
              <a:ext uri="{FF2B5EF4-FFF2-40B4-BE49-F238E27FC236}">
                <a16:creationId xmlns:a16="http://schemas.microsoft.com/office/drawing/2014/main" id="{88175086-68EB-4950-BC23-A9DFECDDDE2E}"/>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a:extLst>
              <a:ext uri="{FF2B5EF4-FFF2-40B4-BE49-F238E27FC236}">
                <a16:creationId xmlns:a16="http://schemas.microsoft.com/office/drawing/2014/main" id="{CC548B93-44E5-4401-BB3E-7E457EE58F9F}"/>
              </a:ext>
            </a:extLst>
          </p:cNvPr>
          <p:cNvPicPr>
            <a:picLocks noChangeAspect="1"/>
          </p:cNvPicPr>
          <p:nvPr userDrawn="1"/>
        </p:nvPicPr>
        <p:blipFill>
          <a:blip r:embed="rId2"/>
          <a:stretch>
            <a:fillRect/>
          </a:stretch>
        </p:blipFill>
        <p:spPr>
          <a:xfrm>
            <a:off x="9217047" y="4850022"/>
            <a:ext cx="2393282" cy="1188114"/>
          </a:xfrm>
          <a:prstGeom prst="rect">
            <a:avLst/>
          </a:prstGeom>
        </p:spPr>
      </p:pic>
      <p:sp>
        <p:nvSpPr>
          <p:cNvPr id="11" name="Espace réservé du texte 4">
            <a:extLst>
              <a:ext uri="{FF2B5EF4-FFF2-40B4-BE49-F238E27FC236}">
                <a16:creationId xmlns:a16="http://schemas.microsoft.com/office/drawing/2014/main" id="{02C87A78-0E26-4624-998A-15ED5C8005AF}"/>
              </a:ext>
            </a:extLst>
          </p:cNvPr>
          <p:cNvSpPr txBox="1">
            <a:spLocks/>
          </p:cNvSpPr>
          <p:nvPr userDrawn="1"/>
        </p:nvSpPr>
        <p:spPr>
          <a:xfrm>
            <a:off x="707611"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pic>
        <p:nvPicPr>
          <p:cNvPr id="14" name="Image 13">
            <a:extLst>
              <a:ext uri="{FF2B5EF4-FFF2-40B4-BE49-F238E27FC236}">
                <a16:creationId xmlns:a16="http://schemas.microsoft.com/office/drawing/2014/main" id="{4CE44F5F-0EAB-4974-987E-73FA74AD337B}"/>
              </a:ext>
            </a:extLst>
          </p:cNvPr>
          <p:cNvPicPr>
            <a:picLocks noChangeAspect="1"/>
          </p:cNvPicPr>
          <p:nvPr userDrawn="1"/>
        </p:nvPicPr>
        <p:blipFill>
          <a:blip r:embed="rId3"/>
          <a:stretch>
            <a:fillRect/>
          </a:stretch>
        </p:blipFill>
        <p:spPr>
          <a:xfrm>
            <a:off x="798007" y="727405"/>
            <a:ext cx="5163312" cy="5163312"/>
          </a:xfrm>
          <a:prstGeom prst="rect">
            <a:avLst/>
          </a:prstGeom>
        </p:spPr>
      </p:pic>
    </p:spTree>
    <p:extLst>
      <p:ext uri="{BB962C8B-B14F-4D97-AF65-F5344CB8AC3E}">
        <p14:creationId xmlns:p14="http://schemas.microsoft.com/office/powerpoint/2010/main" val="421043647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EFC3A1B9-30C4-48D2-B7F7-2DF55BFBFB7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rgbClr val="009597"/>
                </a:solidFill>
              </a:defRPr>
            </a:lvl1pPr>
          </a:lstStyle>
          <a:p>
            <a:r>
              <a:rPr lang="fr-FR"/>
              <a:t>Modifiez le style du titre</a:t>
            </a:r>
          </a:p>
        </p:txBody>
      </p:sp>
      <p:sp>
        <p:nvSpPr>
          <p:cNvPr id="15" name="Sous-titre 2">
            <a:extLst>
              <a:ext uri="{FF2B5EF4-FFF2-40B4-BE49-F238E27FC236}">
                <a16:creationId xmlns:a16="http://schemas.microsoft.com/office/drawing/2014/main" id="{0E5D6B6E-8133-4B1A-BEF3-EFCB7E761F2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173929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217905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F5FC3739-6580-437B-BB6C-2BEBC455B86B}"/>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CDC6644B-0360-460D-9EF4-F3DCCFB2749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42430623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6DAF8C55-0057-4940-9BB0-E98F0CC07E47}"/>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1517642-9DBD-477E-8C28-566596E6FEF6}"/>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368777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B5B6FE49-74B6-4DA2-BFEB-6DB07B4E0060}"/>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A5BA546-1879-432B-A158-FCB2E80D2F23}"/>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9546167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F99899B9-33CA-4CD3-9698-CE0BE895C95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F2C5454A-260A-4934-BAB6-001AFB7146BC}"/>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474348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6CC8D299-D7F3-4B91-9D6F-999B50A0BB55}"/>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1BEA130-0337-41B4-A954-F635A5584B88}"/>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245746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253130"/>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9" name="Espace réservé de la date 3">
            <a:extLst>
              <a:ext uri="{FF2B5EF4-FFF2-40B4-BE49-F238E27FC236}">
                <a16:creationId xmlns:a16="http://schemas.microsoft.com/office/drawing/2014/main" id="{A9E3B85B-FAA6-4EBD-931B-1056323187A4}"/>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8888F873-F6E1-4DE4-865A-A557E509BC24}"/>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6703790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1"/>
            <a:ext cx="6480000" cy="2916953"/>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7" y="2125662"/>
            <a:ext cx="4130841" cy="3784943"/>
          </a:xfrm>
          <a:prstGeom prst="rect">
            <a:avLst/>
          </a:prstGeom>
          <a:solidFill>
            <a:schemeClr val="bg1">
              <a:lumMod val="95000"/>
            </a:schemeClr>
          </a:solidFill>
        </p:spPr>
        <p:txBody>
          <a:bodyPr anchor="ctr"/>
          <a:lstStyle>
            <a:lvl1pPr algn="ctr">
              <a:defRPr/>
            </a:lvl1pPr>
          </a:lstStyle>
          <a:p>
            <a:r>
              <a:rPr lang="fr-FR"/>
              <a:t>Cliquez sur l'icône pour ajouter un graphique</a:t>
            </a:r>
          </a:p>
        </p:txBody>
      </p:sp>
      <p:sp>
        <p:nvSpPr>
          <p:cNvPr id="9" name="Espace réservé de la date 3">
            <a:extLst>
              <a:ext uri="{FF2B5EF4-FFF2-40B4-BE49-F238E27FC236}">
                <a16:creationId xmlns:a16="http://schemas.microsoft.com/office/drawing/2014/main" id="{D64631C5-7305-42A4-8D65-5C4C808F316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B38D5601-3298-4366-8A8C-7CA131EB5479}"/>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21863469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719997" y="1819655"/>
            <a:ext cx="10800000" cy="4090951"/>
          </a:xfrm>
          <a:prstGeom prst="rect">
            <a:avLst/>
          </a:prstGeo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7" name="Espace réservé de la date 3">
            <a:extLst>
              <a:ext uri="{FF2B5EF4-FFF2-40B4-BE49-F238E27FC236}">
                <a16:creationId xmlns:a16="http://schemas.microsoft.com/office/drawing/2014/main" id="{7B6542A8-9842-4351-9A88-AB9CCBCB5FD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9" name="Espace réservé du numéro de diapositive 5">
            <a:extLst>
              <a:ext uri="{FF2B5EF4-FFF2-40B4-BE49-F238E27FC236}">
                <a16:creationId xmlns:a16="http://schemas.microsoft.com/office/drawing/2014/main" id="{59B4AD3B-858F-48FF-B2D8-CB247CF708BC}"/>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36174172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uverture 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E34A377-C4E7-474E-AF9C-C0C1512C4B48}"/>
              </a:ext>
            </a:extLst>
          </p:cNvPr>
          <p:cNvSpPr>
            <a:spLocks noGrp="1"/>
          </p:cNvSpPr>
          <p:nvPr>
            <p:ph type="body" sz="quarter" idx="3" hasCustomPrompt="1"/>
          </p:nvPr>
        </p:nvSpPr>
        <p:spPr>
          <a:xfrm>
            <a:off x="7192800" y="6174395"/>
            <a:ext cx="4320000" cy="252000"/>
          </a:xfrm>
          <a:prstGeom prst="rect">
            <a:avLst/>
          </a:prstGeom>
        </p:spPr>
        <p:txBody>
          <a:bodyPr anchor="ctr"/>
          <a:lstStyle>
            <a:lvl1pPr marL="0" indent="0" algn="r">
              <a:buNone/>
              <a:defRPr sz="1000" b="1" cap="all" spc="2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2" name="Titre 1">
            <a:extLst>
              <a:ext uri="{FF2B5EF4-FFF2-40B4-BE49-F238E27FC236}">
                <a16:creationId xmlns:a16="http://schemas.microsoft.com/office/drawing/2014/main" id="{2930B45F-AEDD-411B-9BBC-1B13EFEDC0E7}"/>
              </a:ext>
            </a:extLst>
          </p:cNvPr>
          <p:cNvSpPr>
            <a:spLocks noGrp="1"/>
          </p:cNvSpPr>
          <p:nvPr>
            <p:ph type="ctrTitle"/>
          </p:nvPr>
        </p:nvSpPr>
        <p:spPr>
          <a:xfrm>
            <a:off x="720000" y="460800"/>
            <a:ext cx="10980000" cy="2520000"/>
          </a:xfrm>
          <a:prstGeom prst="rect">
            <a:avLst/>
          </a:prstGeom>
        </p:spPr>
        <p:txBody>
          <a:bodyPr anchor="b">
            <a:normAutofit/>
          </a:bodyPr>
          <a:lstStyle>
            <a:lvl1pPr algn="l" defTabSz="360000">
              <a:lnSpc>
                <a:spcPct val="85000"/>
              </a:lnSpc>
              <a:tabLst/>
              <a:defRPr sz="5400"/>
            </a:lvl1pPr>
          </a:lstStyle>
          <a:p>
            <a:r>
              <a:rPr lang="fr-FR"/>
              <a:t>Modifiez le style du titre</a:t>
            </a:r>
          </a:p>
        </p:txBody>
      </p:sp>
      <p:sp>
        <p:nvSpPr>
          <p:cNvPr id="13" name="Sous-titre 2">
            <a:extLst>
              <a:ext uri="{FF2B5EF4-FFF2-40B4-BE49-F238E27FC236}">
                <a16:creationId xmlns:a16="http://schemas.microsoft.com/office/drawing/2014/main" id="{9B55D30E-725C-43C0-B80E-301FBBB3B6E0}"/>
              </a:ext>
            </a:extLst>
          </p:cNvPr>
          <p:cNvSpPr>
            <a:spLocks noGrp="1"/>
          </p:cNvSpPr>
          <p:nvPr>
            <p:ph type="subTitle" idx="1"/>
          </p:nvPr>
        </p:nvSpPr>
        <p:spPr>
          <a:xfrm>
            <a:off x="720000" y="2890800"/>
            <a:ext cx="10980000" cy="2340000"/>
          </a:xfrm>
          <a:prstGeom prst="rect">
            <a:avLst/>
          </a:prstGeom>
        </p:spPr>
        <p:txBody>
          <a:bodyPr anchor="t">
            <a:norm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cxnSp>
        <p:nvCxnSpPr>
          <p:cNvPr id="7" name="Connecteur droit 6">
            <a:extLst>
              <a:ext uri="{FF2B5EF4-FFF2-40B4-BE49-F238E27FC236}">
                <a16:creationId xmlns:a16="http://schemas.microsoft.com/office/drawing/2014/main" id="{35F25D88-16F6-4D3B-8C17-BA11C25DC62C}"/>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age 8">
            <a:extLst>
              <a:ext uri="{FF2B5EF4-FFF2-40B4-BE49-F238E27FC236}">
                <a16:creationId xmlns:a16="http://schemas.microsoft.com/office/drawing/2014/main" id="{60F4A207-D769-4581-9483-6D034C089BFA}"/>
              </a:ext>
            </a:extLst>
          </p:cNvPr>
          <p:cNvPicPr>
            <a:picLocks noChangeAspect="1"/>
          </p:cNvPicPr>
          <p:nvPr userDrawn="1"/>
        </p:nvPicPr>
        <p:blipFill>
          <a:blip r:embed="rId2"/>
          <a:stretch>
            <a:fillRect/>
          </a:stretch>
        </p:blipFill>
        <p:spPr>
          <a:xfrm>
            <a:off x="9217047" y="4850022"/>
            <a:ext cx="2393282" cy="1188114"/>
          </a:xfrm>
          <a:prstGeom prst="rect">
            <a:avLst/>
          </a:prstGeom>
        </p:spPr>
      </p:pic>
      <p:sp>
        <p:nvSpPr>
          <p:cNvPr id="10" name="Espace réservé du texte 4">
            <a:extLst>
              <a:ext uri="{FF2B5EF4-FFF2-40B4-BE49-F238E27FC236}">
                <a16:creationId xmlns:a16="http://schemas.microsoft.com/office/drawing/2014/main" id="{CA7AE945-3042-4BB3-A445-C5D3B345E25E}"/>
              </a:ext>
            </a:extLst>
          </p:cNvPr>
          <p:cNvSpPr txBox="1">
            <a:spLocks/>
          </p:cNvSpPr>
          <p:nvPr userDrawn="1"/>
        </p:nvSpPr>
        <p:spPr>
          <a:xfrm>
            <a:off x="707611"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spTree>
    <p:extLst>
      <p:ext uri="{BB962C8B-B14F-4D97-AF65-F5344CB8AC3E}">
        <p14:creationId xmlns:p14="http://schemas.microsoft.com/office/powerpoint/2010/main" val="3726867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0A029AA9-C06A-4BDE-97EA-83C9A2286612}"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EFC3A1B9-30C4-48D2-B7F7-2DF55BFBFB7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rgbClr val="009597"/>
                </a:solidFill>
              </a:defRPr>
            </a:lvl1pPr>
          </a:lstStyle>
          <a:p>
            <a:r>
              <a:rPr lang="fr-FR"/>
              <a:t>Modifiez le style du titre</a:t>
            </a:r>
          </a:p>
        </p:txBody>
      </p:sp>
      <p:sp>
        <p:nvSpPr>
          <p:cNvPr id="15" name="Sous-titre 2">
            <a:extLst>
              <a:ext uri="{FF2B5EF4-FFF2-40B4-BE49-F238E27FC236}">
                <a16:creationId xmlns:a16="http://schemas.microsoft.com/office/drawing/2014/main" id="{0E5D6B6E-8133-4B1A-BEF3-EFCB7E761F2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3017127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rgbClr val="51667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BFEE30CA-550D-4B40-AC00-1D7344F1FC66}"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34494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1A3842F2-4342-47FF-96BA-2ADB26A96D3E}"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F5FC3739-6580-437B-BB6C-2BEBC455B86B}"/>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CDC6644B-0360-460D-9EF4-F3DCCFB2749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7962992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4AA8B582-F230-48A9-A8F1-7D7ECADCDDE3}"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6DAF8C55-0057-4940-9BB0-E98F0CC07E47}"/>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1517642-9DBD-477E-8C28-566596E6FEF6}"/>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110541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A6EFF131-64CF-4364-B5B8-B088181AD54C}"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B5B6FE49-74B6-4DA2-BFEB-6DB07B4E0060}"/>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A5BA546-1879-432B-A158-FCB2E80D2F23}"/>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13766359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55FC27FC-8CC1-4227-BA07-A30D24AF6D03}"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F99899B9-33CA-4CD3-9698-CE0BE895C95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F2C5454A-260A-4934-BAB6-001AFB7146BC}"/>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0070525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68834A7C-5595-4963-969E-FE478671E391}"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6CC8D299-D7F3-4B91-9D6F-999B50A0BB55}"/>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1BEA130-0337-41B4-A954-F635A5584B88}"/>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2234485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253130"/>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9" name="Espace réservé de la date 3">
            <a:extLst>
              <a:ext uri="{FF2B5EF4-FFF2-40B4-BE49-F238E27FC236}">
                <a16:creationId xmlns:a16="http://schemas.microsoft.com/office/drawing/2014/main" id="{A9E3B85B-FAA6-4EBD-931B-1056323187A4}"/>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1BC02C49-5DF4-4447-A386-7005CD765B7C}"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8888F873-F6E1-4DE4-865A-A557E509BC24}"/>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42171416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e avec graphiqu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6480000" cy="720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993651"/>
            <a:ext cx="6480000" cy="2916953"/>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6" name="Espace réservé du graphique 5">
            <a:extLst>
              <a:ext uri="{FF2B5EF4-FFF2-40B4-BE49-F238E27FC236}">
                <a16:creationId xmlns:a16="http://schemas.microsoft.com/office/drawing/2014/main" id="{5B4A068C-20AD-4FFB-9C49-0DC3A94E5C56}"/>
              </a:ext>
            </a:extLst>
          </p:cNvPr>
          <p:cNvSpPr>
            <a:spLocks noGrp="1"/>
          </p:cNvSpPr>
          <p:nvPr>
            <p:ph type="chart" sz="quarter" idx="14"/>
          </p:nvPr>
        </p:nvSpPr>
        <p:spPr>
          <a:xfrm>
            <a:off x="7389157" y="2125662"/>
            <a:ext cx="4130841" cy="3784943"/>
          </a:xfrm>
          <a:prstGeom prst="rect">
            <a:avLst/>
          </a:prstGeom>
          <a:solidFill>
            <a:schemeClr val="bg1">
              <a:lumMod val="95000"/>
            </a:schemeClr>
          </a:solidFill>
        </p:spPr>
        <p:txBody>
          <a:bodyPr anchor="ctr"/>
          <a:lstStyle>
            <a:lvl1pPr algn="ctr">
              <a:defRPr/>
            </a:lvl1pPr>
          </a:lstStyle>
          <a:p>
            <a:r>
              <a:rPr lang="fr-FR"/>
              <a:t>Cliquez sur l'icône pour ajouter un graphique</a:t>
            </a:r>
          </a:p>
        </p:txBody>
      </p:sp>
      <p:sp>
        <p:nvSpPr>
          <p:cNvPr id="9" name="Espace réservé de la date 3">
            <a:extLst>
              <a:ext uri="{FF2B5EF4-FFF2-40B4-BE49-F238E27FC236}">
                <a16:creationId xmlns:a16="http://schemas.microsoft.com/office/drawing/2014/main" id="{D64631C5-7305-42A4-8D65-5C4C808F316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B99DAA56-CEA4-44BC-838C-56726F94174D}"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B38D5601-3298-4366-8A8C-7CA131EB5479}"/>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6970662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avec photo">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12" name="Espace réservé pour une image  2">
            <a:extLst>
              <a:ext uri="{FF2B5EF4-FFF2-40B4-BE49-F238E27FC236}">
                <a16:creationId xmlns:a16="http://schemas.microsoft.com/office/drawing/2014/main" id="{37D94D00-328F-462D-A767-108EAF86E589}"/>
              </a:ext>
            </a:extLst>
          </p:cNvPr>
          <p:cNvSpPr>
            <a:spLocks noGrp="1"/>
          </p:cNvSpPr>
          <p:nvPr>
            <p:ph type="pic" idx="14"/>
          </p:nvPr>
        </p:nvSpPr>
        <p:spPr>
          <a:xfrm>
            <a:off x="719997" y="1819655"/>
            <a:ext cx="10800000" cy="4090951"/>
          </a:xfrm>
          <a:prstGeom prst="rect">
            <a:avLst/>
          </a:prstGeom>
          <a:solidFill>
            <a:schemeClr val="bg1">
              <a:lumMod val="95000"/>
            </a:schemeClr>
          </a:solidFill>
        </p:spPr>
        <p:txBody>
          <a:bodyPr anchor="ctr">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7" name="Espace réservé de la date 3">
            <a:extLst>
              <a:ext uri="{FF2B5EF4-FFF2-40B4-BE49-F238E27FC236}">
                <a16:creationId xmlns:a16="http://schemas.microsoft.com/office/drawing/2014/main" id="{7B6542A8-9842-4351-9A88-AB9CCBCB5FDB}"/>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254F37A0-EF35-4262-9D61-867853DA0E86}" type="datetime1">
              <a:rPr lang="fr-FR" smtClean="0"/>
              <a:t>13/10/2023</a:t>
            </a:fld>
            <a:endParaRPr lang="fr-FR"/>
          </a:p>
        </p:txBody>
      </p:sp>
      <p:sp>
        <p:nvSpPr>
          <p:cNvPr id="9" name="Espace réservé du numéro de diapositive 5">
            <a:extLst>
              <a:ext uri="{FF2B5EF4-FFF2-40B4-BE49-F238E27FC236}">
                <a16:creationId xmlns:a16="http://schemas.microsoft.com/office/drawing/2014/main" id="{59B4AD3B-858F-48FF-B2D8-CB247CF708BC}"/>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2910107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exte">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13" name="Espace réservé du numéro de diapositive 5">
            <a:extLst>
              <a:ext uri="{FF2B5EF4-FFF2-40B4-BE49-F238E27FC236}">
                <a16:creationId xmlns:a16="http://schemas.microsoft.com/office/drawing/2014/main" id="{8888F873-F6E1-4DE4-865A-A557E509BC24}"/>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5" name="Espace réservé de la date 3">
            <a:extLst>
              <a:ext uri="{FF2B5EF4-FFF2-40B4-BE49-F238E27FC236}">
                <a16:creationId xmlns:a16="http://schemas.microsoft.com/office/drawing/2014/main" id="{E11FE0CB-1558-4573-B28A-6332BE63B845}"/>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Tree>
    <p:extLst>
      <p:ext uri="{BB962C8B-B14F-4D97-AF65-F5344CB8AC3E}">
        <p14:creationId xmlns:p14="http://schemas.microsoft.com/office/powerpoint/2010/main" val="42714398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object 2"/>
          <p:cNvSpPr/>
          <p:nvPr userDrawn="1"/>
        </p:nvSpPr>
        <p:spPr>
          <a:xfrm>
            <a:off x="1" y="12"/>
            <a:ext cx="12192635" cy="6857987"/>
          </a:xfrm>
          <a:custGeom>
            <a:avLst/>
            <a:gdLst/>
            <a:ahLst/>
            <a:cxnLst/>
            <a:rect l="l" t="t" r="r" b="b"/>
            <a:pathLst>
              <a:path w="12192635" h="6246495">
                <a:moveTo>
                  <a:pt x="0" y="6245987"/>
                </a:moveTo>
                <a:lnTo>
                  <a:pt x="12192114" y="6245987"/>
                </a:lnTo>
                <a:lnTo>
                  <a:pt x="12192114" y="0"/>
                </a:lnTo>
                <a:lnTo>
                  <a:pt x="0" y="0"/>
                </a:lnTo>
                <a:lnTo>
                  <a:pt x="0" y="6245987"/>
                </a:lnTo>
                <a:close/>
              </a:path>
            </a:pathLst>
          </a:custGeom>
          <a:solidFill>
            <a:schemeClr val="accent2"/>
          </a:solidFill>
        </p:spPr>
        <p:txBody>
          <a:bodyPr wrap="square" lIns="0" tIns="0" rIns="0" bIns="0" rtlCol="0"/>
          <a:lstStyle/>
          <a:p>
            <a:endParaRPr sz="1758"/>
          </a:p>
        </p:txBody>
      </p:sp>
      <p:sp>
        <p:nvSpPr>
          <p:cNvPr id="21" name="Holder 2"/>
          <p:cNvSpPr>
            <a:spLocks noGrp="1"/>
          </p:cNvSpPr>
          <p:nvPr>
            <p:ph type="title"/>
          </p:nvPr>
        </p:nvSpPr>
        <p:spPr>
          <a:xfrm>
            <a:off x="973792" y="2684913"/>
            <a:ext cx="5690916" cy="1097280"/>
          </a:xfrm>
          <a:prstGeom prst="rect">
            <a:avLst/>
          </a:prstGeom>
          <a:ln cmpd="sng">
            <a:noFill/>
          </a:ln>
          <a:effectLst/>
        </p:spPr>
        <p:txBody>
          <a:bodyPr lIns="0" tIns="0" rIns="0" bIns="0" anchor="ctr">
            <a:normAutofit/>
          </a:bodyPr>
          <a:lstStyle>
            <a:lvl1pPr>
              <a:defRPr sz="3125" b="0">
                <a:solidFill>
                  <a:schemeClr val="bg1"/>
                </a:solidFill>
                <a:latin typeface="Arial Black" panose="020B0A04020102020204" pitchFamily="34" charset="0"/>
                <a:cs typeface="Baloo 2" panose="03080502040302020200" pitchFamily="66" charset="0"/>
              </a:defRPr>
            </a:lvl1pPr>
          </a:lstStyle>
          <a:p>
            <a:endParaRPr/>
          </a:p>
        </p:txBody>
      </p:sp>
      <p:pic>
        <p:nvPicPr>
          <p:cNvPr id="8" name="Image 7"/>
          <p:cNvPicPr>
            <a:picLocks noChangeAspect="1"/>
          </p:cNvPicPr>
          <p:nvPr userDrawn="1"/>
        </p:nvPicPr>
        <p:blipFill rotWithShape="1">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l="-1355" t="-1572" r="12994" b="13876"/>
          <a:stretch/>
        </p:blipFill>
        <p:spPr>
          <a:xfrm>
            <a:off x="7343907" y="1554274"/>
            <a:ext cx="4848092" cy="5303714"/>
          </a:xfrm>
          <a:prstGeom prst="rect">
            <a:avLst/>
          </a:prstGeom>
        </p:spPr>
      </p:pic>
      <p:sp>
        <p:nvSpPr>
          <p:cNvPr id="25"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3792" y="6330938"/>
            <a:ext cx="540000" cy="246076"/>
          </a:xfrm>
          <a:prstGeom prst="rect">
            <a:avLst/>
          </a:prstGeom>
        </p:spPr>
        <p:txBody>
          <a:bodyPr vert="horz" lIns="91440" tIns="45720" rIns="91440" bIns="45720" rtlCol="0" anchor="ctr">
            <a:normAutofit/>
          </a:bodyPr>
          <a:lstStyle>
            <a:lvl1pPr algn="l">
              <a:defRPr sz="977" b="1">
                <a:solidFill>
                  <a:srgbClr val="C60064"/>
                </a:solidFill>
                <a:latin typeface="Arial" panose="020B0604020202020204" pitchFamily="34" charset="0"/>
                <a:cs typeface="Arial" panose="020B0604020202020204" pitchFamily="34" charset="0"/>
              </a:defRPr>
            </a:lvl1pPr>
          </a:lstStyle>
          <a:p>
            <a:fld id="{975A587B-5814-4D9B-9598-FE9CB954CB01}" type="slidenum">
              <a:rPr lang="fr-FR" smtClean="0"/>
              <a:pPr/>
              <a:t>‹N°›</a:t>
            </a:fld>
            <a:endParaRPr lang="fr-FR"/>
          </a:p>
        </p:txBody>
      </p:sp>
      <p:pic>
        <p:nvPicPr>
          <p:cNvPr id="11" name="Image 10">
            <a:extLst>
              <a:ext uri="{FF2B5EF4-FFF2-40B4-BE49-F238E27FC236}">
                <a16:creationId xmlns:a16="http://schemas.microsoft.com/office/drawing/2014/main" id="{501D6325-57AE-4D73-829C-218A3728F5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2000" y="-39773"/>
            <a:ext cx="960000" cy="960000"/>
          </a:xfrm>
          <a:prstGeom prst="rect">
            <a:avLst/>
          </a:prstGeom>
        </p:spPr>
      </p:pic>
    </p:spTree>
    <p:extLst>
      <p:ext uri="{BB962C8B-B14F-4D97-AF65-F5344CB8AC3E}">
        <p14:creationId xmlns:p14="http://schemas.microsoft.com/office/powerpoint/2010/main" val="11336997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7" name="object 2"/>
          <p:cNvSpPr/>
          <p:nvPr userDrawn="1"/>
        </p:nvSpPr>
        <p:spPr>
          <a:xfrm>
            <a:off x="1" y="12"/>
            <a:ext cx="12192635" cy="6857987"/>
          </a:xfrm>
          <a:custGeom>
            <a:avLst/>
            <a:gdLst/>
            <a:ahLst/>
            <a:cxnLst/>
            <a:rect l="l" t="t" r="r" b="b"/>
            <a:pathLst>
              <a:path w="12192635" h="6246495">
                <a:moveTo>
                  <a:pt x="0" y="6245987"/>
                </a:moveTo>
                <a:lnTo>
                  <a:pt x="12192114" y="6245987"/>
                </a:lnTo>
                <a:lnTo>
                  <a:pt x="12192114" y="0"/>
                </a:lnTo>
                <a:lnTo>
                  <a:pt x="0" y="0"/>
                </a:lnTo>
                <a:lnTo>
                  <a:pt x="0" y="6245987"/>
                </a:lnTo>
                <a:close/>
              </a:path>
            </a:pathLst>
          </a:custGeom>
          <a:solidFill>
            <a:schemeClr val="accent4"/>
          </a:solidFill>
        </p:spPr>
        <p:txBody>
          <a:bodyPr wrap="square" lIns="0" tIns="0" rIns="0" bIns="0" rtlCol="0"/>
          <a:lstStyle/>
          <a:p>
            <a:endParaRPr sz="1758"/>
          </a:p>
        </p:txBody>
      </p:sp>
      <p:sp>
        <p:nvSpPr>
          <p:cNvPr id="21" name="Holder 2"/>
          <p:cNvSpPr>
            <a:spLocks noGrp="1"/>
          </p:cNvSpPr>
          <p:nvPr>
            <p:ph type="title"/>
          </p:nvPr>
        </p:nvSpPr>
        <p:spPr>
          <a:xfrm>
            <a:off x="973792" y="2684913"/>
            <a:ext cx="5690916" cy="1097280"/>
          </a:xfrm>
          <a:prstGeom prst="rect">
            <a:avLst/>
          </a:prstGeom>
          <a:ln cmpd="sng">
            <a:noFill/>
          </a:ln>
          <a:effectLst/>
        </p:spPr>
        <p:txBody>
          <a:bodyPr lIns="0" tIns="0" rIns="0" bIns="0" anchor="ctr">
            <a:normAutofit/>
          </a:bodyPr>
          <a:lstStyle>
            <a:lvl1pPr>
              <a:defRPr sz="3125" b="0">
                <a:solidFill>
                  <a:schemeClr val="bg1"/>
                </a:solidFill>
                <a:latin typeface="Arial Black" panose="020B0A04020102020204" pitchFamily="34" charset="0"/>
                <a:cs typeface="Baloo 2" panose="03080502040302020200" pitchFamily="66" charset="0"/>
              </a:defRPr>
            </a:lvl1pPr>
          </a:lstStyle>
          <a:p>
            <a:endParaRPr/>
          </a:p>
        </p:txBody>
      </p:sp>
      <p:pic>
        <p:nvPicPr>
          <p:cNvPr id="8" name="Image 7"/>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1355" t="-1572" r="12994" b="13876"/>
          <a:stretch/>
        </p:blipFill>
        <p:spPr>
          <a:xfrm>
            <a:off x="7343907" y="1554274"/>
            <a:ext cx="4848092" cy="5303714"/>
          </a:xfrm>
          <a:prstGeom prst="rect">
            <a:avLst/>
          </a:prstGeom>
        </p:spPr>
      </p:pic>
      <p:sp>
        <p:nvSpPr>
          <p:cNvPr id="25"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3792" y="6330938"/>
            <a:ext cx="540000" cy="246076"/>
          </a:xfrm>
          <a:prstGeom prst="rect">
            <a:avLst/>
          </a:prstGeom>
        </p:spPr>
        <p:txBody>
          <a:bodyPr vert="horz" lIns="91440" tIns="45720" rIns="91440" bIns="45720" rtlCol="0" anchor="ctr">
            <a:normAutofit/>
          </a:bodyPr>
          <a:lstStyle>
            <a:lvl1pPr algn="l">
              <a:defRPr sz="977" b="1">
                <a:solidFill>
                  <a:srgbClr val="C60064"/>
                </a:solidFill>
                <a:latin typeface="Arial" panose="020B0604020202020204" pitchFamily="34" charset="0"/>
                <a:cs typeface="Arial" panose="020B0604020202020204" pitchFamily="34" charset="0"/>
              </a:defRPr>
            </a:lvl1pPr>
          </a:lstStyle>
          <a:p>
            <a:fld id="{975A587B-5814-4D9B-9598-FE9CB954CB01}" type="slidenum">
              <a:rPr lang="fr-FR" smtClean="0"/>
              <a:pPr/>
              <a:t>‹N°›</a:t>
            </a:fld>
            <a:endParaRPr lang="fr-FR"/>
          </a:p>
        </p:txBody>
      </p:sp>
      <p:pic>
        <p:nvPicPr>
          <p:cNvPr id="11" name="Image 10">
            <a:extLst>
              <a:ext uri="{FF2B5EF4-FFF2-40B4-BE49-F238E27FC236}">
                <a16:creationId xmlns:a16="http://schemas.microsoft.com/office/drawing/2014/main" id="{501D6325-57AE-4D73-829C-218A3728F5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2000" y="-39773"/>
            <a:ext cx="960000" cy="960000"/>
          </a:xfrm>
          <a:prstGeom prst="rect">
            <a:avLst/>
          </a:prstGeom>
        </p:spPr>
      </p:pic>
    </p:spTree>
    <p:extLst>
      <p:ext uri="{BB962C8B-B14F-4D97-AF65-F5344CB8AC3E}">
        <p14:creationId xmlns:p14="http://schemas.microsoft.com/office/powerpoint/2010/main" val="20996185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7" name="object 2"/>
          <p:cNvSpPr/>
          <p:nvPr userDrawn="1"/>
        </p:nvSpPr>
        <p:spPr>
          <a:xfrm>
            <a:off x="1" y="12"/>
            <a:ext cx="12192635" cy="6857987"/>
          </a:xfrm>
          <a:custGeom>
            <a:avLst/>
            <a:gdLst/>
            <a:ahLst/>
            <a:cxnLst/>
            <a:rect l="l" t="t" r="r" b="b"/>
            <a:pathLst>
              <a:path w="12192635" h="6246495">
                <a:moveTo>
                  <a:pt x="0" y="6245987"/>
                </a:moveTo>
                <a:lnTo>
                  <a:pt x="12192114" y="6245987"/>
                </a:lnTo>
                <a:lnTo>
                  <a:pt x="12192114" y="0"/>
                </a:lnTo>
                <a:lnTo>
                  <a:pt x="0" y="0"/>
                </a:lnTo>
                <a:lnTo>
                  <a:pt x="0" y="6245987"/>
                </a:lnTo>
                <a:close/>
              </a:path>
            </a:pathLst>
          </a:custGeom>
          <a:solidFill>
            <a:schemeClr val="accent5"/>
          </a:solidFill>
        </p:spPr>
        <p:txBody>
          <a:bodyPr wrap="square" lIns="0" tIns="0" rIns="0" bIns="0" rtlCol="0"/>
          <a:lstStyle/>
          <a:p>
            <a:endParaRPr sz="1758"/>
          </a:p>
        </p:txBody>
      </p:sp>
      <p:sp>
        <p:nvSpPr>
          <p:cNvPr id="21" name="Holder 2"/>
          <p:cNvSpPr>
            <a:spLocks noGrp="1"/>
          </p:cNvSpPr>
          <p:nvPr>
            <p:ph type="title"/>
          </p:nvPr>
        </p:nvSpPr>
        <p:spPr>
          <a:xfrm>
            <a:off x="973792" y="2684913"/>
            <a:ext cx="5690916" cy="1097280"/>
          </a:xfrm>
          <a:prstGeom prst="rect">
            <a:avLst/>
          </a:prstGeom>
          <a:ln cmpd="sng">
            <a:noFill/>
          </a:ln>
          <a:effectLst/>
        </p:spPr>
        <p:txBody>
          <a:bodyPr lIns="0" tIns="0" rIns="0" bIns="0" anchor="ctr">
            <a:normAutofit/>
          </a:bodyPr>
          <a:lstStyle>
            <a:lvl1pPr>
              <a:defRPr sz="3125" b="0">
                <a:solidFill>
                  <a:schemeClr val="bg1"/>
                </a:solidFill>
                <a:latin typeface="Arial Black" panose="020B0A04020102020204" pitchFamily="34" charset="0"/>
                <a:cs typeface="Baloo 2" panose="03080502040302020200" pitchFamily="66" charset="0"/>
              </a:defRPr>
            </a:lvl1pPr>
          </a:lstStyle>
          <a:p>
            <a:endParaRPr/>
          </a:p>
        </p:txBody>
      </p:sp>
      <p:pic>
        <p:nvPicPr>
          <p:cNvPr id="8" name="Image 7"/>
          <p:cNvPicPr>
            <a:picLocks noChangeAspect="1"/>
          </p:cNvPicPr>
          <p:nvPr userDrawn="1"/>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1355" t="-1572" r="12994" b="13876"/>
          <a:stretch/>
        </p:blipFill>
        <p:spPr>
          <a:xfrm>
            <a:off x="7343908" y="1554274"/>
            <a:ext cx="4848092" cy="5303714"/>
          </a:xfrm>
          <a:prstGeom prst="rect">
            <a:avLst/>
          </a:prstGeom>
        </p:spPr>
      </p:pic>
      <p:sp>
        <p:nvSpPr>
          <p:cNvPr id="25"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3792" y="6330938"/>
            <a:ext cx="540000" cy="246076"/>
          </a:xfrm>
          <a:prstGeom prst="rect">
            <a:avLst/>
          </a:prstGeom>
        </p:spPr>
        <p:txBody>
          <a:bodyPr vert="horz" lIns="91440" tIns="45720" rIns="91440" bIns="45720" rtlCol="0" anchor="ctr">
            <a:normAutofit/>
          </a:bodyPr>
          <a:lstStyle>
            <a:lvl1pPr algn="l">
              <a:defRPr sz="977" b="1">
                <a:solidFill>
                  <a:srgbClr val="C60064"/>
                </a:solidFill>
                <a:latin typeface="Arial" panose="020B0604020202020204" pitchFamily="34" charset="0"/>
                <a:cs typeface="Arial" panose="020B0604020202020204" pitchFamily="34" charset="0"/>
              </a:defRPr>
            </a:lvl1pPr>
          </a:lstStyle>
          <a:p>
            <a:fld id="{975A587B-5814-4D9B-9598-FE9CB954CB01}" type="slidenum">
              <a:rPr lang="fr-FR" smtClean="0"/>
              <a:pPr/>
              <a:t>‹N°›</a:t>
            </a:fld>
            <a:endParaRPr lang="fr-FR"/>
          </a:p>
        </p:txBody>
      </p:sp>
      <p:pic>
        <p:nvPicPr>
          <p:cNvPr id="11" name="Image 10">
            <a:extLst>
              <a:ext uri="{FF2B5EF4-FFF2-40B4-BE49-F238E27FC236}">
                <a16:creationId xmlns:a16="http://schemas.microsoft.com/office/drawing/2014/main" id="{501D6325-57AE-4D73-829C-218A3728F5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2000" y="-39773"/>
            <a:ext cx="960000" cy="960000"/>
          </a:xfrm>
          <a:prstGeom prst="rect">
            <a:avLst/>
          </a:prstGeom>
        </p:spPr>
      </p:pic>
    </p:spTree>
    <p:extLst>
      <p:ext uri="{BB962C8B-B14F-4D97-AF65-F5344CB8AC3E}">
        <p14:creationId xmlns:p14="http://schemas.microsoft.com/office/powerpoint/2010/main" val="3817384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7" name="object 2"/>
          <p:cNvSpPr/>
          <p:nvPr userDrawn="1"/>
        </p:nvSpPr>
        <p:spPr>
          <a:xfrm>
            <a:off x="1" y="12"/>
            <a:ext cx="12192635" cy="6857987"/>
          </a:xfrm>
          <a:custGeom>
            <a:avLst/>
            <a:gdLst/>
            <a:ahLst/>
            <a:cxnLst/>
            <a:rect l="l" t="t" r="r" b="b"/>
            <a:pathLst>
              <a:path w="12192635" h="6246495">
                <a:moveTo>
                  <a:pt x="0" y="6245987"/>
                </a:moveTo>
                <a:lnTo>
                  <a:pt x="12192114" y="6245987"/>
                </a:lnTo>
                <a:lnTo>
                  <a:pt x="12192114" y="0"/>
                </a:lnTo>
                <a:lnTo>
                  <a:pt x="0" y="0"/>
                </a:lnTo>
                <a:lnTo>
                  <a:pt x="0" y="6245987"/>
                </a:lnTo>
                <a:close/>
              </a:path>
            </a:pathLst>
          </a:custGeom>
          <a:solidFill>
            <a:srgbClr val="C60064"/>
          </a:solidFill>
        </p:spPr>
        <p:txBody>
          <a:bodyPr wrap="square" lIns="0" tIns="0" rIns="0" bIns="0" rtlCol="0"/>
          <a:lstStyle/>
          <a:p>
            <a:endParaRPr sz="1758"/>
          </a:p>
        </p:txBody>
      </p:sp>
      <p:sp>
        <p:nvSpPr>
          <p:cNvPr id="21" name="Holder 2"/>
          <p:cNvSpPr>
            <a:spLocks noGrp="1"/>
          </p:cNvSpPr>
          <p:nvPr>
            <p:ph type="title"/>
          </p:nvPr>
        </p:nvSpPr>
        <p:spPr>
          <a:xfrm>
            <a:off x="973792" y="2684913"/>
            <a:ext cx="5690916" cy="1097280"/>
          </a:xfrm>
          <a:prstGeom prst="rect">
            <a:avLst/>
          </a:prstGeom>
          <a:ln cmpd="sng">
            <a:noFill/>
          </a:ln>
          <a:effectLst/>
        </p:spPr>
        <p:txBody>
          <a:bodyPr lIns="0" tIns="0" rIns="0" bIns="0" anchor="ctr">
            <a:normAutofit/>
          </a:bodyPr>
          <a:lstStyle>
            <a:lvl1pPr>
              <a:defRPr sz="3125" b="0">
                <a:solidFill>
                  <a:schemeClr val="bg1"/>
                </a:solidFill>
                <a:latin typeface="Arial Black" panose="020B0A04020102020204" pitchFamily="34" charset="0"/>
                <a:cs typeface="Baloo 2" panose="03080502040302020200" pitchFamily="66" charset="0"/>
              </a:defRPr>
            </a:lvl1pPr>
          </a:lstStyle>
          <a:p>
            <a:endParaRPr/>
          </a:p>
        </p:txBody>
      </p:sp>
      <p:pic>
        <p:nvPicPr>
          <p:cNvPr id="8" name="Image 7"/>
          <p:cNvPicPr>
            <a:picLocks noChangeAspect="1"/>
          </p:cNvPicPr>
          <p:nvPr userDrawn="1"/>
        </p:nvPicPr>
        <p:blipFill rotWithShape="1">
          <a:blip r:embed="rId2" cstate="print">
            <a:duotone>
              <a:prstClr val="black"/>
              <a:srgbClr val="C60064">
                <a:tint val="45000"/>
                <a:satMod val="400000"/>
              </a:srgbClr>
            </a:duotone>
            <a:extLst>
              <a:ext uri="{28A0092B-C50C-407E-A947-70E740481C1C}">
                <a14:useLocalDpi xmlns:a14="http://schemas.microsoft.com/office/drawing/2010/main" val="0"/>
              </a:ext>
            </a:extLst>
          </a:blip>
          <a:srcRect l="-1355" t="-1572" r="12994" b="13876"/>
          <a:stretch/>
        </p:blipFill>
        <p:spPr>
          <a:xfrm>
            <a:off x="7343908" y="1543764"/>
            <a:ext cx="4848092" cy="5303714"/>
          </a:xfrm>
          <a:prstGeom prst="rect">
            <a:avLst/>
          </a:prstGeom>
        </p:spPr>
      </p:pic>
      <p:sp>
        <p:nvSpPr>
          <p:cNvPr id="25"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3792" y="6330938"/>
            <a:ext cx="540000" cy="246076"/>
          </a:xfrm>
          <a:prstGeom prst="rect">
            <a:avLst/>
          </a:prstGeom>
        </p:spPr>
        <p:txBody>
          <a:bodyPr vert="horz" lIns="91440" tIns="45720" rIns="91440" bIns="45720" rtlCol="0" anchor="ctr">
            <a:normAutofit/>
          </a:bodyPr>
          <a:lstStyle>
            <a:lvl1pPr algn="l">
              <a:defRPr sz="977" b="1">
                <a:solidFill>
                  <a:srgbClr val="C60064"/>
                </a:solidFill>
                <a:latin typeface="Arial" panose="020B0604020202020204" pitchFamily="34" charset="0"/>
                <a:cs typeface="Arial" panose="020B0604020202020204" pitchFamily="34" charset="0"/>
              </a:defRPr>
            </a:lvl1pPr>
          </a:lstStyle>
          <a:p>
            <a:fld id="{975A587B-5814-4D9B-9598-FE9CB954CB01}" type="slidenum">
              <a:rPr lang="fr-FR" smtClean="0"/>
              <a:pPr/>
              <a:t>‹N°›</a:t>
            </a:fld>
            <a:endParaRPr lang="fr-FR"/>
          </a:p>
        </p:txBody>
      </p:sp>
      <p:pic>
        <p:nvPicPr>
          <p:cNvPr id="11" name="Image 10">
            <a:extLst>
              <a:ext uri="{FF2B5EF4-FFF2-40B4-BE49-F238E27FC236}">
                <a16:creationId xmlns:a16="http://schemas.microsoft.com/office/drawing/2014/main" id="{501D6325-57AE-4D73-829C-218A3728F5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32000" y="-39773"/>
            <a:ext cx="960000" cy="960000"/>
          </a:xfrm>
          <a:prstGeom prst="rect">
            <a:avLst/>
          </a:prstGeom>
        </p:spPr>
      </p:pic>
    </p:spTree>
    <p:extLst>
      <p:ext uri="{BB962C8B-B14F-4D97-AF65-F5344CB8AC3E}">
        <p14:creationId xmlns:p14="http://schemas.microsoft.com/office/powerpoint/2010/main" val="16806674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3_Titre avec photo">
    <p:spTree>
      <p:nvGrpSpPr>
        <p:cNvPr id="1" name=""/>
        <p:cNvGrpSpPr/>
        <p:nvPr/>
      </p:nvGrpSpPr>
      <p:grpSpPr>
        <a:xfrm>
          <a:off x="0" y="0"/>
          <a:ext cx="0" cy="0"/>
          <a:chOff x="0" y="0"/>
          <a:chExt cx="0" cy="0"/>
        </a:xfrm>
      </p:grpSpPr>
      <p:sp>
        <p:nvSpPr>
          <p:cNvPr id="6" name="Espace réservé du texte 2">
            <a:extLst>
              <a:ext uri="{FF2B5EF4-FFF2-40B4-BE49-F238E27FC236}">
                <a16:creationId xmlns:a16="http://schemas.microsoft.com/office/drawing/2014/main" id="{2A99A841-7888-F24E-88F4-E99A6A019CA3}"/>
              </a:ext>
            </a:extLst>
          </p:cNvPr>
          <p:cNvSpPr>
            <a:spLocks noGrp="1"/>
          </p:cNvSpPr>
          <p:nvPr>
            <p:ph idx="1"/>
          </p:nvPr>
        </p:nvSpPr>
        <p:spPr>
          <a:xfrm>
            <a:off x="622994" y="1684643"/>
            <a:ext cx="10942841" cy="3060000"/>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9" name="Connecteur droit 8"/>
          <p:cNvCxnSpPr/>
          <p:nvPr userDrawn="1"/>
        </p:nvCxnSpPr>
        <p:spPr>
          <a:xfrm flipH="1" flipV="1">
            <a:off x="439178" y="343168"/>
            <a:ext cx="5903" cy="612000"/>
          </a:xfrm>
          <a:prstGeom prst="line">
            <a:avLst/>
          </a:prstGeom>
          <a:ln w="57150">
            <a:solidFill>
              <a:schemeClr val="bg2"/>
            </a:solidFill>
          </a:ln>
        </p:spPr>
        <p:style>
          <a:lnRef idx="1">
            <a:schemeClr val="accent3"/>
          </a:lnRef>
          <a:fillRef idx="0">
            <a:schemeClr val="accent3"/>
          </a:fillRef>
          <a:effectRef idx="0">
            <a:schemeClr val="accent3"/>
          </a:effectRef>
          <a:fontRef idx="minor">
            <a:schemeClr val="tx1"/>
          </a:fontRef>
        </p:style>
      </p:cxnSp>
      <p:sp>
        <p:nvSpPr>
          <p:cNvPr id="11" name="Espace réservé du titre 1">
            <a:extLst>
              <a:ext uri="{FF2B5EF4-FFF2-40B4-BE49-F238E27FC236}">
                <a16:creationId xmlns:a16="http://schemas.microsoft.com/office/drawing/2014/main" id="{E39ED7BC-1FFE-1946-8E64-B94A05785D4D}"/>
              </a:ext>
            </a:extLst>
          </p:cNvPr>
          <p:cNvSpPr>
            <a:spLocks noGrp="1"/>
          </p:cNvSpPr>
          <p:nvPr>
            <p:ph type="title"/>
          </p:nvPr>
        </p:nvSpPr>
        <p:spPr>
          <a:xfrm>
            <a:off x="683031" y="447124"/>
            <a:ext cx="10942841" cy="900000"/>
          </a:xfrm>
          <a:prstGeom prst="rect">
            <a:avLst/>
          </a:prstGeom>
        </p:spPr>
        <p:txBody>
          <a:bodyPr vert="horz" lIns="91440" tIns="45720" rIns="91440" bIns="45720" rtlCol="0" anchor="t">
            <a:normAutofit/>
          </a:bodyPr>
          <a:lstStyle>
            <a:lvl1pPr>
              <a:defRPr lang="fr-FR" sz="3000" b="0" kern="1200" cap="all" spc="600" baseline="0" dirty="0">
                <a:solidFill>
                  <a:schemeClr val="bg2"/>
                </a:solidFill>
                <a:latin typeface="Gotham Bold"/>
                <a:ea typeface="+mj-ea"/>
                <a:cs typeface="+mj-cs"/>
              </a:defRPr>
            </a:lvl1pPr>
          </a:lstStyle>
          <a:p>
            <a:r>
              <a:rPr lang="fr-FR"/>
              <a:t>Modifiez le style du titre</a:t>
            </a:r>
          </a:p>
        </p:txBody>
      </p:sp>
    </p:spTree>
    <p:extLst>
      <p:ext uri="{BB962C8B-B14F-4D97-AF65-F5344CB8AC3E}">
        <p14:creationId xmlns:p14="http://schemas.microsoft.com/office/powerpoint/2010/main" val="42191428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719997" y="2124916"/>
            <a:ext cx="10800000" cy="432000"/>
          </a:xfrm>
          <a:prstGeom prst="rect">
            <a:avLst/>
          </a:prstGeom>
        </p:spPr>
        <p:txBody>
          <a:bodyPr anchor="t"/>
          <a:lstStyle>
            <a:lvl1pPr marL="0" indent="0">
              <a:buNone/>
              <a:defRPr sz="20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p:nvPr>
        </p:nvSpPr>
        <p:spPr>
          <a:xfrm>
            <a:off x="719999" y="2657475"/>
            <a:ext cx="10800000" cy="3253130"/>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3">
            <a:extLst>
              <a:ext uri="{FF2B5EF4-FFF2-40B4-BE49-F238E27FC236}">
                <a16:creationId xmlns:a16="http://schemas.microsoft.com/office/drawing/2014/main" id="{D4E7EC6F-59D9-4EE7-89BA-68CAF6A316B2}"/>
              </a:ext>
            </a:extLst>
          </p:cNvPr>
          <p:cNvSpPr>
            <a:spLocks noGrp="1"/>
          </p:cNvSpPr>
          <p:nvPr>
            <p:ph type="title"/>
          </p:nvPr>
        </p:nvSpPr>
        <p:spPr>
          <a:xfrm>
            <a:off x="719999" y="624956"/>
            <a:ext cx="10800000" cy="900000"/>
          </a:xfrm>
          <a:prstGeom prst="rect">
            <a:avLst/>
          </a:prstGeom>
        </p:spPr>
        <p:txBody>
          <a:bodyPr/>
          <a:lstStyle/>
          <a:p>
            <a:r>
              <a:rPr lang="fr-FR"/>
              <a:t>Modifiez le style du titre</a:t>
            </a:r>
          </a:p>
        </p:txBody>
      </p:sp>
      <p:sp>
        <p:nvSpPr>
          <p:cNvPr id="9" name="Espace réservé de la date 3">
            <a:extLst>
              <a:ext uri="{FF2B5EF4-FFF2-40B4-BE49-F238E27FC236}">
                <a16:creationId xmlns:a16="http://schemas.microsoft.com/office/drawing/2014/main" id="{A9E3B85B-FAA6-4EBD-931B-1056323187A4}"/>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13" name="Espace réservé du numéro de diapositive 5">
            <a:extLst>
              <a:ext uri="{FF2B5EF4-FFF2-40B4-BE49-F238E27FC236}">
                <a16:creationId xmlns:a16="http://schemas.microsoft.com/office/drawing/2014/main" id="{8888F873-F6E1-4DE4-865A-A557E509BC24}"/>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spTree>
    <p:extLst>
      <p:ext uri="{BB962C8B-B14F-4D97-AF65-F5344CB8AC3E}">
        <p14:creationId xmlns:p14="http://schemas.microsoft.com/office/powerpoint/2010/main" val="8949153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EFC3A1B9-30C4-48D2-B7F7-2DF55BFBFB71}"/>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rgbClr val="009597"/>
                </a:solidFill>
              </a:defRPr>
            </a:lvl1pPr>
          </a:lstStyle>
          <a:p>
            <a:r>
              <a:rPr lang="fr-FR"/>
              <a:t>Modifiez le style du titre</a:t>
            </a:r>
          </a:p>
        </p:txBody>
      </p:sp>
      <p:sp>
        <p:nvSpPr>
          <p:cNvPr id="15" name="Sous-titre 2">
            <a:extLst>
              <a:ext uri="{FF2B5EF4-FFF2-40B4-BE49-F238E27FC236}">
                <a16:creationId xmlns:a16="http://schemas.microsoft.com/office/drawing/2014/main" id="{0E5D6B6E-8133-4B1A-BEF3-EFCB7E761F2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477641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rgbClr val="51667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3" name="Titre 1">
            <a:extLst>
              <a:ext uri="{FF2B5EF4-FFF2-40B4-BE49-F238E27FC236}">
                <a16:creationId xmlns:a16="http://schemas.microsoft.com/office/drawing/2014/main" id="{EB846008-EFE2-47B0-B7F8-92425D08C318}"/>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4" name="Sous-titre 2">
            <a:extLst>
              <a:ext uri="{FF2B5EF4-FFF2-40B4-BE49-F238E27FC236}">
                <a16:creationId xmlns:a16="http://schemas.microsoft.com/office/drawing/2014/main" id="{21BC1F89-C2D8-4D79-A074-D1E96076541C}"/>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4075051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F5FC3739-6580-437B-BB6C-2BEBC455B86B}"/>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CDC6644B-0360-460D-9EF4-F3DCCFB2749A}"/>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39992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063E0E-3C96-49B9-97F2-3AF497913EB4}"/>
              </a:ext>
            </a:extLst>
          </p:cNvPr>
          <p:cNvSpPr/>
          <p:nvPr userDrawn="1"/>
        </p:nvSpPr>
        <p:spPr>
          <a:xfrm>
            <a:off x="782753" y="609600"/>
            <a:ext cx="10626494" cy="53035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7" name="Espace réservé de la date 6">
            <a:extLst>
              <a:ext uri="{FF2B5EF4-FFF2-40B4-BE49-F238E27FC236}">
                <a16:creationId xmlns:a16="http://schemas.microsoft.com/office/drawing/2014/main" id="{1E05C12A-6D66-4BD5-8AA3-E181C54F9E89}"/>
              </a:ext>
            </a:extLst>
          </p:cNvPr>
          <p:cNvSpPr>
            <a:spLocks noGrp="1"/>
          </p:cNvSpPr>
          <p:nvPr>
            <p:ph type="dt" sz="half" idx="10"/>
          </p:nvPr>
        </p:nvSpPr>
        <p:spPr>
          <a:xfrm>
            <a:off x="1138238" y="6174395"/>
            <a:ext cx="828017" cy="252000"/>
          </a:xfrm>
          <a:prstGeom prst="rect">
            <a:avLst/>
          </a:prstGeom>
        </p:spPr>
        <p:txBody>
          <a:bodyPr/>
          <a:lstStyle/>
          <a:p>
            <a:fld id="{9F42C373-ED48-49D9-A3E7-74C5F8A1C44A}" type="datetime1">
              <a:rPr lang="fr-FR" smtClean="0"/>
              <a:t>13/10/2023</a:t>
            </a:fld>
            <a:endParaRPr lang="fr-FR"/>
          </a:p>
        </p:txBody>
      </p:sp>
      <p:sp>
        <p:nvSpPr>
          <p:cNvPr id="9" name="Espace réservé du numéro de diapositive 8">
            <a:extLst>
              <a:ext uri="{FF2B5EF4-FFF2-40B4-BE49-F238E27FC236}">
                <a16:creationId xmlns:a16="http://schemas.microsoft.com/office/drawing/2014/main" id="{7E748F74-A8DF-40EA-847A-446CF8437D01}"/>
              </a:ext>
            </a:extLst>
          </p:cNvPr>
          <p:cNvSpPr>
            <a:spLocks noGrp="1"/>
          </p:cNvSpPr>
          <p:nvPr>
            <p:ph type="sldNum" sz="quarter" idx="12"/>
          </p:nvPr>
        </p:nvSpPr>
        <p:spPr/>
        <p:txBody>
          <a:bodyPr/>
          <a:lstStyle/>
          <a:p>
            <a:fld id="{975A587B-5814-4D9B-9598-FE9CB954CB01}" type="slidenum">
              <a:rPr lang="fr-FR" smtClean="0"/>
              <a:t>‹N°›</a:t>
            </a:fld>
            <a:endParaRPr lang="fr-FR"/>
          </a:p>
        </p:txBody>
      </p:sp>
      <p:sp>
        <p:nvSpPr>
          <p:cNvPr id="12" name="Titre 1">
            <a:extLst>
              <a:ext uri="{FF2B5EF4-FFF2-40B4-BE49-F238E27FC236}">
                <a16:creationId xmlns:a16="http://schemas.microsoft.com/office/drawing/2014/main" id="{6DAF8C55-0057-4940-9BB0-E98F0CC07E47}"/>
              </a:ext>
            </a:extLst>
          </p:cNvPr>
          <p:cNvSpPr>
            <a:spLocks noGrp="1"/>
          </p:cNvSpPr>
          <p:nvPr>
            <p:ph type="ctrTitle"/>
          </p:nvPr>
        </p:nvSpPr>
        <p:spPr>
          <a:xfrm>
            <a:off x="942679" y="462061"/>
            <a:ext cx="10274383" cy="2520000"/>
          </a:xfrm>
          <a:prstGeom prst="rect">
            <a:avLst/>
          </a:prstGeom>
        </p:spPr>
        <p:txBody>
          <a:bodyPr anchor="b">
            <a:normAutofit/>
          </a:bodyPr>
          <a:lstStyle>
            <a:lvl1pPr algn="l" defTabSz="360000">
              <a:lnSpc>
                <a:spcPct val="85000"/>
              </a:lnSpc>
              <a:tabLst/>
              <a:defRPr sz="5400">
                <a:solidFill>
                  <a:schemeClr val="bg1"/>
                </a:solidFill>
              </a:defRPr>
            </a:lvl1pPr>
          </a:lstStyle>
          <a:p>
            <a:r>
              <a:rPr lang="fr-FR"/>
              <a:t>Modifiez le style du titre</a:t>
            </a:r>
          </a:p>
        </p:txBody>
      </p:sp>
      <p:sp>
        <p:nvSpPr>
          <p:cNvPr id="15" name="Sous-titre 2">
            <a:extLst>
              <a:ext uri="{FF2B5EF4-FFF2-40B4-BE49-F238E27FC236}">
                <a16:creationId xmlns:a16="http://schemas.microsoft.com/office/drawing/2014/main" id="{41517642-9DBD-477E-8C28-566596E6FEF6}"/>
              </a:ext>
            </a:extLst>
          </p:cNvPr>
          <p:cNvSpPr>
            <a:spLocks noGrp="1"/>
          </p:cNvSpPr>
          <p:nvPr>
            <p:ph type="subTitle" idx="1"/>
          </p:nvPr>
        </p:nvSpPr>
        <p:spPr>
          <a:xfrm>
            <a:off x="942679" y="2891731"/>
            <a:ext cx="10274383" cy="2340000"/>
          </a:xfrm>
          <a:prstGeom prst="rect">
            <a:avLst/>
          </a:prstGeom>
        </p:spPr>
        <p:txBody>
          <a:bodyPr anchor="t">
            <a:noAutofit/>
          </a:bodyPr>
          <a:lstStyle>
            <a:lvl1pPr marL="0" indent="0" algn="l" defTabSz="360000">
              <a:lnSpc>
                <a:spcPct val="85000"/>
              </a:lnSpc>
              <a:buNone/>
              <a:tabLst/>
              <a:defRPr sz="5400" b="1"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Tree>
    <p:extLst>
      <p:ext uri="{BB962C8B-B14F-4D97-AF65-F5344CB8AC3E}">
        <p14:creationId xmlns:p14="http://schemas.microsoft.com/office/powerpoint/2010/main" val="2390363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oleObject" Target="../embeddings/oleObject2.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ags" Target="../tags/tag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5" Type="http://schemas.openxmlformats.org/officeDocument/2006/relationships/image" Target="../media/image2.png"/><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6.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2.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4.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3.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4.xml"/><Relationship Id="rId2" Type="http://schemas.openxmlformats.org/officeDocument/2006/relationships/slideLayout" Target="../slideLayouts/slideLayout31.xml"/><Relationship Id="rId16" Type="http://schemas.openxmlformats.org/officeDocument/2006/relationships/theme" Target="../theme/theme5.xml"/><Relationship Id="rId20" Type="http://schemas.openxmlformats.org/officeDocument/2006/relationships/image" Target="../media/image2.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4CCABA-51C6-4918-8620-D6D7356B331C}"/>
              </a:ext>
            </a:extLst>
          </p:cNvPr>
          <p:cNvGraphicFramePr>
            <a:graphicFrameLocks noChangeAspect="1"/>
          </p:cNvGraphicFramePr>
          <p:nvPr userDrawn="1">
            <p:custDataLst>
              <p:tags r:id="rId7"/>
            </p:custDataLst>
            <p:extLst>
              <p:ext uri="{D42A27DB-BD31-4B8C-83A1-F6EECF244321}">
                <p14:modId xmlns:p14="http://schemas.microsoft.com/office/powerpoint/2010/main" val="140519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2" name="Object 1" hidden="1">
                        <a:extLst>
                          <a:ext uri="{FF2B5EF4-FFF2-40B4-BE49-F238E27FC236}">
                            <a16:creationId xmlns:a16="http://schemas.microsoft.com/office/drawing/2014/main" id="{4C4CCABA-51C6-4918-8620-D6D7356B331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FAAEDF17-B1C9-4192-B8B4-B58F82AB9E9A}"/>
              </a:ext>
            </a:extLst>
          </p:cNvPr>
          <p:cNvPicPr>
            <a:picLocks noChangeAspect="1"/>
          </p:cNvPicPr>
          <p:nvPr userDrawn="1"/>
        </p:nvPicPr>
        <p:blipFill>
          <a:blip r:embed="rId10"/>
          <a:stretch>
            <a:fillRect/>
          </a:stretch>
        </p:blipFill>
        <p:spPr>
          <a:xfrm>
            <a:off x="9092336" y="6084192"/>
            <a:ext cx="2494103" cy="503560"/>
          </a:xfrm>
          <a:prstGeom prst="rect">
            <a:avLst/>
          </a:prstGeom>
        </p:spPr>
      </p:pic>
      <p:sp>
        <p:nvSpPr>
          <p:cNvPr id="8" name="Espace réservé du texte 4">
            <a:extLst>
              <a:ext uri="{FF2B5EF4-FFF2-40B4-BE49-F238E27FC236}">
                <a16:creationId xmlns:a16="http://schemas.microsoft.com/office/drawing/2014/main" id="{34C1451A-67EB-4D7A-9978-2D5F6A7AE0F6}"/>
              </a:ext>
            </a:extLst>
          </p:cNvPr>
          <p:cNvSpPr txBox="1">
            <a:spLocks/>
          </p:cNvSpPr>
          <p:nvPr userDrawn="1"/>
        </p:nvSpPr>
        <p:spPr>
          <a:xfrm>
            <a:off x="2066026"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sp>
        <p:nvSpPr>
          <p:cNvPr id="3" name="MSIPCMContentMarking" descr="{&quot;HashCode&quot;:358815922,&quot;Placement&quot;:&quot;Footer&quot;,&quot;Top&quot;:519.343,&quot;Left&quot;:440.4438,&quot;SlideWidth&quot;:960,&quot;SlideHeight&quot;:540}">
            <a:extLst>
              <a:ext uri="{FF2B5EF4-FFF2-40B4-BE49-F238E27FC236}">
                <a16:creationId xmlns:a16="http://schemas.microsoft.com/office/drawing/2014/main" id="{A71E6C5D-AC59-4C05-97E8-194C9C7CC06B}"/>
              </a:ext>
            </a:extLst>
          </p:cNvPr>
          <p:cNvSpPr txBox="1"/>
          <p:nvPr userDrawn="1"/>
        </p:nvSpPr>
        <p:spPr>
          <a:xfrm>
            <a:off x="5593636" y="6595656"/>
            <a:ext cx="1004728"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000000"/>
                </a:solidFill>
                <a:latin typeface="Calibri" panose="020F0502020204030204" pitchFamily="34" charset="0"/>
              </a:rPr>
              <a:t>Usage Interne</a:t>
            </a:r>
          </a:p>
        </p:txBody>
      </p:sp>
    </p:spTree>
    <p:extLst>
      <p:ext uri="{BB962C8B-B14F-4D97-AF65-F5344CB8AC3E}">
        <p14:creationId xmlns:p14="http://schemas.microsoft.com/office/powerpoint/2010/main" val="3605024799"/>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582" r:id="rId4"/>
    <p:sldLayoutId id="2147484583" r:id="rId5"/>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054273-96F6-41B7-87C9-EE2797C505BF}"/>
              </a:ext>
            </a:extLst>
          </p:cNvPr>
          <p:cNvGraphicFramePr>
            <a:graphicFrameLocks noChangeAspect="1"/>
          </p:cNvGraphicFramePr>
          <p:nvPr userDrawn="1">
            <p:custDataLst>
              <p:tags r:id="rId12"/>
            </p:custDataLst>
            <p:extLst>
              <p:ext uri="{D42A27DB-BD31-4B8C-83A1-F6EECF244321}">
                <p14:modId xmlns:p14="http://schemas.microsoft.com/office/powerpoint/2010/main" val="4281692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2" name="Object 1" hidden="1">
                        <a:extLst>
                          <a:ext uri="{FF2B5EF4-FFF2-40B4-BE49-F238E27FC236}">
                            <a16:creationId xmlns:a16="http://schemas.microsoft.com/office/drawing/2014/main" id="{56054273-96F6-41B7-87C9-EE2797C505B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FAAEDF17-B1C9-4192-B8B4-B58F82AB9E9A}"/>
              </a:ext>
            </a:extLst>
          </p:cNvPr>
          <p:cNvPicPr>
            <a:picLocks noChangeAspect="1"/>
          </p:cNvPicPr>
          <p:nvPr userDrawn="1"/>
        </p:nvPicPr>
        <p:blipFill>
          <a:blip r:embed="rId15"/>
          <a:stretch>
            <a:fillRect/>
          </a:stretch>
        </p:blipFill>
        <p:spPr>
          <a:xfrm>
            <a:off x="9092336" y="6084192"/>
            <a:ext cx="2494103" cy="503560"/>
          </a:xfrm>
          <a:prstGeom prst="rect">
            <a:avLst/>
          </a:prstGeom>
        </p:spPr>
      </p:pic>
      <p:sp>
        <p:nvSpPr>
          <p:cNvPr id="8" name="Espace réservé du texte 4">
            <a:extLst>
              <a:ext uri="{FF2B5EF4-FFF2-40B4-BE49-F238E27FC236}">
                <a16:creationId xmlns:a16="http://schemas.microsoft.com/office/drawing/2014/main" id="{34C1451A-67EB-4D7A-9978-2D5F6A7AE0F6}"/>
              </a:ext>
            </a:extLst>
          </p:cNvPr>
          <p:cNvSpPr txBox="1">
            <a:spLocks/>
          </p:cNvSpPr>
          <p:nvPr userDrawn="1"/>
        </p:nvSpPr>
        <p:spPr>
          <a:xfrm>
            <a:off x="2066026"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sp>
        <p:nvSpPr>
          <p:cNvPr id="3" name="MSIPCMContentMarking" descr="{&quot;HashCode&quot;:358815922,&quot;Placement&quot;:&quot;Footer&quot;,&quot;Top&quot;:519.343,&quot;Left&quot;:440.4438,&quot;SlideWidth&quot;:960,&quot;SlideHeight&quot;:540}">
            <a:extLst>
              <a:ext uri="{FF2B5EF4-FFF2-40B4-BE49-F238E27FC236}">
                <a16:creationId xmlns:a16="http://schemas.microsoft.com/office/drawing/2014/main" id="{471C26E0-C0A7-43DC-A195-A2F3A14D2962}"/>
              </a:ext>
            </a:extLst>
          </p:cNvPr>
          <p:cNvSpPr txBox="1"/>
          <p:nvPr userDrawn="1"/>
        </p:nvSpPr>
        <p:spPr>
          <a:xfrm>
            <a:off x="5593636" y="6595656"/>
            <a:ext cx="1004728"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000000"/>
                </a:solidFill>
                <a:latin typeface="Calibri" panose="020F0502020204030204" pitchFamily="34" charset="0"/>
              </a:rPr>
              <a:t>Usage Interne</a:t>
            </a:r>
          </a:p>
        </p:txBody>
      </p:sp>
    </p:spTree>
    <p:extLst>
      <p:ext uri="{BB962C8B-B14F-4D97-AF65-F5344CB8AC3E}">
        <p14:creationId xmlns:p14="http://schemas.microsoft.com/office/powerpoint/2010/main" val="399878868"/>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FAAEDF17-B1C9-4192-B8B4-B58F82AB9E9A}"/>
              </a:ext>
            </a:extLst>
          </p:cNvPr>
          <p:cNvPicPr>
            <a:picLocks noChangeAspect="1"/>
          </p:cNvPicPr>
          <p:nvPr userDrawn="1"/>
        </p:nvPicPr>
        <p:blipFill>
          <a:blip r:embed="rId6"/>
          <a:stretch>
            <a:fillRect/>
          </a:stretch>
        </p:blipFill>
        <p:spPr>
          <a:xfrm>
            <a:off x="9092336" y="6084192"/>
            <a:ext cx="2494103" cy="503560"/>
          </a:xfrm>
          <a:prstGeom prst="rect">
            <a:avLst/>
          </a:prstGeom>
        </p:spPr>
      </p:pic>
      <p:sp>
        <p:nvSpPr>
          <p:cNvPr id="8" name="Espace réservé du texte 4">
            <a:extLst>
              <a:ext uri="{FF2B5EF4-FFF2-40B4-BE49-F238E27FC236}">
                <a16:creationId xmlns:a16="http://schemas.microsoft.com/office/drawing/2014/main" id="{34C1451A-67EB-4D7A-9978-2D5F6A7AE0F6}"/>
              </a:ext>
            </a:extLst>
          </p:cNvPr>
          <p:cNvSpPr txBox="1">
            <a:spLocks/>
          </p:cNvSpPr>
          <p:nvPr userDrawn="1"/>
        </p:nvSpPr>
        <p:spPr>
          <a:xfrm>
            <a:off x="2066026"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USAGE Interne</a:t>
            </a:r>
          </a:p>
        </p:txBody>
      </p:sp>
      <p:pic>
        <p:nvPicPr>
          <p:cNvPr id="9" name="Image 8">
            <a:extLst>
              <a:ext uri="{FF2B5EF4-FFF2-40B4-BE49-F238E27FC236}">
                <a16:creationId xmlns:a16="http://schemas.microsoft.com/office/drawing/2014/main" id="{769746DA-D200-4BC0-9D44-804618F03758}"/>
              </a:ext>
            </a:extLst>
          </p:cNvPr>
          <p:cNvPicPr>
            <a:picLocks noChangeAspect="1"/>
          </p:cNvPicPr>
          <p:nvPr userDrawn="1"/>
        </p:nvPicPr>
        <p:blipFill>
          <a:blip r:embed="rId7"/>
          <a:stretch>
            <a:fillRect/>
          </a:stretch>
        </p:blipFill>
        <p:spPr>
          <a:xfrm>
            <a:off x="5545344" y="6193584"/>
            <a:ext cx="1149309" cy="267429"/>
          </a:xfrm>
          <a:prstGeom prst="rect">
            <a:avLst/>
          </a:prstGeom>
        </p:spPr>
      </p:pic>
      <p:sp>
        <p:nvSpPr>
          <p:cNvPr id="2" name="MSIPCMContentMarking" descr="{&quot;HashCode&quot;:358815922,&quot;Placement&quot;:&quot;Footer&quot;,&quot;Top&quot;:519.343,&quot;Left&quot;:440.4438,&quot;SlideWidth&quot;:960,&quot;SlideHeight&quot;:540}">
            <a:extLst>
              <a:ext uri="{FF2B5EF4-FFF2-40B4-BE49-F238E27FC236}">
                <a16:creationId xmlns:a16="http://schemas.microsoft.com/office/drawing/2014/main" id="{4DFBE909-D4EA-40F5-9115-617E020F9C59}"/>
              </a:ext>
            </a:extLst>
          </p:cNvPr>
          <p:cNvSpPr txBox="1"/>
          <p:nvPr userDrawn="1"/>
        </p:nvSpPr>
        <p:spPr>
          <a:xfrm>
            <a:off x="5593636" y="6595656"/>
            <a:ext cx="1004728"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000000"/>
                </a:solidFill>
                <a:latin typeface="Calibri" panose="020F0502020204030204" pitchFamily="34" charset="0"/>
              </a:rPr>
              <a:t>Usage Interne</a:t>
            </a:r>
          </a:p>
        </p:txBody>
      </p:sp>
    </p:spTree>
    <p:extLst>
      <p:ext uri="{BB962C8B-B14F-4D97-AF65-F5344CB8AC3E}">
        <p14:creationId xmlns:p14="http://schemas.microsoft.com/office/powerpoint/2010/main" val="2244098769"/>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DC00C446-2BD5-4E33-87A6-359237703AFB}" type="datetime1">
              <a:rPr lang="fr-FR" smtClean="0"/>
              <a:t>13/10/2023</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FAAEDF17-B1C9-4192-B8B4-B58F82AB9E9A}"/>
              </a:ext>
            </a:extLst>
          </p:cNvPr>
          <p:cNvPicPr>
            <a:picLocks noChangeAspect="1"/>
          </p:cNvPicPr>
          <p:nvPr userDrawn="1"/>
        </p:nvPicPr>
        <p:blipFill>
          <a:blip r:embed="rId12"/>
          <a:stretch>
            <a:fillRect/>
          </a:stretch>
        </p:blipFill>
        <p:spPr>
          <a:xfrm>
            <a:off x="9092336" y="6084192"/>
            <a:ext cx="2494103" cy="503560"/>
          </a:xfrm>
          <a:prstGeom prst="rect">
            <a:avLst/>
          </a:prstGeom>
        </p:spPr>
      </p:pic>
      <p:sp>
        <p:nvSpPr>
          <p:cNvPr id="8" name="Espace réservé du texte 4">
            <a:extLst>
              <a:ext uri="{FF2B5EF4-FFF2-40B4-BE49-F238E27FC236}">
                <a16:creationId xmlns:a16="http://schemas.microsoft.com/office/drawing/2014/main" id="{34C1451A-67EB-4D7A-9978-2D5F6A7AE0F6}"/>
              </a:ext>
            </a:extLst>
          </p:cNvPr>
          <p:cNvSpPr txBox="1">
            <a:spLocks/>
          </p:cNvSpPr>
          <p:nvPr userDrawn="1"/>
        </p:nvSpPr>
        <p:spPr>
          <a:xfrm>
            <a:off x="2066026"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sp>
        <p:nvSpPr>
          <p:cNvPr id="2" name="MSIPCMContentMarking" descr="{&quot;HashCode&quot;:358815922,&quot;Placement&quot;:&quot;Footer&quot;,&quot;Top&quot;:519.343,&quot;Left&quot;:440.4438,&quot;SlideWidth&quot;:960,&quot;SlideHeight&quot;:540}">
            <a:extLst>
              <a:ext uri="{FF2B5EF4-FFF2-40B4-BE49-F238E27FC236}">
                <a16:creationId xmlns:a16="http://schemas.microsoft.com/office/drawing/2014/main" id="{7B45A1D2-E13F-4E2E-9337-638237E0F120}"/>
              </a:ext>
            </a:extLst>
          </p:cNvPr>
          <p:cNvSpPr txBox="1"/>
          <p:nvPr userDrawn="1"/>
        </p:nvSpPr>
        <p:spPr>
          <a:xfrm>
            <a:off x="5593636" y="6595656"/>
            <a:ext cx="1004728"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000000"/>
                </a:solidFill>
                <a:latin typeface="Calibri" panose="020F0502020204030204" pitchFamily="34" charset="0"/>
              </a:rPr>
              <a:t>Usage Interne</a:t>
            </a:r>
          </a:p>
        </p:txBody>
      </p:sp>
    </p:spTree>
    <p:extLst>
      <p:ext uri="{BB962C8B-B14F-4D97-AF65-F5344CB8AC3E}">
        <p14:creationId xmlns:p14="http://schemas.microsoft.com/office/powerpoint/2010/main" val="818699528"/>
      </p:ext>
    </p:extLst>
  </p:cSld>
  <p:clrMap bg1="lt1" tx1="dk1" bg2="lt2" tx2="dk2" accent1="accent1" accent2="accent2" accent3="accent3" accent4="accent4" accent5="accent5" accent6="accent6" hlink="hlink" folHlink="folHlink"/>
  <p:sldLayoutIdLst>
    <p:sldLayoutId id="2147484543" r:id="rId1"/>
    <p:sldLayoutId id="2147484544" r:id="rId2"/>
    <p:sldLayoutId id="2147484545" r:id="rId3"/>
    <p:sldLayoutId id="2147484546" r:id="rId4"/>
    <p:sldLayoutId id="2147484547" r:id="rId5"/>
    <p:sldLayoutId id="2147484548" r:id="rId6"/>
    <p:sldLayoutId id="2147484549" r:id="rId7"/>
    <p:sldLayoutId id="2147484550" r:id="rId8"/>
    <p:sldLayoutId id="2147484551" r:id="rId9"/>
    <p:sldLayoutId id="2147484552" r:id="rId10"/>
  </p:sldLayoutIdLst>
  <p:hf hd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054273-96F6-41B7-87C9-EE2797C505B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2" name="Object 1" hidden="1">
                        <a:extLst>
                          <a:ext uri="{FF2B5EF4-FFF2-40B4-BE49-F238E27FC236}">
                            <a16:creationId xmlns:a16="http://schemas.microsoft.com/office/drawing/2014/main" id="{56054273-96F6-41B7-87C9-EE2797C505B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Espace réservé de la date 3">
            <a:extLst>
              <a:ext uri="{FF2B5EF4-FFF2-40B4-BE49-F238E27FC236}">
                <a16:creationId xmlns:a16="http://schemas.microsoft.com/office/drawing/2014/main" id="{FDD59078-F0EA-4B2B-B92A-CB1D0AA4F88E}"/>
              </a:ext>
            </a:extLst>
          </p:cNvPr>
          <p:cNvSpPr>
            <a:spLocks noGrp="1"/>
          </p:cNvSpPr>
          <p:nvPr>
            <p:ph type="dt" sz="half" idx="2"/>
          </p:nvPr>
        </p:nvSpPr>
        <p:spPr>
          <a:xfrm>
            <a:off x="1138238" y="6174395"/>
            <a:ext cx="828017" cy="252000"/>
          </a:xfrm>
          <a:prstGeom prst="rect">
            <a:avLst/>
          </a:prstGeom>
        </p:spPr>
        <p:txBody>
          <a:bodyPr vert="horz" lIns="91440" tIns="45720" rIns="91440" bIns="45720" rtlCol="0" anchor="ctr">
            <a:normAutofit/>
          </a:bodyPr>
          <a:lstStyle>
            <a:lvl1pPr algn="r">
              <a:defRPr sz="1000" b="1">
                <a:solidFill>
                  <a:schemeClr val="bg2"/>
                </a:solidFill>
              </a:defRPr>
            </a:lvl1pPr>
          </a:lstStyle>
          <a:p>
            <a:fld id="{6F8A3985-B129-4389-ABDB-C9E57863FD34}" type="datetime1">
              <a:rPr lang="fr-FR" smtClean="0"/>
              <a:t>13/10/2023</a:t>
            </a:fld>
            <a:endParaRPr lang="fr-FR"/>
          </a:p>
        </p:txBody>
      </p:sp>
      <p:sp>
        <p:nvSpPr>
          <p:cNvPr id="6" name="Espace réservé du numéro de diapositive 5">
            <a:extLst>
              <a:ext uri="{FF2B5EF4-FFF2-40B4-BE49-F238E27FC236}">
                <a16:creationId xmlns:a16="http://schemas.microsoft.com/office/drawing/2014/main" id="{2A1B493F-9EAA-4161-9132-F480E263F13A}"/>
              </a:ext>
            </a:extLst>
          </p:cNvPr>
          <p:cNvSpPr>
            <a:spLocks noGrp="1"/>
          </p:cNvSpPr>
          <p:nvPr>
            <p:ph type="sldNum" sz="quarter" idx="4"/>
          </p:nvPr>
        </p:nvSpPr>
        <p:spPr>
          <a:xfrm>
            <a:off x="705996" y="6174395"/>
            <a:ext cx="540000" cy="252000"/>
          </a:xfrm>
          <a:prstGeom prst="rect">
            <a:avLst/>
          </a:prstGeom>
        </p:spPr>
        <p:txBody>
          <a:bodyPr vert="horz" lIns="91440" tIns="45720" rIns="91440" bIns="45720" rtlCol="0" anchor="ctr">
            <a:normAutofit/>
          </a:bodyPr>
          <a:lstStyle>
            <a:lvl1pPr algn="l">
              <a:defRPr sz="1000" b="1">
                <a:solidFill>
                  <a:schemeClr val="bg2"/>
                </a:solidFill>
              </a:defRPr>
            </a:lvl1pPr>
          </a:lstStyle>
          <a:p>
            <a:fld id="{975A587B-5814-4D9B-9598-FE9CB954CB01}" type="slidenum">
              <a:rPr lang="fr-FR" smtClean="0"/>
              <a:pPr/>
              <a:t>‹N°›</a:t>
            </a:fld>
            <a:endParaRPr lang="fr-FR"/>
          </a:p>
        </p:txBody>
      </p:sp>
      <p:cxnSp>
        <p:nvCxnSpPr>
          <p:cNvPr id="10" name="Connecteur droit 9">
            <a:extLst>
              <a:ext uri="{FF2B5EF4-FFF2-40B4-BE49-F238E27FC236}">
                <a16:creationId xmlns:a16="http://schemas.microsoft.com/office/drawing/2014/main" id="{6CAF1617-1922-47D2-9D0D-C966F5A1F5ED}"/>
              </a:ext>
            </a:extLst>
          </p:cNvPr>
          <p:cNvCxnSpPr/>
          <p:nvPr userDrawn="1"/>
        </p:nvCxnSpPr>
        <p:spPr>
          <a:xfrm>
            <a:off x="804000" y="6120000"/>
            <a:ext cx="1058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FAAEDF17-B1C9-4192-B8B4-B58F82AB9E9A}"/>
              </a:ext>
            </a:extLst>
          </p:cNvPr>
          <p:cNvPicPr>
            <a:picLocks noChangeAspect="1"/>
          </p:cNvPicPr>
          <p:nvPr userDrawn="1"/>
        </p:nvPicPr>
        <p:blipFill>
          <a:blip r:embed="rId20"/>
          <a:stretch>
            <a:fillRect/>
          </a:stretch>
        </p:blipFill>
        <p:spPr>
          <a:xfrm>
            <a:off x="9092336" y="6084192"/>
            <a:ext cx="2494103" cy="503560"/>
          </a:xfrm>
          <a:prstGeom prst="rect">
            <a:avLst/>
          </a:prstGeom>
        </p:spPr>
      </p:pic>
      <p:sp>
        <p:nvSpPr>
          <p:cNvPr id="8" name="Espace réservé du texte 4">
            <a:extLst>
              <a:ext uri="{FF2B5EF4-FFF2-40B4-BE49-F238E27FC236}">
                <a16:creationId xmlns:a16="http://schemas.microsoft.com/office/drawing/2014/main" id="{34C1451A-67EB-4D7A-9978-2D5F6A7AE0F6}"/>
              </a:ext>
            </a:extLst>
          </p:cNvPr>
          <p:cNvSpPr txBox="1">
            <a:spLocks/>
          </p:cNvSpPr>
          <p:nvPr userDrawn="1"/>
        </p:nvSpPr>
        <p:spPr>
          <a:xfrm>
            <a:off x="2066026" y="6174395"/>
            <a:ext cx="4320000" cy="252000"/>
          </a:xfrm>
          <a:prstGeom prst="rect">
            <a:avLst/>
          </a:prstGeom>
        </p:spPr>
        <p:txBody>
          <a:bodyPr anchor="ctr"/>
          <a:lstStyle>
            <a:lvl1pPr marL="0" indent="0" algn="l" defTabSz="914400" rtl="0" eaLnBrk="1" latinLnBrk="0" hangingPunct="1">
              <a:lnSpc>
                <a:spcPct val="100000"/>
              </a:lnSpc>
              <a:spcBef>
                <a:spcPts val="0"/>
              </a:spcBef>
              <a:buFont typeface="Arial" panose="020B0604020202020204" pitchFamily="34" charset="0"/>
              <a:buNone/>
              <a:defRPr sz="1000" b="1" kern="1200" cap="all" spc="200" baseline="0">
                <a:solidFill>
                  <a:schemeClr val="tx1"/>
                </a:solidFill>
                <a:latin typeface="+mn-lt"/>
                <a:ea typeface="+mn-ea"/>
                <a:cs typeface="+mn-cs"/>
              </a:defRPr>
            </a:lvl1pPr>
            <a:lvl2pPr marL="457200" indent="0" algn="l" defTabSz="914400" rtl="0" eaLnBrk="1" latinLnBrk="0" hangingPunct="1">
              <a:lnSpc>
                <a:spcPct val="100000"/>
              </a:lnSpc>
              <a:spcBef>
                <a:spcPts val="2000"/>
              </a:spcBef>
              <a:buClr>
                <a:schemeClr val="accent1"/>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100000"/>
              </a:lnSpc>
              <a:spcBef>
                <a:spcPts val="23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100000"/>
              </a:lnSpc>
              <a:spcBef>
                <a:spcPts val="18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a:t>Interne</a:t>
            </a:r>
          </a:p>
        </p:txBody>
      </p:sp>
    </p:spTree>
    <p:extLst>
      <p:ext uri="{BB962C8B-B14F-4D97-AF65-F5344CB8AC3E}">
        <p14:creationId xmlns:p14="http://schemas.microsoft.com/office/powerpoint/2010/main" val="3310629383"/>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 id="2147484580" r:id="rId14"/>
    <p:sldLayoutId id="2147484581" r:id="rId15"/>
  </p:sldLayoutIdLst>
  <p:hf hdr="0" ftr="0"/>
  <p:txStyles>
    <p:titleStyle>
      <a:lvl1pPr algn="l" defTabSz="914400" rtl="0" eaLnBrk="1" latinLnBrk="0" hangingPunct="1">
        <a:lnSpc>
          <a:spcPct val="85000"/>
        </a:lnSpc>
        <a:spcBef>
          <a:spcPct val="0"/>
        </a:spcBef>
        <a:buNone/>
        <a:defRPr sz="3000" b="1" kern="1200" cap="all" baseline="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n-lt"/>
          <a:ea typeface="+mn-ea"/>
          <a:cs typeface="+mn-cs"/>
        </a:defRPr>
      </a:lvl1pPr>
      <a:lvl2pPr marL="0" indent="144000" algn="l" defTabSz="914400" rtl="0" eaLnBrk="1" latinLnBrk="0" hangingPunct="1">
        <a:lnSpc>
          <a:spcPct val="100000"/>
        </a:lnSpc>
        <a:spcBef>
          <a:spcPts val="20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0" indent="108000" algn="l" defTabSz="914400" rtl="0" eaLnBrk="1" latinLnBrk="0" hangingPunct="1">
        <a:lnSpc>
          <a:spcPct val="100000"/>
        </a:lnSpc>
        <a:spcBef>
          <a:spcPts val="2300"/>
        </a:spcBef>
        <a:buFont typeface="Arial" panose="020B0604020202020204" pitchFamily="34" charset="0"/>
        <a:buChar char="•"/>
        <a:defRPr sz="1400" kern="1200">
          <a:solidFill>
            <a:schemeClr val="tx1"/>
          </a:solidFill>
          <a:latin typeface="+mn-lt"/>
          <a:ea typeface="+mn-ea"/>
          <a:cs typeface="+mn-cs"/>
        </a:defRPr>
      </a:lvl3pPr>
      <a:lvl4pPr marL="396000" indent="-144000" algn="l" defTabSz="914400" rtl="0" eaLnBrk="1" latinLnBrk="0" hangingPunct="1">
        <a:lnSpc>
          <a:spcPct val="100000"/>
        </a:lnSpc>
        <a:spcBef>
          <a:spcPts val="18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2.png"/><Relationship Id="rId4" Type="http://schemas.microsoft.com/office/2007/relationships/hdphoto" Target="../media/hdphoto4.wdp"/></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3.emf"/></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4.emf"/></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learn.microsoft.com/fr-fr/connectors/connector-reference/connector-reference-partners-connectors"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microsoft.com/office/2007/relationships/hdphoto" Target="../media/hdphoto2.wdp"/><Relationship Id="rId5" Type="http://schemas.openxmlformats.org/officeDocument/2006/relationships/image" Target="../media/image14.png"/><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9.png"/><Relationship Id="rId3" Type="http://schemas.openxmlformats.org/officeDocument/2006/relationships/hyperlink" Target="make.powerapps.com" TargetMode="External"/><Relationship Id="rId7" Type="http://schemas.openxmlformats.org/officeDocument/2006/relationships/image" Target="../media/image31.png"/><Relationship Id="rId12"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8.png"/><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image" Target="../media/image47.png"/><Relationship Id="rId4" Type="http://schemas.openxmlformats.org/officeDocument/2006/relationships/image" Target="../media/image16.png"/><Relationship Id="rId9" Type="http://schemas.openxmlformats.org/officeDocument/2006/relationships/image" Target="../media/image46.png"/><Relationship Id="rId1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5.png"/><Relationship Id="rId5" Type="http://schemas.microsoft.com/office/2007/relationships/hdphoto" Target="../media/hdphoto2.wdp"/><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11.png"/><Relationship Id="rId4" Type="http://schemas.openxmlformats.org/officeDocument/2006/relationships/image" Target="../media/image17.png"/><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png"/><Relationship Id="rId1" Type="http://schemas.openxmlformats.org/officeDocument/2006/relationships/slideLayout" Target="../slideLayouts/slideLayout4.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26BE37-4F90-428B-966A-EE14C191B581}"/>
              </a:ext>
            </a:extLst>
          </p:cNvPr>
          <p:cNvGraphicFramePr>
            <a:graphicFrameLocks noChangeAspect="1"/>
          </p:cNvGraphicFramePr>
          <p:nvPr>
            <p:custDataLst>
              <p:tags r:id="rId2"/>
            </p:custDataLst>
            <p:extLst>
              <p:ext uri="{D42A27DB-BD31-4B8C-83A1-F6EECF244321}">
                <p14:modId xmlns:p14="http://schemas.microsoft.com/office/powerpoint/2010/main" val="320708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6326BE37-4F90-428B-966A-EE14C191B5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9E91F614-89FB-4354-B5E3-ECD766CDC165}"/>
              </a:ext>
            </a:extLst>
          </p:cNvPr>
          <p:cNvSpPr>
            <a:spLocks noGrp="1"/>
          </p:cNvSpPr>
          <p:nvPr>
            <p:ph type="ctrTitle"/>
          </p:nvPr>
        </p:nvSpPr>
        <p:spPr>
          <a:xfrm>
            <a:off x="6205931" y="1996591"/>
            <a:ext cx="5580000" cy="2414623"/>
          </a:xfrm>
        </p:spPr>
        <p:txBody>
          <a:bodyPr vert="horz">
            <a:normAutofit fontScale="90000"/>
          </a:bodyPr>
          <a:lstStyle/>
          <a:p>
            <a:r>
              <a:rPr lang="fr-FR"/>
              <a:t>POWER PLATFORM</a:t>
            </a:r>
            <a:br>
              <a:rPr lang="fr-FR"/>
            </a:br>
            <a:br>
              <a:rPr lang="fr-FR"/>
            </a:br>
            <a:r>
              <a:rPr lang="fr-FR" sz="3600"/>
              <a:t>TOUT Savoir sur l’offre v1 CAGIP</a:t>
            </a:r>
          </a:p>
        </p:txBody>
      </p:sp>
      <p:sp>
        <p:nvSpPr>
          <p:cNvPr id="7" name="TextBox 6">
            <a:extLst>
              <a:ext uri="{FF2B5EF4-FFF2-40B4-BE49-F238E27FC236}">
                <a16:creationId xmlns:a16="http://schemas.microsoft.com/office/drawing/2014/main" id="{BF1A3B6F-14E8-4284-B1D9-EED8011BDF16}"/>
              </a:ext>
            </a:extLst>
          </p:cNvPr>
          <p:cNvSpPr txBox="1"/>
          <p:nvPr/>
        </p:nvSpPr>
        <p:spPr>
          <a:xfrm>
            <a:off x="6205931" y="5078963"/>
            <a:ext cx="2638269" cy="369332"/>
          </a:xfrm>
          <a:prstGeom prst="rect">
            <a:avLst/>
          </a:prstGeom>
          <a:noFill/>
        </p:spPr>
        <p:txBody>
          <a:bodyPr wrap="square" rtlCol="0">
            <a:spAutoFit/>
          </a:bodyPr>
          <a:lstStyle/>
          <a:p>
            <a:r>
              <a:rPr lang="fr-FR">
                <a:solidFill>
                  <a:schemeClr val="bg2">
                    <a:lumMod val="75000"/>
                  </a:schemeClr>
                </a:solidFill>
              </a:rPr>
              <a:t>2023</a:t>
            </a:r>
          </a:p>
        </p:txBody>
      </p:sp>
      <p:pic>
        <p:nvPicPr>
          <p:cNvPr id="1026" name="Picture 2" descr="Power Platform - m-hance">
            <a:extLst>
              <a:ext uri="{FF2B5EF4-FFF2-40B4-BE49-F238E27FC236}">
                <a16:creationId xmlns:a16="http://schemas.microsoft.com/office/drawing/2014/main" id="{3C56BD59-C263-4C3A-F38C-673CF917402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38474" t="21358" r="34789" b="21330"/>
          <a:stretch/>
        </p:blipFill>
        <p:spPr bwMode="auto">
          <a:xfrm>
            <a:off x="8426450" y="776360"/>
            <a:ext cx="1251279" cy="12666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887249"/>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1C40F3-389D-A009-1162-BCB6B0B9D441}"/>
              </a:ext>
            </a:extLst>
          </p:cNvPr>
          <p:cNvSpPr>
            <a:spLocks noGrp="1"/>
          </p:cNvSpPr>
          <p:nvPr>
            <p:ph type="title"/>
          </p:nvPr>
        </p:nvSpPr>
        <p:spPr>
          <a:xfrm>
            <a:off x="442908" y="301684"/>
            <a:ext cx="10800000" cy="900000"/>
          </a:xfrm>
        </p:spPr>
        <p:txBody>
          <a:bodyPr/>
          <a:lstStyle/>
          <a:p>
            <a:r>
              <a:rPr lang="fr-FR"/>
              <a:t>comment réussir mon </a:t>
            </a:r>
            <a:r>
              <a:rPr lang="fr-FR" err="1"/>
              <a:t>onboarding</a:t>
            </a:r>
            <a:r>
              <a:rPr lang="fr-FR"/>
              <a:t> ? </a:t>
            </a:r>
          </a:p>
        </p:txBody>
      </p:sp>
      <p:sp>
        <p:nvSpPr>
          <p:cNvPr id="3" name="Espace réservé du numéro de diapositive 2">
            <a:extLst>
              <a:ext uri="{FF2B5EF4-FFF2-40B4-BE49-F238E27FC236}">
                <a16:creationId xmlns:a16="http://schemas.microsoft.com/office/drawing/2014/main" id="{894F0BDA-607B-93C0-ED4D-65ADA763AC9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EE349E4C-4B07-8FB0-F126-D8EC73315947}"/>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8" name="Rectangle 7">
            <a:extLst>
              <a:ext uri="{FF2B5EF4-FFF2-40B4-BE49-F238E27FC236}">
                <a16:creationId xmlns:a16="http://schemas.microsoft.com/office/drawing/2014/main" id="{738C422E-8FAA-4DF4-5084-04B9BB669B47}"/>
              </a:ext>
            </a:extLst>
          </p:cNvPr>
          <p:cNvSpPr/>
          <p:nvPr/>
        </p:nvSpPr>
        <p:spPr>
          <a:xfrm>
            <a:off x="0" y="926025"/>
            <a:ext cx="12192000" cy="891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r>
              <a:rPr lang="fr-FR" b="1">
                <a:solidFill>
                  <a:schemeClr val="bg2"/>
                </a:solidFill>
                <a:latin typeface="Arial"/>
                <a:cs typeface="Arial"/>
              </a:rPr>
              <a:t>Deux notions indispensables </a:t>
            </a:r>
            <a:r>
              <a:rPr lang="fr-FR">
                <a:solidFill>
                  <a:schemeClr val="tx1">
                    <a:lumMod val="50000"/>
                  </a:schemeClr>
                </a:solidFill>
                <a:latin typeface="Arial"/>
                <a:cs typeface="Arial"/>
              </a:rPr>
              <a:t>à adresser avant de déployer Power Platform au sein de son entité</a:t>
            </a:r>
          </a:p>
        </p:txBody>
      </p:sp>
      <p:sp>
        <p:nvSpPr>
          <p:cNvPr id="9" name="Rectangle 8">
            <a:extLst>
              <a:ext uri="{FF2B5EF4-FFF2-40B4-BE49-F238E27FC236}">
                <a16:creationId xmlns:a16="http://schemas.microsoft.com/office/drawing/2014/main" id="{BD0A3FCB-2149-B059-DBA8-93F1B2A20884}"/>
              </a:ext>
            </a:extLst>
          </p:cNvPr>
          <p:cNvSpPr/>
          <p:nvPr/>
        </p:nvSpPr>
        <p:spPr>
          <a:xfrm>
            <a:off x="2933343" y="1869289"/>
            <a:ext cx="8481315" cy="2018627"/>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just">
              <a:buFont typeface="Arial" panose="020B0604020202020204" pitchFamily="34" charset="0"/>
              <a:buChar char="•"/>
            </a:pPr>
            <a:r>
              <a:rPr lang="fr-FR" sz="1400">
                <a:solidFill>
                  <a:schemeClr val="tx1"/>
                </a:solidFill>
              </a:rPr>
              <a:t>Quelle est la typologie d’utilisateurs au sein de mon entité qui utilisera le service Power Platform?</a:t>
            </a:r>
          </a:p>
          <a:p>
            <a:pPr marL="342900" indent="-342900" algn="just">
              <a:buFont typeface="Arial" panose="020B0604020202020204" pitchFamily="34" charset="0"/>
              <a:buChar char="•"/>
            </a:pPr>
            <a:r>
              <a:rPr lang="fr-FR" sz="1400">
                <a:solidFill>
                  <a:schemeClr val="tx1"/>
                </a:solidFill>
              </a:rPr>
              <a:t>Quel type d’application ou de flux ont-ils besoin pour le bon déroulement de leur process métier ?</a:t>
            </a:r>
          </a:p>
          <a:p>
            <a:pPr marL="342900" indent="-342900" algn="just">
              <a:buFont typeface="Arial" panose="020B0604020202020204" pitchFamily="34" charset="0"/>
              <a:buChar char="•"/>
            </a:pPr>
            <a:r>
              <a:rPr lang="fr-FR" sz="1400">
                <a:solidFill>
                  <a:schemeClr val="tx1"/>
                </a:solidFill>
              </a:rPr>
              <a:t>Quels sont les finalités d’utilisation de ces solutions ?</a:t>
            </a:r>
          </a:p>
          <a:p>
            <a:pPr marL="342900" indent="-342900" algn="just">
              <a:buFont typeface="Arial" panose="020B0604020202020204" pitchFamily="34" charset="0"/>
              <a:buChar char="•"/>
            </a:pPr>
            <a:r>
              <a:rPr lang="fr-FR" sz="1400">
                <a:solidFill>
                  <a:schemeClr val="tx1"/>
                </a:solidFill>
              </a:rPr>
              <a:t>Est-ce que je dois mettre en place les formations internes pour présenter le service Power Platform à mes employés ? (Si, oui comment et avec quel moyen?)</a:t>
            </a:r>
          </a:p>
          <a:p>
            <a:pPr marL="342900" indent="-342900" algn="just">
              <a:buFont typeface="Arial" panose="020B0604020202020204" pitchFamily="34" charset="0"/>
              <a:buChar char="•"/>
            </a:pPr>
            <a:r>
              <a:rPr lang="fr-FR" sz="1400">
                <a:solidFill>
                  <a:schemeClr val="tx1"/>
                </a:solidFill>
              </a:rPr>
              <a:t>Quelles sont les meilleures pratiques pour encourager l'adoption et l'utilisation optimale de Power Platform parmi mes employés ? </a:t>
            </a:r>
          </a:p>
        </p:txBody>
      </p:sp>
      <p:sp>
        <p:nvSpPr>
          <p:cNvPr id="10" name="Rectangle 9">
            <a:extLst>
              <a:ext uri="{FF2B5EF4-FFF2-40B4-BE49-F238E27FC236}">
                <a16:creationId xmlns:a16="http://schemas.microsoft.com/office/drawing/2014/main" id="{17D0BC2D-C90E-5AC7-41AA-588777B40D89}"/>
              </a:ext>
            </a:extLst>
          </p:cNvPr>
          <p:cNvSpPr/>
          <p:nvPr/>
        </p:nvSpPr>
        <p:spPr>
          <a:xfrm>
            <a:off x="318928" y="1869289"/>
            <a:ext cx="2502416" cy="201862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b="1">
                <a:solidFill>
                  <a:schemeClr val="bg1"/>
                </a:solidFill>
                <a:latin typeface="Arial Rounded MT Bold" panose="020F0704030504030204" pitchFamily="34" charset="0"/>
              </a:rPr>
              <a:t>Mon modèle organisationnel</a:t>
            </a:r>
            <a:endParaRPr lang="fr-FR" sz="1800" b="1">
              <a:solidFill>
                <a:schemeClr val="bg1"/>
              </a:solidFill>
              <a:latin typeface="Arial Rounded MT Bold" panose="020F0704030504030204" pitchFamily="34" charset="0"/>
            </a:endParaRPr>
          </a:p>
        </p:txBody>
      </p:sp>
      <p:sp>
        <p:nvSpPr>
          <p:cNvPr id="13" name="Rectangle 12">
            <a:extLst>
              <a:ext uri="{FF2B5EF4-FFF2-40B4-BE49-F238E27FC236}">
                <a16:creationId xmlns:a16="http://schemas.microsoft.com/office/drawing/2014/main" id="{E2A4B86A-CB69-F24C-3ED1-E03D44A6DB92}"/>
              </a:ext>
            </a:extLst>
          </p:cNvPr>
          <p:cNvSpPr/>
          <p:nvPr/>
        </p:nvSpPr>
        <p:spPr>
          <a:xfrm>
            <a:off x="2933342" y="4107304"/>
            <a:ext cx="8481315" cy="1665427"/>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lgn="just">
              <a:buFont typeface="Arial" panose="020B0604020202020204" pitchFamily="34" charset="0"/>
              <a:buChar char="•"/>
            </a:pPr>
            <a:r>
              <a:rPr lang="fr-FR" sz="1400">
                <a:solidFill>
                  <a:schemeClr val="tx1"/>
                </a:solidFill>
              </a:rPr>
              <a:t>Ai-je besoin d'une équipe dédiée pour soutenir et gérer Power Platform ou cela peut-il être intégré dans les responsabilités existantes de mon équipe IT ? (responsable PP, rôles de sécurités processus de déploiement, processus de cycle de vie)</a:t>
            </a:r>
          </a:p>
          <a:p>
            <a:pPr marL="342900" indent="-342900" algn="just">
              <a:buFont typeface="Arial" panose="020B0604020202020204" pitchFamily="34" charset="0"/>
              <a:buChar char="•"/>
            </a:pPr>
            <a:r>
              <a:rPr lang="fr-FR" sz="1400">
                <a:solidFill>
                  <a:schemeClr val="tx1"/>
                </a:solidFill>
              </a:rPr>
              <a:t>Comment gérer les feedbacks et les demandes des utilisateurs pour garantir une utilisation continue et efficace de la plateforme ?</a:t>
            </a:r>
          </a:p>
        </p:txBody>
      </p:sp>
      <p:sp>
        <p:nvSpPr>
          <p:cNvPr id="14" name="Rectangle 13">
            <a:extLst>
              <a:ext uri="{FF2B5EF4-FFF2-40B4-BE49-F238E27FC236}">
                <a16:creationId xmlns:a16="http://schemas.microsoft.com/office/drawing/2014/main" id="{A5FFCDE0-9EF3-2A07-E288-4F34F8BC2B71}"/>
              </a:ext>
            </a:extLst>
          </p:cNvPr>
          <p:cNvSpPr/>
          <p:nvPr/>
        </p:nvSpPr>
        <p:spPr>
          <a:xfrm>
            <a:off x="318928" y="4103668"/>
            <a:ext cx="2502416" cy="166542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800" b="1">
                <a:solidFill>
                  <a:schemeClr val="bg1"/>
                </a:solidFill>
                <a:latin typeface="Arial Rounded MT Bold" panose="020F0704030504030204" pitchFamily="34" charset="0"/>
              </a:rPr>
              <a:t>Mon équipe</a:t>
            </a:r>
          </a:p>
        </p:txBody>
      </p:sp>
    </p:spTree>
    <p:extLst>
      <p:ext uri="{BB962C8B-B14F-4D97-AF65-F5344CB8AC3E}">
        <p14:creationId xmlns:p14="http://schemas.microsoft.com/office/powerpoint/2010/main" val="216837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6403"/>
            <a:ext cx="10800000" cy="420833"/>
          </a:xfrm>
        </p:spPr>
        <p:txBody>
          <a:bodyPr lIns="91440" tIns="45720" rIns="91440" bIns="45720" anchor="t"/>
          <a:lstStyle/>
          <a:p>
            <a:r>
              <a:rPr lang="fr-FR"/>
              <a:t>OBJECTIF DU DOCUMENT</a:t>
            </a:r>
            <a:endParaRPr lang="en-US"/>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20" name="Espace réservé du numéro de diapositive 5">
            <a:extLst>
              <a:ext uri="{FF2B5EF4-FFF2-40B4-BE49-F238E27FC236}">
                <a16:creationId xmlns:a16="http://schemas.microsoft.com/office/drawing/2014/main" id="{C938247E-1309-9124-223D-EB92A5F7BC4D}"/>
              </a:ext>
            </a:extLst>
          </p:cNvPr>
          <p:cNvSpPr>
            <a:spLocks noGrp="1"/>
          </p:cNvSpPr>
          <p:nvPr>
            <p:ph type="sldNum" sz="quarter" idx="4"/>
          </p:nvPr>
        </p:nvSpPr>
        <p:spPr>
          <a:xfrm>
            <a:off x="716056" y="612775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pic>
        <p:nvPicPr>
          <p:cNvPr id="9" name="Image 8" descr="Une image contenant cercle, Caractère coloré, clipart, Graphique&#10;&#10;Description générée automatiquement">
            <a:extLst>
              <a:ext uri="{FF2B5EF4-FFF2-40B4-BE49-F238E27FC236}">
                <a16:creationId xmlns:a16="http://schemas.microsoft.com/office/drawing/2014/main" id="{88163E41-A9D4-41F9-235B-BC78C37D87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006" y="1168002"/>
            <a:ext cx="795810" cy="795810"/>
          </a:xfrm>
          <a:prstGeom prst="rect">
            <a:avLst/>
          </a:prstGeom>
        </p:spPr>
      </p:pic>
      <p:sp>
        <p:nvSpPr>
          <p:cNvPr id="10" name="ZoneTexte 9">
            <a:extLst>
              <a:ext uri="{FF2B5EF4-FFF2-40B4-BE49-F238E27FC236}">
                <a16:creationId xmlns:a16="http://schemas.microsoft.com/office/drawing/2014/main" id="{DFACBDD7-3F13-BD3E-CFE5-00F34F57A0B8}"/>
              </a:ext>
            </a:extLst>
          </p:cNvPr>
          <p:cNvSpPr txBox="1"/>
          <p:nvPr/>
        </p:nvSpPr>
        <p:spPr>
          <a:xfrm>
            <a:off x="1564914" y="1214820"/>
            <a:ext cx="9346518" cy="584775"/>
          </a:xfrm>
          <a:prstGeom prst="rect">
            <a:avLst/>
          </a:prstGeom>
          <a:noFill/>
        </p:spPr>
        <p:txBody>
          <a:bodyPr wrap="square" rtlCol="0" anchor="ctr">
            <a:spAutoFit/>
          </a:bodyPr>
          <a:lstStyle/>
          <a:p>
            <a:pPr algn="just"/>
            <a:r>
              <a:rPr lang="fr-FR" sz="1600" b="1">
                <a:solidFill>
                  <a:schemeClr val="tx1"/>
                </a:solidFill>
                <a:latin typeface="Arial Rounded MT Bold" panose="020F0704030504030204" pitchFamily="34" charset="0"/>
              </a:rPr>
              <a:t>L’objectif de ce document est de vous fournir une synthèse claire et concise de ce qu'est </a:t>
            </a:r>
            <a:r>
              <a:rPr lang="fr-FR" sz="1600" b="1">
                <a:solidFill>
                  <a:srgbClr val="009597"/>
                </a:solidFill>
                <a:latin typeface="Arial Rounded MT Bold" panose="020F0704030504030204" pitchFamily="34" charset="0"/>
              </a:rPr>
              <a:t>Power Platform. </a:t>
            </a:r>
            <a:endParaRPr lang="fr-FR"/>
          </a:p>
        </p:txBody>
      </p:sp>
      <p:sp>
        <p:nvSpPr>
          <p:cNvPr id="3" name="Rectangle : coins arrondis 2">
            <a:extLst>
              <a:ext uri="{FF2B5EF4-FFF2-40B4-BE49-F238E27FC236}">
                <a16:creationId xmlns:a16="http://schemas.microsoft.com/office/drawing/2014/main" id="{5C71C7AF-8C21-8452-0F17-95B1420B881F}"/>
              </a:ext>
            </a:extLst>
          </p:cNvPr>
          <p:cNvSpPr/>
          <p:nvPr/>
        </p:nvSpPr>
        <p:spPr>
          <a:xfrm>
            <a:off x="2258382" y="2544470"/>
            <a:ext cx="8653049" cy="481028"/>
          </a:xfrm>
          <a:prstGeom prst="round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chemeClr val="bg2"/>
                </a:solidFill>
                <a:latin typeface="Arial Rounded MT Bold" panose="020F0704030504030204" pitchFamily="34" charset="0"/>
              </a:rPr>
              <a:t>Focus sur les environnements</a:t>
            </a:r>
          </a:p>
        </p:txBody>
      </p:sp>
      <p:sp>
        <p:nvSpPr>
          <p:cNvPr id="7" name="Ellipse 6">
            <a:extLst>
              <a:ext uri="{FF2B5EF4-FFF2-40B4-BE49-F238E27FC236}">
                <a16:creationId xmlns:a16="http://schemas.microsoft.com/office/drawing/2014/main" id="{4AE3B1A4-FFB8-3924-7BAF-67F740FDF6ED}"/>
              </a:ext>
            </a:extLst>
          </p:cNvPr>
          <p:cNvSpPr/>
          <p:nvPr/>
        </p:nvSpPr>
        <p:spPr>
          <a:xfrm>
            <a:off x="1656966" y="2544470"/>
            <a:ext cx="425796" cy="42579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1</a:t>
            </a:r>
          </a:p>
        </p:txBody>
      </p:sp>
      <p:sp>
        <p:nvSpPr>
          <p:cNvPr id="8" name="Rectangle : coins arrondis 7">
            <a:extLst>
              <a:ext uri="{FF2B5EF4-FFF2-40B4-BE49-F238E27FC236}">
                <a16:creationId xmlns:a16="http://schemas.microsoft.com/office/drawing/2014/main" id="{414B9D02-C13B-8B4C-50B6-E606C5BD0674}"/>
              </a:ext>
            </a:extLst>
          </p:cNvPr>
          <p:cNvSpPr/>
          <p:nvPr/>
        </p:nvSpPr>
        <p:spPr>
          <a:xfrm>
            <a:off x="2258382" y="3216684"/>
            <a:ext cx="8653049" cy="481028"/>
          </a:xfrm>
          <a:prstGeom prst="round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chemeClr val="bg2"/>
                </a:solidFill>
                <a:latin typeface="Arial Rounded MT Bold" panose="020F0704030504030204" pitchFamily="34" charset="0"/>
              </a:rPr>
              <a:t>Focus sur la sécurité et les accès </a:t>
            </a:r>
          </a:p>
        </p:txBody>
      </p:sp>
      <p:sp>
        <p:nvSpPr>
          <p:cNvPr id="11" name="Ellipse 10">
            <a:extLst>
              <a:ext uri="{FF2B5EF4-FFF2-40B4-BE49-F238E27FC236}">
                <a16:creationId xmlns:a16="http://schemas.microsoft.com/office/drawing/2014/main" id="{1426352A-3AF1-2854-0A69-2A70696A219D}"/>
              </a:ext>
            </a:extLst>
          </p:cNvPr>
          <p:cNvSpPr/>
          <p:nvPr/>
        </p:nvSpPr>
        <p:spPr>
          <a:xfrm>
            <a:off x="1656966" y="3216684"/>
            <a:ext cx="425796" cy="42579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2</a:t>
            </a:r>
          </a:p>
        </p:txBody>
      </p:sp>
      <p:sp>
        <p:nvSpPr>
          <p:cNvPr id="13" name="Rectangle : coins arrondis 12">
            <a:extLst>
              <a:ext uri="{FF2B5EF4-FFF2-40B4-BE49-F238E27FC236}">
                <a16:creationId xmlns:a16="http://schemas.microsoft.com/office/drawing/2014/main" id="{9D328004-2E49-6795-2627-4E332D23C176}"/>
              </a:ext>
            </a:extLst>
          </p:cNvPr>
          <p:cNvSpPr/>
          <p:nvPr/>
        </p:nvSpPr>
        <p:spPr>
          <a:xfrm>
            <a:off x="2258382" y="3888899"/>
            <a:ext cx="8653049" cy="481028"/>
          </a:xfrm>
          <a:prstGeom prst="round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chemeClr val="bg2"/>
                </a:solidFill>
                <a:latin typeface="Arial Rounded MT Bold" panose="020F0704030504030204" pitchFamily="34" charset="0"/>
              </a:rPr>
              <a:t>Focus sur les applications</a:t>
            </a:r>
          </a:p>
        </p:txBody>
      </p:sp>
      <p:sp>
        <p:nvSpPr>
          <p:cNvPr id="15" name="Ellipse 14">
            <a:extLst>
              <a:ext uri="{FF2B5EF4-FFF2-40B4-BE49-F238E27FC236}">
                <a16:creationId xmlns:a16="http://schemas.microsoft.com/office/drawing/2014/main" id="{0464BC92-86CB-C062-06D0-B169026D21C9}"/>
              </a:ext>
            </a:extLst>
          </p:cNvPr>
          <p:cNvSpPr/>
          <p:nvPr/>
        </p:nvSpPr>
        <p:spPr>
          <a:xfrm>
            <a:off x="1656966" y="3888899"/>
            <a:ext cx="425796" cy="42579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3</a:t>
            </a:r>
          </a:p>
        </p:txBody>
      </p:sp>
      <p:sp>
        <p:nvSpPr>
          <p:cNvPr id="6" name="Google Shape;660;p44">
            <a:extLst>
              <a:ext uri="{FF2B5EF4-FFF2-40B4-BE49-F238E27FC236}">
                <a16:creationId xmlns:a16="http://schemas.microsoft.com/office/drawing/2014/main" id="{437694E9-CD27-FADE-6B98-B7491B6EE870}"/>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Picture 2" descr="Power Platform 2021 in der Übersicht">
            <a:extLst>
              <a:ext uri="{FF2B5EF4-FFF2-40B4-BE49-F238E27FC236}">
                <a16:creationId xmlns:a16="http://schemas.microsoft.com/office/drawing/2014/main" id="{EB3B5A94-F03A-9654-EC93-E3AC96B02A3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5432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4571"/>
            <a:ext cx="10800000" cy="420833"/>
          </a:xfrm>
        </p:spPr>
        <p:txBody>
          <a:bodyPr lIns="91440" tIns="45720" rIns="91440" bIns="45720" anchor="t"/>
          <a:lstStyle/>
          <a:p>
            <a:r>
              <a:rPr lang="fr-FR"/>
              <a:t>FOCUS SUR Les environnements</a:t>
            </a:r>
            <a:endParaRPr lang="en-US"/>
          </a:p>
        </p:txBody>
      </p:sp>
      <p:sp>
        <p:nvSpPr>
          <p:cNvPr id="8" name="Google Shape;652;p44">
            <a:extLst>
              <a:ext uri="{FF2B5EF4-FFF2-40B4-BE49-F238E27FC236}">
                <a16:creationId xmlns:a16="http://schemas.microsoft.com/office/drawing/2014/main" id="{27B9D1CD-B86C-2555-9A19-5D342F4B3CB6}"/>
              </a:ext>
            </a:extLst>
          </p:cNvPr>
          <p:cNvSpPr txBox="1"/>
          <p:nvPr/>
        </p:nvSpPr>
        <p:spPr>
          <a:xfrm>
            <a:off x="123450" y="5935775"/>
            <a:ext cx="1797900" cy="707846"/>
          </a:xfrm>
          <a:prstGeom prst="rect">
            <a:avLst/>
          </a:prstGeom>
          <a:noFill/>
          <a:ln>
            <a:noFill/>
          </a:ln>
        </p:spPr>
        <p:txBody>
          <a:bodyPr spcFirstLastPara="1" wrap="square" lIns="87750" tIns="45700" rIns="87750" bIns="45700" anchor="t" anchorCtr="0">
            <a:spAutoFit/>
          </a:bodyPr>
          <a:lstStyle/>
          <a:p>
            <a:pPr marL="0" marR="0" lvl="0" indent="0" algn="ctr" rtl="0">
              <a:lnSpc>
                <a:spcPct val="100000"/>
              </a:lnSpc>
              <a:spcBef>
                <a:spcPts val="0"/>
              </a:spcBef>
              <a:spcAft>
                <a:spcPts val="0"/>
              </a:spcAft>
              <a:buNone/>
            </a:pPr>
            <a:r>
              <a:rPr lang="fr-FR" sz="2000" b="1">
                <a:solidFill>
                  <a:schemeClr val="bg1"/>
                </a:solidFill>
                <a:latin typeface="Arial Rounded MT Bold" panose="020F0704030504030204" pitchFamily="34" charset="0"/>
                <a:ea typeface="Caveat"/>
                <a:cs typeface="Caveat"/>
                <a:sym typeface="Caveat"/>
              </a:rPr>
              <a:t>Offre Power Platform v1</a:t>
            </a:r>
            <a:endParaRPr sz="1400" b="0" i="0" u="none" strike="noStrike" cap="none" err="1">
              <a:solidFill>
                <a:schemeClr val="bg1"/>
              </a:solidFill>
              <a:latin typeface="Arial Rounded MT Bold" panose="020F0704030504030204" pitchFamily="34" charset="0"/>
              <a:ea typeface="Arial"/>
              <a:cs typeface="Arial"/>
              <a:sym typeface="Arial"/>
            </a:endParaRPr>
          </a:p>
        </p:txBody>
      </p:sp>
      <p:sp>
        <p:nvSpPr>
          <p:cNvPr id="11" name="Google Shape;660;p44">
            <a:extLst>
              <a:ext uri="{FF2B5EF4-FFF2-40B4-BE49-F238E27FC236}">
                <a16:creationId xmlns:a16="http://schemas.microsoft.com/office/drawing/2014/main" id="{B69BAFFC-B747-7DCF-5670-06E7ACA18FC6}"/>
              </a:ext>
            </a:extLst>
          </p:cNvPr>
          <p:cNvSpPr/>
          <p:nvPr/>
        </p:nvSpPr>
        <p:spPr>
          <a:xfrm>
            <a:off x="103756" y="2065175"/>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Rectangle 36">
            <a:extLst>
              <a:ext uri="{FF2B5EF4-FFF2-40B4-BE49-F238E27FC236}">
                <a16:creationId xmlns:a16="http://schemas.microsoft.com/office/drawing/2014/main" id="{C716353E-43BB-682A-73E0-5F444E59F4B4}"/>
              </a:ext>
            </a:extLst>
          </p:cNvPr>
          <p:cNvSpPr/>
          <p:nvPr/>
        </p:nvSpPr>
        <p:spPr>
          <a:xfrm>
            <a:off x="370193" y="735495"/>
            <a:ext cx="11048956" cy="5200280"/>
          </a:xfrm>
          <a:prstGeom prst="rect">
            <a:avLst/>
          </a:prstGeom>
          <a:solidFill>
            <a:schemeClr val="bg1">
              <a:lumMod val="95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39" name="Google Shape;660;p44">
            <a:extLst>
              <a:ext uri="{FF2B5EF4-FFF2-40B4-BE49-F238E27FC236}">
                <a16:creationId xmlns:a16="http://schemas.microsoft.com/office/drawing/2014/main" id="{9BD7B936-29A7-E2F4-7B2B-0F74CED0A1FF}"/>
              </a:ext>
            </a:extLst>
          </p:cNvPr>
          <p:cNvSpPr/>
          <p:nvPr/>
        </p:nvSpPr>
        <p:spPr>
          <a:xfrm>
            <a:off x="577593" y="1000766"/>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0" name="Picture 2" descr="Power Platform 2021 in der Übersicht">
            <a:extLst>
              <a:ext uri="{FF2B5EF4-FFF2-40B4-BE49-F238E27FC236}">
                <a16:creationId xmlns:a16="http://schemas.microsoft.com/office/drawing/2014/main" id="{12CC8892-4D86-82C7-E442-DC2D7BACD8A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37700" r="39294" b="71270"/>
          <a:stretch/>
        </p:blipFill>
        <p:spPr bwMode="auto">
          <a:xfrm>
            <a:off x="677137" y="1080239"/>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B34F7715-4E58-245D-3A28-21CCB673C293}"/>
              </a:ext>
            </a:extLst>
          </p:cNvPr>
          <p:cNvSpPr txBox="1"/>
          <p:nvPr/>
        </p:nvSpPr>
        <p:spPr>
          <a:xfrm>
            <a:off x="1290627" y="1087470"/>
            <a:ext cx="10073592" cy="369332"/>
          </a:xfrm>
          <a:prstGeom prst="rect">
            <a:avLst/>
          </a:prstGeom>
          <a:noFill/>
        </p:spPr>
        <p:txBody>
          <a:bodyPr wrap="none" rtlCol="0">
            <a:spAutoFit/>
          </a:bodyPr>
          <a:lstStyle/>
          <a:p>
            <a:r>
              <a:rPr lang="fr-FR" b="1">
                <a:solidFill>
                  <a:schemeClr val="bg1">
                    <a:lumMod val="75000"/>
                  </a:schemeClr>
                </a:solidFill>
                <a:latin typeface="Arial Rounded MT Bold" panose="020F0704030504030204" pitchFamily="34" charset="0"/>
              </a:rPr>
              <a:t>Une plateforme unique &amp; commune pour l’ensemble du tenant Office 365 Crédit Agricole</a:t>
            </a:r>
          </a:p>
        </p:txBody>
      </p:sp>
      <p:sp>
        <p:nvSpPr>
          <p:cNvPr id="42" name="Rectangle 41">
            <a:extLst>
              <a:ext uri="{FF2B5EF4-FFF2-40B4-BE49-F238E27FC236}">
                <a16:creationId xmlns:a16="http://schemas.microsoft.com/office/drawing/2014/main" id="{C1966E60-9923-8926-9349-5D935F131371}"/>
              </a:ext>
            </a:extLst>
          </p:cNvPr>
          <p:cNvSpPr/>
          <p:nvPr/>
        </p:nvSpPr>
        <p:spPr>
          <a:xfrm>
            <a:off x="632348" y="1859485"/>
            <a:ext cx="10618679" cy="3699272"/>
          </a:xfrm>
          <a:prstGeom prst="rect">
            <a:avLst/>
          </a:prstGeom>
          <a:solidFill>
            <a:srgbClr val="E5C9EF"/>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3" name="Google Shape;666;p44">
            <a:extLst>
              <a:ext uri="{FF2B5EF4-FFF2-40B4-BE49-F238E27FC236}">
                <a16:creationId xmlns:a16="http://schemas.microsoft.com/office/drawing/2014/main" id="{5C48A492-DDB2-15F7-4BF7-D2E8FFB3F004}"/>
              </a:ext>
            </a:extLst>
          </p:cNvPr>
          <p:cNvSpPr/>
          <p:nvPr/>
        </p:nvSpPr>
        <p:spPr>
          <a:xfrm>
            <a:off x="889426" y="2359343"/>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4" name="Image 43">
            <a:extLst>
              <a:ext uri="{FF2B5EF4-FFF2-40B4-BE49-F238E27FC236}">
                <a16:creationId xmlns:a16="http://schemas.microsoft.com/office/drawing/2014/main" id="{7E4C4D0B-313F-255E-500D-4628B49A69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3055" y="2486101"/>
            <a:ext cx="324143" cy="324143"/>
          </a:xfrm>
          <a:prstGeom prst="rect">
            <a:avLst/>
          </a:prstGeom>
        </p:spPr>
      </p:pic>
      <p:sp>
        <p:nvSpPr>
          <p:cNvPr id="45" name="ZoneTexte 44">
            <a:extLst>
              <a:ext uri="{FF2B5EF4-FFF2-40B4-BE49-F238E27FC236}">
                <a16:creationId xmlns:a16="http://schemas.microsoft.com/office/drawing/2014/main" id="{1EEDFF83-950D-E48F-3A50-EC8335D8C3DB}"/>
              </a:ext>
            </a:extLst>
          </p:cNvPr>
          <p:cNvSpPr txBox="1"/>
          <p:nvPr/>
        </p:nvSpPr>
        <p:spPr>
          <a:xfrm>
            <a:off x="1498841" y="2307789"/>
            <a:ext cx="8637759" cy="646331"/>
          </a:xfrm>
          <a:prstGeom prst="rect">
            <a:avLst/>
          </a:prstGeom>
          <a:noFill/>
        </p:spPr>
        <p:txBody>
          <a:bodyPr wrap="square" rtlCol="0">
            <a:spAutoFit/>
          </a:bodyPr>
          <a:lstStyle/>
          <a:p>
            <a:r>
              <a:rPr lang="fr-FR" b="1">
                <a:latin typeface="Arial Rounded MT Bold" panose="020F0704030504030204" pitchFamily="34" charset="0"/>
              </a:rPr>
              <a:t>Qui contient un ou plusieurs environnement(s) dédié à chaque entité consommant l’Offre Power Platform</a:t>
            </a:r>
          </a:p>
        </p:txBody>
      </p:sp>
      <p:sp>
        <p:nvSpPr>
          <p:cNvPr id="46" name="Rectangle 45">
            <a:extLst>
              <a:ext uri="{FF2B5EF4-FFF2-40B4-BE49-F238E27FC236}">
                <a16:creationId xmlns:a16="http://schemas.microsoft.com/office/drawing/2014/main" id="{8C15BC74-F783-417F-BD0F-352DA5128998}"/>
              </a:ext>
            </a:extLst>
          </p:cNvPr>
          <p:cNvSpPr/>
          <p:nvPr/>
        </p:nvSpPr>
        <p:spPr>
          <a:xfrm>
            <a:off x="906558" y="3498040"/>
            <a:ext cx="9782161" cy="1744923"/>
          </a:xfrm>
          <a:prstGeom prst="rect">
            <a:avLst/>
          </a:prstGeom>
          <a:solidFill>
            <a:schemeClr val="bg1">
              <a:lumMod val="85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7" name="Google Shape;674;p44">
            <a:extLst>
              <a:ext uri="{FF2B5EF4-FFF2-40B4-BE49-F238E27FC236}">
                <a16:creationId xmlns:a16="http://schemas.microsoft.com/office/drawing/2014/main" id="{98FB7D55-D995-885C-75FB-95A935A18093}"/>
              </a:ext>
            </a:extLst>
          </p:cNvPr>
          <p:cNvSpPr/>
          <p:nvPr/>
        </p:nvSpPr>
        <p:spPr>
          <a:xfrm>
            <a:off x="1223448" y="4094801"/>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9" name="Image 48">
            <a:extLst>
              <a:ext uri="{FF2B5EF4-FFF2-40B4-BE49-F238E27FC236}">
                <a16:creationId xmlns:a16="http://schemas.microsoft.com/office/drawing/2014/main" id="{ED73C1F1-6D29-07FE-E7A5-F1EC2117A0C7}"/>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337148" y="4208501"/>
            <a:ext cx="324000" cy="324000"/>
          </a:xfrm>
          <a:prstGeom prst="rect">
            <a:avLst/>
          </a:prstGeom>
        </p:spPr>
      </p:pic>
      <p:sp>
        <p:nvSpPr>
          <p:cNvPr id="2" name="ZoneTexte 1">
            <a:extLst>
              <a:ext uri="{FF2B5EF4-FFF2-40B4-BE49-F238E27FC236}">
                <a16:creationId xmlns:a16="http://schemas.microsoft.com/office/drawing/2014/main" id="{D1EE6376-4F6B-22F4-4FAE-12E8722AAE09}"/>
              </a:ext>
            </a:extLst>
          </p:cNvPr>
          <p:cNvSpPr txBox="1"/>
          <p:nvPr/>
        </p:nvSpPr>
        <p:spPr>
          <a:xfrm>
            <a:off x="1803101" y="4185835"/>
            <a:ext cx="8885618" cy="369332"/>
          </a:xfrm>
          <a:prstGeom prst="rect">
            <a:avLst/>
          </a:prstGeom>
          <a:noFill/>
        </p:spPr>
        <p:txBody>
          <a:bodyPr wrap="square" rtlCol="0">
            <a:spAutoFit/>
          </a:bodyPr>
          <a:lstStyle/>
          <a:p>
            <a:r>
              <a:rPr lang="fr-FR" b="1">
                <a:solidFill>
                  <a:schemeClr val="bg1">
                    <a:lumMod val="75000"/>
                  </a:schemeClr>
                </a:solidFill>
                <a:latin typeface="Arial Rounded MT Bold" panose="020F0704030504030204" pitchFamily="34" charset="0"/>
              </a:rPr>
              <a:t>Hébergeant des flux, des applications et des utilisateurs </a:t>
            </a:r>
          </a:p>
        </p:txBody>
      </p:sp>
    </p:spTree>
    <p:extLst>
      <p:ext uri="{BB962C8B-B14F-4D97-AF65-F5344CB8AC3E}">
        <p14:creationId xmlns:p14="http://schemas.microsoft.com/office/powerpoint/2010/main" val="2162707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B8BD6F09-303A-2630-1A5F-CD0F0E51BCD3}"/>
              </a:ext>
            </a:extLst>
          </p:cNvPr>
          <p:cNvSpPr/>
          <p:nvPr/>
        </p:nvSpPr>
        <p:spPr>
          <a:xfrm>
            <a:off x="9240360" y="3263108"/>
            <a:ext cx="803727" cy="770051"/>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600">
                <a:solidFill>
                  <a:schemeClr val="bg1"/>
                </a:solidFill>
              </a:rPr>
              <a:t>3</a:t>
            </a:r>
          </a:p>
        </p:txBody>
      </p:sp>
      <p:sp>
        <p:nvSpPr>
          <p:cNvPr id="8" name="Ellipse 7">
            <a:extLst>
              <a:ext uri="{FF2B5EF4-FFF2-40B4-BE49-F238E27FC236}">
                <a16:creationId xmlns:a16="http://schemas.microsoft.com/office/drawing/2014/main" id="{84956CD2-7EF6-572C-637B-E07F903D9F7C}"/>
              </a:ext>
            </a:extLst>
          </p:cNvPr>
          <p:cNvSpPr/>
          <p:nvPr/>
        </p:nvSpPr>
        <p:spPr>
          <a:xfrm>
            <a:off x="5292273" y="3263108"/>
            <a:ext cx="803727" cy="770051"/>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600">
                <a:solidFill>
                  <a:schemeClr val="bg1"/>
                </a:solidFill>
              </a:rPr>
              <a:t>2</a:t>
            </a:r>
          </a:p>
        </p:txBody>
      </p:sp>
      <p:sp>
        <p:nvSpPr>
          <p:cNvPr id="5" name="Ellipse 4">
            <a:extLst>
              <a:ext uri="{FF2B5EF4-FFF2-40B4-BE49-F238E27FC236}">
                <a16:creationId xmlns:a16="http://schemas.microsoft.com/office/drawing/2014/main" id="{81AC9D26-7E3B-0FA5-C6CA-4BBF1968E37A}"/>
              </a:ext>
            </a:extLst>
          </p:cNvPr>
          <p:cNvSpPr/>
          <p:nvPr/>
        </p:nvSpPr>
        <p:spPr>
          <a:xfrm>
            <a:off x="1562861" y="3238615"/>
            <a:ext cx="803726" cy="77005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600">
                <a:solidFill>
                  <a:schemeClr val="bg1"/>
                </a:solidFill>
              </a:rPr>
              <a:t>1</a:t>
            </a:r>
          </a:p>
        </p:txBody>
      </p:sp>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97776"/>
            <a:ext cx="10941055" cy="788029"/>
          </a:xfrm>
        </p:spPr>
        <p:txBody>
          <a:bodyPr lIns="91440" tIns="45720" rIns="91440" bIns="45720" anchor="t"/>
          <a:lstStyle/>
          <a:p>
            <a:r>
              <a:rPr lang="fr-FR"/>
              <a:t>OFFRE POWER PLATFORM : QUELS ENVIRONNEMENTS à votre disposition ?</a:t>
            </a:r>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7" name="ZoneTexte 6">
            <a:extLst>
              <a:ext uri="{FF2B5EF4-FFF2-40B4-BE49-F238E27FC236}">
                <a16:creationId xmlns:a16="http://schemas.microsoft.com/office/drawing/2014/main" id="{A300BE7B-B721-1C06-05A5-6304E336EA99}"/>
              </a:ext>
            </a:extLst>
          </p:cNvPr>
          <p:cNvSpPr txBox="1"/>
          <p:nvPr/>
        </p:nvSpPr>
        <p:spPr>
          <a:xfrm>
            <a:off x="150114" y="1039950"/>
            <a:ext cx="11891772" cy="1225977"/>
          </a:xfrm>
          <a:prstGeom prst="rect">
            <a:avLst/>
          </a:prstGeom>
          <a:noFill/>
        </p:spPr>
        <p:txBody>
          <a:bodyPr wrap="square">
            <a:spAutoFit/>
          </a:bodyPr>
          <a:lstStyle/>
          <a:p>
            <a:pPr algn="ctr">
              <a:spcBef>
                <a:spcPts val="100"/>
              </a:spcBef>
              <a:spcAft>
                <a:spcPts val="100"/>
              </a:spcAft>
              <a:defRPr/>
            </a:pPr>
            <a:endParaRPr lang="fr-FR" sz="1800" b="1">
              <a:solidFill>
                <a:srgbClr val="009597"/>
              </a:solidFill>
              <a:latin typeface="Arial"/>
              <a:cs typeface="Arial"/>
            </a:endParaRPr>
          </a:p>
          <a:p>
            <a:pPr algn="ctr">
              <a:spcBef>
                <a:spcPts val="100"/>
              </a:spcBef>
              <a:spcAft>
                <a:spcPts val="100"/>
              </a:spcAft>
              <a:defRPr/>
            </a:pPr>
            <a:r>
              <a:rPr lang="fr-FR" sz="1800" b="1">
                <a:solidFill>
                  <a:srgbClr val="009597"/>
                </a:solidFill>
                <a:latin typeface="Arial"/>
                <a:cs typeface="Arial"/>
              </a:rPr>
              <a:t>Un environnement </a:t>
            </a:r>
            <a:r>
              <a:rPr lang="fr-FR" sz="1800">
                <a:solidFill>
                  <a:schemeClr val="tx1">
                    <a:lumMod val="50000"/>
                  </a:schemeClr>
                </a:solidFill>
                <a:latin typeface="Arial"/>
                <a:cs typeface="Arial"/>
              </a:rPr>
              <a:t>dans Power Platform est un espacé isolé où seuls les utilisateurs autorisés peuvent </a:t>
            </a:r>
            <a:r>
              <a:rPr lang="fr-FR" sz="1800" b="1">
                <a:solidFill>
                  <a:srgbClr val="009597"/>
                </a:solidFill>
                <a:latin typeface="Arial"/>
                <a:cs typeface="Arial"/>
              </a:rPr>
              <a:t>créer, gérer, déployer et consommer </a:t>
            </a:r>
            <a:r>
              <a:rPr lang="fr-FR" sz="1800">
                <a:solidFill>
                  <a:schemeClr val="tx1">
                    <a:lumMod val="50000"/>
                  </a:schemeClr>
                </a:solidFill>
                <a:latin typeface="Arial"/>
                <a:cs typeface="Arial"/>
              </a:rPr>
              <a:t>des applications et des flux sans affecter d'autres environnements. Il faut distinguer </a:t>
            </a:r>
            <a:r>
              <a:rPr lang="fr-FR" sz="1800" b="1">
                <a:solidFill>
                  <a:srgbClr val="009597"/>
                </a:solidFill>
                <a:latin typeface="Arial"/>
                <a:cs typeface="Arial"/>
              </a:rPr>
              <a:t>trois types d’environnements </a:t>
            </a:r>
            <a:r>
              <a:rPr lang="fr-FR" sz="1800">
                <a:solidFill>
                  <a:schemeClr val="tx1">
                    <a:lumMod val="50000"/>
                  </a:schemeClr>
                </a:solidFill>
                <a:latin typeface="Arial"/>
                <a:cs typeface="Arial"/>
              </a:rPr>
              <a:t>au sein du Crédit Agricole</a:t>
            </a:r>
          </a:p>
        </p:txBody>
      </p:sp>
      <p:sp>
        <p:nvSpPr>
          <p:cNvPr id="14" name="ZoneTexte 13">
            <a:extLst>
              <a:ext uri="{FF2B5EF4-FFF2-40B4-BE49-F238E27FC236}">
                <a16:creationId xmlns:a16="http://schemas.microsoft.com/office/drawing/2014/main" id="{7A957847-4A36-2497-0C70-2532420EB71A}"/>
              </a:ext>
            </a:extLst>
          </p:cNvPr>
          <p:cNvSpPr txBox="1"/>
          <p:nvPr/>
        </p:nvSpPr>
        <p:spPr>
          <a:xfrm>
            <a:off x="649466" y="4281731"/>
            <a:ext cx="2805248" cy="1200329"/>
          </a:xfrm>
          <a:prstGeom prst="rect">
            <a:avLst/>
          </a:prstGeom>
          <a:noFill/>
        </p:spPr>
        <p:txBody>
          <a:bodyPr wrap="square" rtlCol="0">
            <a:spAutoFit/>
          </a:bodyPr>
          <a:lstStyle/>
          <a:p>
            <a:pPr algn="ctr"/>
            <a:r>
              <a:rPr lang="fr-FR" b="1">
                <a:solidFill>
                  <a:schemeClr val="tx1">
                    <a:lumMod val="50000"/>
                  </a:schemeClr>
                </a:solidFill>
                <a:latin typeface="Arial"/>
                <a:cs typeface="Arial"/>
              </a:rPr>
              <a:t>Environnement à destination d’une logique </a:t>
            </a:r>
            <a:r>
              <a:rPr lang="fr-FR" b="1" u="sng">
                <a:solidFill>
                  <a:schemeClr val="tx1">
                    <a:lumMod val="50000"/>
                  </a:schemeClr>
                </a:solidFill>
                <a:latin typeface="Arial"/>
                <a:cs typeface="Arial"/>
              </a:rPr>
              <a:t>Citizen IT</a:t>
            </a:r>
          </a:p>
          <a:p>
            <a:pPr algn="ctr"/>
            <a:endParaRPr lang="fr-FR" b="1" u="sng">
              <a:solidFill>
                <a:schemeClr val="tx1">
                  <a:lumMod val="50000"/>
                </a:schemeClr>
              </a:solidFill>
              <a:latin typeface="Arial"/>
              <a:cs typeface="Arial"/>
            </a:endParaRPr>
          </a:p>
        </p:txBody>
      </p:sp>
      <p:sp>
        <p:nvSpPr>
          <p:cNvPr id="15" name="ZoneTexte 14">
            <a:extLst>
              <a:ext uri="{FF2B5EF4-FFF2-40B4-BE49-F238E27FC236}">
                <a16:creationId xmlns:a16="http://schemas.microsoft.com/office/drawing/2014/main" id="{BD001DDC-69C4-4C24-CF1B-8467C92078A7}"/>
              </a:ext>
            </a:extLst>
          </p:cNvPr>
          <p:cNvSpPr txBox="1"/>
          <p:nvPr/>
        </p:nvSpPr>
        <p:spPr>
          <a:xfrm>
            <a:off x="8004073" y="4281731"/>
            <a:ext cx="3276303" cy="923330"/>
          </a:xfrm>
          <a:prstGeom prst="rect">
            <a:avLst/>
          </a:prstGeom>
          <a:noFill/>
        </p:spPr>
        <p:txBody>
          <a:bodyPr wrap="square" rtlCol="0">
            <a:spAutoFit/>
          </a:bodyPr>
          <a:lstStyle/>
          <a:p>
            <a:pPr algn="ctr"/>
            <a:r>
              <a:rPr lang="fr-FR" b="1">
                <a:solidFill>
                  <a:schemeClr val="tx1">
                    <a:lumMod val="50000"/>
                  </a:schemeClr>
                </a:solidFill>
                <a:latin typeface="Arial"/>
                <a:cs typeface="Arial"/>
              </a:rPr>
              <a:t>Focus spécifique sur l’environnement « A NE PAS UTILISER » </a:t>
            </a:r>
          </a:p>
        </p:txBody>
      </p:sp>
      <p:sp>
        <p:nvSpPr>
          <p:cNvPr id="16" name="ZoneTexte 15">
            <a:extLst>
              <a:ext uri="{FF2B5EF4-FFF2-40B4-BE49-F238E27FC236}">
                <a16:creationId xmlns:a16="http://schemas.microsoft.com/office/drawing/2014/main" id="{A195F156-A779-108C-5F80-99E82A6B3374}"/>
              </a:ext>
            </a:extLst>
          </p:cNvPr>
          <p:cNvSpPr txBox="1"/>
          <p:nvPr/>
        </p:nvSpPr>
        <p:spPr>
          <a:xfrm>
            <a:off x="4286607" y="4281731"/>
            <a:ext cx="2885573" cy="923330"/>
          </a:xfrm>
          <a:prstGeom prst="rect">
            <a:avLst/>
          </a:prstGeom>
          <a:noFill/>
        </p:spPr>
        <p:txBody>
          <a:bodyPr wrap="square" rtlCol="0">
            <a:spAutoFit/>
          </a:bodyPr>
          <a:lstStyle/>
          <a:p>
            <a:pPr algn="ctr"/>
            <a:r>
              <a:rPr lang="fr-FR" b="1">
                <a:solidFill>
                  <a:schemeClr val="tx1">
                    <a:lumMod val="50000"/>
                  </a:schemeClr>
                </a:solidFill>
                <a:latin typeface="Arial"/>
                <a:cs typeface="Arial"/>
              </a:rPr>
              <a:t>Environnement à destination d’une logique «</a:t>
            </a:r>
            <a:r>
              <a:rPr lang="fr-FR" b="1" u="sng">
                <a:solidFill>
                  <a:schemeClr val="tx1">
                    <a:lumMod val="50000"/>
                  </a:schemeClr>
                </a:solidFill>
                <a:latin typeface="Arial"/>
                <a:cs typeface="Arial"/>
              </a:rPr>
              <a:t>IT </a:t>
            </a:r>
            <a:r>
              <a:rPr lang="fr-FR" b="1" u="sng" err="1">
                <a:solidFill>
                  <a:schemeClr val="tx1">
                    <a:lumMod val="50000"/>
                  </a:schemeClr>
                </a:solidFill>
                <a:latin typeface="Arial"/>
                <a:cs typeface="Arial"/>
              </a:rPr>
              <a:t>Factory</a:t>
            </a:r>
            <a:r>
              <a:rPr lang="fr-FR" b="1" u="sng">
                <a:solidFill>
                  <a:schemeClr val="tx1">
                    <a:lumMod val="50000"/>
                  </a:schemeClr>
                </a:solidFill>
                <a:latin typeface="Arial"/>
                <a:cs typeface="Arial"/>
              </a:rPr>
              <a:t> »</a:t>
            </a:r>
          </a:p>
        </p:txBody>
      </p:sp>
      <p:sp>
        <p:nvSpPr>
          <p:cNvPr id="3" name="Google Shape;666;p44">
            <a:extLst>
              <a:ext uri="{FF2B5EF4-FFF2-40B4-BE49-F238E27FC236}">
                <a16:creationId xmlns:a16="http://schemas.microsoft.com/office/drawing/2014/main" id="{688FD934-970B-A69A-AEBF-F8A0B2ECF4C5}"/>
              </a:ext>
            </a:extLst>
          </p:cNvPr>
          <p:cNvSpPr/>
          <p:nvPr/>
        </p:nvSpPr>
        <p:spPr>
          <a:xfrm>
            <a:off x="11412757" y="132158"/>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Image 3">
            <a:extLst>
              <a:ext uri="{FF2B5EF4-FFF2-40B4-BE49-F238E27FC236}">
                <a16:creationId xmlns:a16="http://schemas.microsoft.com/office/drawing/2014/main" id="{13685767-C722-889D-110A-C0D4B68EA8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6386" y="249175"/>
            <a:ext cx="324143" cy="324143"/>
          </a:xfrm>
          <a:prstGeom prst="rect">
            <a:avLst/>
          </a:prstGeom>
          <a:solidFill>
            <a:srgbClr val="E5C9EF"/>
          </a:solidFill>
        </p:spPr>
      </p:pic>
    </p:spTree>
    <p:extLst>
      <p:ext uri="{BB962C8B-B14F-4D97-AF65-F5344CB8AC3E}">
        <p14:creationId xmlns:p14="http://schemas.microsoft.com/office/powerpoint/2010/main" val="1420692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32158"/>
            <a:ext cx="10941055" cy="788029"/>
          </a:xfrm>
        </p:spPr>
        <p:txBody>
          <a:bodyPr lIns="91440" tIns="45720" rIns="91440" bIns="45720" anchor="t"/>
          <a:lstStyle/>
          <a:p>
            <a:r>
              <a:rPr lang="fr-FR"/>
              <a:t>OFFRE POWER PLATFORM : QUEL ENVIRONNEMENT CHOISIR SELON VOS BESOINS ?</a:t>
            </a:r>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3" name="Google Shape;666;p44">
            <a:extLst>
              <a:ext uri="{FF2B5EF4-FFF2-40B4-BE49-F238E27FC236}">
                <a16:creationId xmlns:a16="http://schemas.microsoft.com/office/drawing/2014/main" id="{688FD934-970B-A69A-AEBF-F8A0B2ECF4C5}"/>
              </a:ext>
            </a:extLst>
          </p:cNvPr>
          <p:cNvSpPr/>
          <p:nvPr/>
        </p:nvSpPr>
        <p:spPr>
          <a:xfrm>
            <a:off x="11412757" y="132158"/>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Image 3">
            <a:extLst>
              <a:ext uri="{FF2B5EF4-FFF2-40B4-BE49-F238E27FC236}">
                <a16:creationId xmlns:a16="http://schemas.microsoft.com/office/drawing/2014/main" id="{13685767-C722-889D-110A-C0D4B68EA8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6386" y="249175"/>
            <a:ext cx="324143" cy="324143"/>
          </a:xfrm>
          <a:prstGeom prst="rect">
            <a:avLst/>
          </a:prstGeom>
          <a:solidFill>
            <a:srgbClr val="E5C9EF"/>
          </a:solidFill>
        </p:spPr>
      </p:pic>
      <p:sp>
        <p:nvSpPr>
          <p:cNvPr id="5" name="Rectangle : coins arrondis 4">
            <a:extLst>
              <a:ext uri="{FF2B5EF4-FFF2-40B4-BE49-F238E27FC236}">
                <a16:creationId xmlns:a16="http://schemas.microsoft.com/office/drawing/2014/main" id="{C840A121-B67A-1A13-2217-D8CDCFD6595C}"/>
              </a:ext>
            </a:extLst>
          </p:cNvPr>
          <p:cNvSpPr/>
          <p:nvPr/>
        </p:nvSpPr>
        <p:spPr>
          <a:xfrm>
            <a:off x="9539003" y="1189266"/>
            <a:ext cx="1334124" cy="4706912"/>
          </a:xfrm>
          <a:prstGeom prst="roundRect">
            <a:avLst/>
          </a:prstGeom>
          <a:solidFill>
            <a:schemeClr val="bg1">
              <a:lumMod val="95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458F60C3-F43D-84CF-3F8A-01424BD43554}"/>
              </a:ext>
            </a:extLst>
          </p:cNvPr>
          <p:cNvSpPr txBox="1"/>
          <p:nvPr/>
        </p:nvSpPr>
        <p:spPr>
          <a:xfrm>
            <a:off x="9762405" y="5568238"/>
            <a:ext cx="951186" cy="276999"/>
          </a:xfrm>
          <a:prstGeom prst="rect">
            <a:avLst/>
          </a:prstGeom>
          <a:noFill/>
        </p:spPr>
        <p:txBody>
          <a:bodyPr wrap="square" rtlCol="0">
            <a:spAutoFit/>
          </a:bodyPr>
          <a:lstStyle/>
          <a:p>
            <a:pPr algn="ctr"/>
            <a:r>
              <a:rPr lang="fr-FR" sz="600" b="1"/>
              <a:t>ENVIRONNEMENT DÉDIÉ</a:t>
            </a:r>
          </a:p>
        </p:txBody>
      </p:sp>
      <p:sp>
        <p:nvSpPr>
          <p:cNvPr id="8" name="Rectangle : coins arrondis 7">
            <a:extLst>
              <a:ext uri="{FF2B5EF4-FFF2-40B4-BE49-F238E27FC236}">
                <a16:creationId xmlns:a16="http://schemas.microsoft.com/office/drawing/2014/main" id="{C4063F59-D299-D399-D087-7D00D9045A6E}"/>
              </a:ext>
            </a:extLst>
          </p:cNvPr>
          <p:cNvSpPr/>
          <p:nvPr/>
        </p:nvSpPr>
        <p:spPr>
          <a:xfrm>
            <a:off x="7239361" y="1189266"/>
            <a:ext cx="1334124" cy="4706912"/>
          </a:xfrm>
          <a:prstGeom prst="roundRect">
            <a:avLst/>
          </a:prstGeom>
          <a:solidFill>
            <a:schemeClr val="bg1">
              <a:lumMod val="95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D0E961FC-1E62-B7B9-1EEE-5D873B387518}"/>
              </a:ext>
            </a:extLst>
          </p:cNvPr>
          <p:cNvSpPr txBox="1"/>
          <p:nvPr/>
        </p:nvSpPr>
        <p:spPr>
          <a:xfrm>
            <a:off x="7444927" y="5429739"/>
            <a:ext cx="951186" cy="415498"/>
          </a:xfrm>
          <a:prstGeom prst="rect">
            <a:avLst/>
          </a:prstGeom>
          <a:noFill/>
        </p:spPr>
        <p:txBody>
          <a:bodyPr wrap="square" rtlCol="0">
            <a:spAutoFit/>
          </a:bodyPr>
          <a:lstStyle/>
          <a:p>
            <a:pPr algn="ctr"/>
            <a:r>
              <a:rPr lang="fr-FR" sz="1050" b="1"/>
              <a:t>IT FACTORY</a:t>
            </a:r>
          </a:p>
        </p:txBody>
      </p:sp>
      <p:sp>
        <p:nvSpPr>
          <p:cNvPr id="10" name="Rectangle : coins arrondis 9">
            <a:extLst>
              <a:ext uri="{FF2B5EF4-FFF2-40B4-BE49-F238E27FC236}">
                <a16:creationId xmlns:a16="http://schemas.microsoft.com/office/drawing/2014/main" id="{4FFCED35-CD6C-5FAE-5B4E-CF808609D3C8}"/>
              </a:ext>
            </a:extLst>
          </p:cNvPr>
          <p:cNvSpPr/>
          <p:nvPr/>
        </p:nvSpPr>
        <p:spPr>
          <a:xfrm>
            <a:off x="5048299" y="1194300"/>
            <a:ext cx="1334124" cy="4706912"/>
          </a:xfrm>
          <a:prstGeom prst="roundRect">
            <a:avLst/>
          </a:prstGeom>
          <a:solidFill>
            <a:schemeClr val="bg1">
              <a:lumMod val="95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1" name="Tableau 10">
            <a:extLst>
              <a:ext uri="{FF2B5EF4-FFF2-40B4-BE49-F238E27FC236}">
                <a16:creationId xmlns:a16="http://schemas.microsoft.com/office/drawing/2014/main" id="{CA62CBE0-8FCE-629E-D95A-33155605D4B8}"/>
              </a:ext>
            </a:extLst>
          </p:cNvPr>
          <p:cNvGraphicFramePr>
            <a:graphicFrameLocks noGrp="1"/>
          </p:cNvGraphicFramePr>
          <p:nvPr>
            <p:extLst>
              <p:ext uri="{D42A27DB-BD31-4B8C-83A1-F6EECF244321}">
                <p14:modId xmlns:p14="http://schemas.microsoft.com/office/powerpoint/2010/main" val="712113395"/>
              </p:ext>
            </p:extLst>
          </p:nvPr>
        </p:nvGraphicFramePr>
        <p:xfrm>
          <a:off x="190235" y="1395565"/>
          <a:ext cx="11078446" cy="4066869"/>
        </p:xfrm>
        <a:graphic>
          <a:graphicData uri="http://schemas.openxmlformats.org/drawingml/2006/table">
            <a:tbl>
              <a:tblPr firstRow="1" bandRow="1">
                <a:tableStyleId>{5C22544A-7EE6-4342-B048-85BDC9FD1C3A}</a:tableStyleId>
              </a:tblPr>
              <a:tblGrid>
                <a:gridCol w="2332221">
                  <a:extLst>
                    <a:ext uri="{9D8B030D-6E8A-4147-A177-3AD203B41FA5}">
                      <a16:colId xmlns:a16="http://schemas.microsoft.com/office/drawing/2014/main" val="3066992687"/>
                    </a:ext>
                  </a:extLst>
                </a:gridCol>
                <a:gridCol w="2099158">
                  <a:extLst>
                    <a:ext uri="{9D8B030D-6E8A-4147-A177-3AD203B41FA5}">
                      <a16:colId xmlns:a16="http://schemas.microsoft.com/office/drawing/2014/main" val="81411314"/>
                    </a:ext>
                  </a:extLst>
                </a:gridCol>
                <a:gridCol w="2215689">
                  <a:extLst>
                    <a:ext uri="{9D8B030D-6E8A-4147-A177-3AD203B41FA5}">
                      <a16:colId xmlns:a16="http://schemas.microsoft.com/office/drawing/2014/main" val="1535574515"/>
                    </a:ext>
                  </a:extLst>
                </a:gridCol>
                <a:gridCol w="2215689">
                  <a:extLst>
                    <a:ext uri="{9D8B030D-6E8A-4147-A177-3AD203B41FA5}">
                      <a16:colId xmlns:a16="http://schemas.microsoft.com/office/drawing/2014/main" val="3416506903"/>
                    </a:ext>
                  </a:extLst>
                </a:gridCol>
                <a:gridCol w="2215689">
                  <a:extLst>
                    <a:ext uri="{9D8B030D-6E8A-4147-A177-3AD203B41FA5}">
                      <a16:colId xmlns:a16="http://schemas.microsoft.com/office/drawing/2014/main" val="2302976137"/>
                    </a:ext>
                  </a:extLst>
                </a:gridCol>
              </a:tblGrid>
              <a:tr h="301620">
                <a:tc>
                  <a:txBody>
                    <a:bodyPr/>
                    <a:lstStyle/>
                    <a:p>
                      <a:r>
                        <a:rPr lang="fr-FR" sz="800">
                          <a:solidFill>
                            <a:schemeClr val="bg1"/>
                          </a:solidFill>
                          <a:latin typeface="+mn-lt"/>
                        </a:rPr>
                        <a:t>Périmètre</a:t>
                      </a:r>
                    </a:p>
                  </a:txBody>
                  <a:tcPr anchor="ctr">
                    <a:solidFill>
                      <a:schemeClr val="bg2"/>
                    </a:solidFill>
                  </a:tcPr>
                </a:tc>
                <a:tc>
                  <a:txBody>
                    <a:bodyPr/>
                    <a:lstStyle/>
                    <a:p>
                      <a:pPr algn="ctr"/>
                      <a:r>
                        <a:rPr lang="fr-FR" sz="800">
                          <a:solidFill>
                            <a:schemeClr val="bg1"/>
                          </a:solidFill>
                          <a:latin typeface="+mn-lt"/>
                        </a:rPr>
                        <a:t>Critères</a:t>
                      </a:r>
                    </a:p>
                  </a:txBody>
                  <a:tcPr anchor="ctr">
                    <a:lnR w="12700" cmpd="sng">
                      <a:noFill/>
                    </a:lnR>
                    <a:solidFill>
                      <a:schemeClr val="bg2"/>
                    </a:solidFill>
                  </a:tcPr>
                </a:tc>
                <a:tc>
                  <a:txBody>
                    <a:bodyPr/>
                    <a:lstStyle/>
                    <a:p>
                      <a:pPr algn="ctr"/>
                      <a:endParaRPr lang="fr-FR" sz="800" i="1">
                        <a:solidFill>
                          <a:schemeClr val="bg1"/>
                        </a:solidFill>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fr-FR" sz="800" i="1">
                        <a:solidFill>
                          <a:schemeClr val="bg1"/>
                        </a:solidFill>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fr-FR" sz="800" i="1">
                        <a:solidFill>
                          <a:schemeClr val="bg1"/>
                        </a:solidFill>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2724288"/>
                  </a:ext>
                </a:extLst>
              </a:tr>
              <a:tr h="418361">
                <a:tc rowSpan="2">
                  <a:txBody>
                    <a:bodyPr/>
                    <a:lstStyle/>
                    <a:p>
                      <a:r>
                        <a:rPr lang="fr-FR" sz="900" b="1">
                          <a:solidFill>
                            <a:schemeClr val="tx1"/>
                          </a:solidFill>
                          <a:latin typeface="+mn-lt"/>
                        </a:rPr>
                        <a:t>1</a:t>
                      </a:r>
                    </a:p>
                    <a:p>
                      <a:r>
                        <a:rPr lang="fr-FR" sz="900">
                          <a:solidFill>
                            <a:schemeClr val="tx1"/>
                          </a:solidFill>
                          <a:latin typeface="+mn-lt"/>
                        </a:rPr>
                        <a:t>Les créateurs de flux ou applications</a:t>
                      </a:r>
                    </a:p>
                  </a:txBody>
                  <a:tcPr anchor="ctr">
                    <a:solidFill>
                      <a:schemeClr val="bg1">
                        <a:lumMod val="95000"/>
                      </a:schemeClr>
                    </a:solidFill>
                  </a:tcPr>
                </a:tc>
                <a:tc>
                  <a:txBody>
                    <a:bodyPr/>
                    <a:lstStyle/>
                    <a:p>
                      <a:pPr algn="l"/>
                      <a:r>
                        <a:rPr lang="fr-FR" sz="900">
                          <a:solidFill>
                            <a:schemeClr val="tx1"/>
                          </a:solidFill>
                          <a:latin typeface="+mn-lt"/>
                        </a:rPr>
                        <a:t>Potentiellement tout utilisateur</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38100" cmpd="sng">
                      <a:noFill/>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38100" cmpd="sng">
                      <a:noFill/>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38100" cmpd="sng">
                      <a:noFill/>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259191128"/>
                  </a:ext>
                </a:extLst>
              </a:tr>
              <a:tr h="418361">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algn="l"/>
                      <a:r>
                        <a:rPr lang="fr-FR" sz="900">
                          <a:solidFill>
                            <a:schemeClr val="tx1"/>
                          </a:solidFill>
                          <a:latin typeface="+mn-lt"/>
                        </a:rPr>
                        <a:t>Uniquement une population IT de type « Centre d’excellence</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3217471761"/>
                  </a:ext>
                </a:extLst>
              </a:tr>
              <a:tr h="418361">
                <a:tc rowSpan="3">
                  <a:txBody>
                    <a:bodyPr/>
                    <a:lstStyle/>
                    <a:p>
                      <a:r>
                        <a:rPr lang="fr-FR" sz="900" b="1">
                          <a:solidFill>
                            <a:schemeClr val="tx1"/>
                          </a:solidFill>
                          <a:latin typeface="+mn-lt"/>
                        </a:rPr>
                        <a:t>2</a:t>
                      </a:r>
                      <a:br>
                        <a:rPr lang="fr-FR" sz="900">
                          <a:solidFill>
                            <a:schemeClr val="tx1"/>
                          </a:solidFill>
                          <a:latin typeface="+mn-lt"/>
                        </a:rPr>
                      </a:br>
                      <a:r>
                        <a:rPr lang="fr-FR" sz="900">
                          <a:solidFill>
                            <a:schemeClr val="tx1"/>
                          </a:solidFill>
                          <a:latin typeface="+mn-lt"/>
                        </a:rPr>
                        <a:t>Les utilisateurs actifs cibles</a:t>
                      </a:r>
                    </a:p>
                  </a:txBody>
                  <a:tcPr anchor="ctr">
                    <a:solidFill>
                      <a:schemeClr val="bg1">
                        <a:lumMod val="95000"/>
                      </a:schemeClr>
                    </a:solidFill>
                  </a:tcPr>
                </a:tc>
                <a:tc>
                  <a:txBody>
                    <a:bodyPr/>
                    <a:lstStyle/>
                    <a:p>
                      <a:pPr algn="l"/>
                      <a:r>
                        <a:rPr lang="fr-FR" sz="900">
                          <a:solidFill>
                            <a:schemeClr val="tx1"/>
                          </a:solidFill>
                          <a:latin typeface="+mn-lt"/>
                        </a:rPr>
                        <a:t>Jusqu’à 50 utilisateurs</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743927541"/>
                  </a:ext>
                </a:extLst>
              </a:tr>
              <a:tr h="418361">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algn="l"/>
                      <a:r>
                        <a:rPr lang="fr-FR" sz="900">
                          <a:solidFill>
                            <a:schemeClr val="tx1"/>
                          </a:solidFill>
                          <a:latin typeface="+mn-lt"/>
                        </a:rPr>
                        <a:t>Entre 50 &amp; 300</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3110431930"/>
                  </a:ext>
                </a:extLst>
              </a:tr>
              <a:tr h="418361">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algn="l"/>
                      <a:r>
                        <a:rPr lang="fr-FR" sz="900">
                          <a:solidFill>
                            <a:schemeClr val="tx1"/>
                          </a:solidFill>
                          <a:latin typeface="+mn-lt"/>
                        </a:rPr>
                        <a:t>&gt; 300 </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4144808479"/>
                  </a:ext>
                </a:extLst>
              </a:tr>
              <a:tr h="418361">
                <a:tc rowSpan="2">
                  <a:txBody>
                    <a:bodyPr/>
                    <a:lstStyle/>
                    <a:p>
                      <a:r>
                        <a:rPr lang="fr-FR" sz="900" b="1">
                          <a:solidFill>
                            <a:schemeClr val="tx1"/>
                          </a:solidFill>
                          <a:latin typeface="+mn-lt"/>
                        </a:rPr>
                        <a:t>3</a:t>
                      </a:r>
                    </a:p>
                    <a:p>
                      <a:r>
                        <a:rPr lang="fr-FR" sz="900">
                          <a:solidFill>
                            <a:schemeClr val="tx1"/>
                          </a:solidFill>
                          <a:latin typeface="+mn-lt"/>
                        </a:rPr>
                        <a:t>Les connecteurs cibles consommés</a:t>
                      </a:r>
                    </a:p>
                  </a:txBody>
                  <a:tcPr anchor="ctr">
                    <a:solidFill>
                      <a:schemeClr val="bg1">
                        <a:lumMod val="95000"/>
                      </a:schemeClr>
                    </a:solidFill>
                  </a:tcPr>
                </a:tc>
                <a:tc>
                  <a:txBody>
                    <a:bodyPr/>
                    <a:lstStyle/>
                    <a:p>
                      <a:pPr algn="l"/>
                      <a:r>
                        <a:rPr lang="fr-FR" sz="900">
                          <a:solidFill>
                            <a:schemeClr val="tx1"/>
                          </a:solidFill>
                          <a:latin typeface="+mn-lt"/>
                        </a:rPr>
                        <a:t>Dans la DLP par défaut</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164402212"/>
                  </a:ext>
                </a:extLst>
              </a:tr>
              <a:tr h="418361">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algn="l"/>
                      <a:r>
                        <a:rPr lang="fr-FR" sz="900">
                          <a:solidFill>
                            <a:schemeClr val="tx1"/>
                          </a:solidFill>
                          <a:latin typeface="+mn-lt"/>
                        </a:rPr>
                        <a:t>Connecteur spécifique hors DLP</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1180902028"/>
                  </a:ext>
                </a:extLst>
              </a:tr>
              <a:tr h="418361">
                <a:tc rowSpan="2">
                  <a:txBody>
                    <a:bodyPr/>
                    <a:lstStyle/>
                    <a:p>
                      <a:r>
                        <a:rPr lang="fr-FR" sz="900" b="1">
                          <a:solidFill>
                            <a:schemeClr val="tx1"/>
                          </a:solidFill>
                          <a:latin typeface="+mn-lt"/>
                        </a:rPr>
                        <a:t>4</a:t>
                      </a:r>
                    </a:p>
                    <a:p>
                      <a:r>
                        <a:rPr lang="fr-FR" sz="900">
                          <a:solidFill>
                            <a:schemeClr val="tx1"/>
                          </a:solidFill>
                          <a:latin typeface="+mn-lt"/>
                        </a:rPr>
                        <a:t>Le type d’usage à couvrir</a:t>
                      </a:r>
                    </a:p>
                  </a:txBody>
                  <a:tcPr anchor="ctr">
                    <a:solidFill>
                      <a:schemeClr val="bg1">
                        <a:lumMod val="95000"/>
                      </a:schemeClr>
                    </a:solidFill>
                  </a:tcPr>
                </a:tc>
                <a:tc>
                  <a:txBody>
                    <a:bodyPr/>
                    <a:lstStyle/>
                    <a:p>
                      <a:pPr algn="l"/>
                      <a:r>
                        <a:rPr lang="fr-FR" sz="900">
                          <a:solidFill>
                            <a:schemeClr val="tx1"/>
                          </a:solidFill>
                          <a:latin typeface="+mn-lt"/>
                        </a:rPr>
                        <a:t>Productivité</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2074487600"/>
                  </a:ext>
                </a:extLst>
              </a:tr>
              <a:tr h="418361">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algn="l"/>
                      <a:r>
                        <a:rPr lang="fr-FR" sz="900">
                          <a:solidFill>
                            <a:schemeClr val="tx1"/>
                          </a:solidFill>
                          <a:latin typeface="+mn-lt"/>
                        </a:rPr>
                        <a:t>Métier</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no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no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41366831"/>
                  </a:ext>
                </a:extLst>
              </a:tr>
            </a:tbl>
          </a:graphicData>
        </a:graphic>
      </p:graphicFrame>
      <p:pic>
        <p:nvPicPr>
          <p:cNvPr id="12" name="Image 11" descr="Une image contenant cercle, Caractère coloré, Graphique, symbole&#10;&#10;Description générée automatiquement">
            <a:extLst>
              <a:ext uri="{FF2B5EF4-FFF2-40B4-BE49-F238E27FC236}">
                <a16:creationId xmlns:a16="http://schemas.microsoft.com/office/drawing/2014/main" id="{F82E46FF-3F6C-FF0C-848D-E2132D98F6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5058" y="1764255"/>
            <a:ext cx="243899" cy="243899"/>
          </a:xfrm>
          <a:prstGeom prst="rect">
            <a:avLst/>
          </a:prstGeom>
        </p:spPr>
      </p:pic>
      <p:pic>
        <p:nvPicPr>
          <p:cNvPr id="13" name="Image 12" descr="Une image contenant cercle, Caractère coloré, Graphique, symbole&#10;&#10;Description générée automatiquement">
            <a:extLst>
              <a:ext uri="{FF2B5EF4-FFF2-40B4-BE49-F238E27FC236}">
                <a16:creationId xmlns:a16="http://schemas.microsoft.com/office/drawing/2014/main" id="{44716D49-B0BE-0412-C25A-0E37252BFE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6049" y="3443989"/>
            <a:ext cx="243899" cy="243899"/>
          </a:xfrm>
          <a:prstGeom prst="rect">
            <a:avLst/>
          </a:prstGeom>
        </p:spPr>
      </p:pic>
      <p:pic>
        <p:nvPicPr>
          <p:cNvPr id="17" name="Image 16" descr="Une image contenant cercle, Caractère coloré, Graphique, symbole&#10;&#10;Description générée automatiquement">
            <a:extLst>
              <a:ext uri="{FF2B5EF4-FFF2-40B4-BE49-F238E27FC236}">
                <a16:creationId xmlns:a16="http://schemas.microsoft.com/office/drawing/2014/main" id="{B8B02A49-B66F-CE1D-70A9-B54E136560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6049" y="4298138"/>
            <a:ext cx="243899" cy="243899"/>
          </a:xfrm>
          <a:prstGeom prst="rect">
            <a:avLst/>
          </a:prstGeom>
        </p:spPr>
      </p:pic>
      <p:pic>
        <p:nvPicPr>
          <p:cNvPr id="18" name="Image 17" descr="Une image contenant cercle, Caractère coloré, Graphique, symbole&#10;&#10;Description générée automatiquement">
            <a:extLst>
              <a:ext uri="{FF2B5EF4-FFF2-40B4-BE49-F238E27FC236}">
                <a16:creationId xmlns:a16="http://schemas.microsoft.com/office/drawing/2014/main" id="{402F96EA-898F-5C95-D7BC-51A493F289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6049" y="5117252"/>
            <a:ext cx="243899" cy="243899"/>
          </a:xfrm>
          <a:prstGeom prst="rect">
            <a:avLst/>
          </a:prstGeom>
        </p:spPr>
      </p:pic>
      <p:pic>
        <p:nvPicPr>
          <p:cNvPr id="19" name="Image 18" descr="Une image contenant cercle, Caractère coloré, Graphique, symbole&#10;&#10;Description générée automatiquement">
            <a:extLst>
              <a:ext uri="{FF2B5EF4-FFF2-40B4-BE49-F238E27FC236}">
                <a16:creationId xmlns:a16="http://schemas.microsoft.com/office/drawing/2014/main" id="{38375F86-A070-1B80-389C-FF10C51AEA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76809" y="2201469"/>
            <a:ext cx="243899" cy="243899"/>
          </a:xfrm>
          <a:prstGeom prst="rect">
            <a:avLst/>
          </a:prstGeom>
        </p:spPr>
      </p:pic>
      <p:pic>
        <p:nvPicPr>
          <p:cNvPr id="20" name="Image 19" descr="Une image contenant cercle, Caractère coloré, Graphique, symbole&#10;&#10;Description générée automatiquement">
            <a:extLst>
              <a:ext uri="{FF2B5EF4-FFF2-40B4-BE49-F238E27FC236}">
                <a16:creationId xmlns:a16="http://schemas.microsoft.com/office/drawing/2014/main" id="{910182ED-7289-F2E8-274D-9FA3D6B72B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5058" y="2613349"/>
            <a:ext cx="243899" cy="243899"/>
          </a:xfrm>
          <a:prstGeom prst="rect">
            <a:avLst/>
          </a:prstGeom>
        </p:spPr>
      </p:pic>
      <p:pic>
        <p:nvPicPr>
          <p:cNvPr id="21" name="Image 20" descr="Une image contenant cercle, Caractère coloré, Graphique, symbole&#10;&#10;Description générée automatiquement">
            <a:extLst>
              <a:ext uri="{FF2B5EF4-FFF2-40B4-BE49-F238E27FC236}">
                <a16:creationId xmlns:a16="http://schemas.microsoft.com/office/drawing/2014/main" id="{E3E43CE3-8F46-2A83-B9E6-097217B6F6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76809" y="2613349"/>
            <a:ext cx="243899" cy="243899"/>
          </a:xfrm>
          <a:prstGeom prst="rect">
            <a:avLst/>
          </a:prstGeom>
        </p:spPr>
      </p:pic>
      <p:pic>
        <p:nvPicPr>
          <p:cNvPr id="22" name="Image 21" descr="Une image contenant cercle, Caractère coloré, Graphique, symbole&#10;&#10;Description générée automatiquement">
            <a:extLst>
              <a:ext uri="{FF2B5EF4-FFF2-40B4-BE49-F238E27FC236}">
                <a16:creationId xmlns:a16="http://schemas.microsoft.com/office/drawing/2014/main" id="{D415DE9B-C81D-C9AA-FC62-6BFAA42E63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76809" y="3020583"/>
            <a:ext cx="243899" cy="243899"/>
          </a:xfrm>
          <a:prstGeom prst="rect">
            <a:avLst/>
          </a:prstGeom>
        </p:spPr>
      </p:pic>
      <p:pic>
        <p:nvPicPr>
          <p:cNvPr id="23" name="Image 22" descr="Une image contenant cercle, Caractère coloré, Graphique, symbole&#10;&#10;Description générée automatiquement">
            <a:extLst>
              <a:ext uri="{FF2B5EF4-FFF2-40B4-BE49-F238E27FC236}">
                <a16:creationId xmlns:a16="http://schemas.microsoft.com/office/drawing/2014/main" id="{E1E4E421-8F8C-2AAF-4C30-7F8D2E90D8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5058" y="3883598"/>
            <a:ext cx="243899" cy="243899"/>
          </a:xfrm>
          <a:prstGeom prst="rect">
            <a:avLst/>
          </a:prstGeom>
        </p:spPr>
      </p:pic>
      <p:pic>
        <p:nvPicPr>
          <p:cNvPr id="24" name="Image 23" descr="Une image contenant cercle, Caractère coloré, Graphique, symbole&#10;&#10;Description générée automatiquement">
            <a:extLst>
              <a:ext uri="{FF2B5EF4-FFF2-40B4-BE49-F238E27FC236}">
                <a16:creationId xmlns:a16="http://schemas.microsoft.com/office/drawing/2014/main" id="{72C00877-9682-0EA2-19B8-EF98DD413B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76809" y="3883598"/>
            <a:ext cx="243899" cy="243899"/>
          </a:xfrm>
          <a:prstGeom prst="rect">
            <a:avLst/>
          </a:prstGeom>
        </p:spPr>
      </p:pic>
      <p:pic>
        <p:nvPicPr>
          <p:cNvPr id="25" name="Image 24" descr="Une image contenant cercle, Caractère coloré, Graphique, symbole&#10;&#10;Description générée automatiquement">
            <a:extLst>
              <a:ext uri="{FF2B5EF4-FFF2-40B4-BE49-F238E27FC236}">
                <a16:creationId xmlns:a16="http://schemas.microsoft.com/office/drawing/2014/main" id="{FC5E9482-ECFB-15A2-62B6-AD18FFCD75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95058" y="4702712"/>
            <a:ext cx="243899" cy="243899"/>
          </a:xfrm>
          <a:prstGeom prst="rect">
            <a:avLst/>
          </a:prstGeom>
        </p:spPr>
      </p:pic>
      <p:pic>
        <p:nvPicPr>
          <p:cNvPr id="29" name="Image 28" descr="Une image contenant cercle, Caractère coloré, Graphique, symbole&#10;&#10;Description générée automatiquement">
            <a:extLst>
              <a:ext uri="{FF2B5EF4-FFF2-40B4-BE49-F238E27FC236}">
                <a16:creationId xmlns:a16="http://schemas.microsoft.com/office/drawing/2014/main" id="{58D7AE8F-09E9-C47B-0904-EE0C37059E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81166" y="4702712"/>
            <a:ext cx="243899" cy="243899"/>
          </a:xfrm>
          <a:prstGeom prst="rect">
            <a:avLst/>
          </a:prstGeom>
        </p:spPr>
      </p:pic>
      <p:pic>
        <p:nvPicPr>
          <p:cNvPr id="30" name="Image 29" descr="Une image contenant symbole, cercle, Caractère coloré, Graphique&#10;&#10;Description générée automatiquement">
            <a:extLst>
              <a:ext uri="{FF2B5EF4-FFF2-40B4-BE49-F238E27FC236}">
                <a16:creationId xmlns:a16="http://schemas.microsoft.com/office/drawing/2014/main" id="{7DDD5A39-6117-25C1-43D7-A021E2466B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4607" y="2201469"/>
            <a:ext cx="244800" cy="244800"/>
          </a:xfrm>
          <a:prstGeom prst="rect">
            <a:avLst/>
          </a:prstGeom>
        </p:spPr>
      </p:pic>
      <p:pic>
        <p:nvPicPr>
          <p:cNvPr id="31" name="Image 30" descr="Une image contenant symbole, cercle, Caractère coloré, Graphique&#10;&#10;Description générée automatiquement">
            <a:extLst>
              <a:ext uri="{FF2B5EF4-FFF2-40B4-BE49-F238E27FC236}">
                <a16:creationId xmlns:a16="http://schemas.microsoft.com/office/drawing/2014/main" id="{F7CFD0D4-E255-973C-6757-E47B839BBA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4607" y="3030887"/>
            <a:ext cx="244800" cy="244800"/>
          </a:xfrm>
          <a:prstGeom prst="rect">
            <a:avLst/>
          </a:prstGeom>
        </p:spPr>
      </p:pic>
      <p:pic>
        <p:nvPicPr>
          <p:cNvPr id="35" name="Image 34" descr="Une image contenant symbole, cercle, Caractère coloré, Graphique&#10;&#10;Description générée automatiquement">
            <a:extLst>
              <a:ext uri="{FF2B5EF4-FFF2-40B4-BE49-F238E27FC236}">
                <a16:creationId xmlns:a16="http://schemas.microsoft.com/office/drawing/2014/main" id="{FBF607FD-501F-D43F-C9A0-DAB79DD3CD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4607" y="3458099"/>
            <a:ext cx="244800" cy="244800"/>
          </a:xfrm>
          <a:prstGeom prst="rect">
            <a:avLst/>
          </a:prstGeom>
        </p:spPr>
      </p:pic>
      <p:pic>
        <p:nvPicPr>
          <p:cNvPr id="36" name="Image 35" descr="Une image contenant symbole, cercle, Caractère coloré, Graphique&#10;&#10;Description générée automatiquement">
            <a:extLst>
              <a:ext uri="{FF2B5EF4-FFF2-40B4-BE49-F238E27FC236}">
                <a16:creationId xmlns:a16="http://schemas.microsoft.com/office/drawing/2014/main" id="{15793173-BB11-0F29-797F-EB26F04C16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4607" y="4298138"/>
            <a:ext cx="244800" cy="244800"/>
          </a:xfrm>
          <a:prstGeom prst="rect">
            <a:avLst/>
          </a:prstGeom>
        </p:spPr>
      </p:pic>
      <p:pic>
        <p:nvPicPr>
          <p:cNvPr id="37" name="Image 36" descr="Une image contenant symbole, cercle, Caractère coloré, Graphique&#10;&#10;Description générée automatiquement">
            <a:extLst>
              <a:ext uri="{FF2B5EF4-FFF2-40B4-BE49-F238E27FC236}">
                <a16:creationId xmlns:a16="http://schemas.microsoft.com/office/drawing/2014/main" id="{A0ABD32F-E74C-85C2-D106-B90E4DDCDD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4607" y="5136272"/>
            <a:ext cx="244800" cy="244800"/>
          </a:xfrm>
          <a:prstGeom prst="rect">
            <a:avLst/>
          </a:prstGeom>
        </p:spPr>
      </p:pic>
      <p:pic>
        <p:nvPicPr>
          <p:cNvPr id="38" name="Image 37" descr="Une image contenant symbole, cercle, Caractère coloré, Graphique&#10;&#10;Description générée automatiquement">
            <a:extLst>
              <a:ext uri="{FF2B5EF4-FFF2-40B4-BE49-F238E27FC236}">
                <a16:creationId xmlns:a16="http://schemas.microsoft.com/office/drawing/2014/main" id="{2D54B4E4-A510-7B74-54F7-5C31F9D26A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6809" y="5132936"/>
            <a:ext cx="244800" cy="244800"/>
          </a:xfrm>
          <a:prstGeom prst="rect">
            <a:avLst/>
          </a:prstGeom>
        </p:spPr>
      </p:pic>
      <p:pic>
        <p:nvPicPr>
          <p:cNvPr id="39" name="Image 38" descr="Une image contenant symbole, cercle, Caractère coloré, Graphique&#10;&#10;Description générée automatiquement">
            <a:extLst>
              <a:ext uri="{FF2B5EF4-FFF2-40B4-BE49-F238E27FC236}">
                <a16:creationId xmlns:a16="http://schemas.microsoft.com/office/drawing/2014/main" id="{18B6B1D2-8037-B254-5CC5-76CD90F93A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9138" y="4304076"/>
            <a:ext cx="244800" cy="244800"/>
          </a:xfrm>
          <a:prstGeom prst="rect">
            <a:avLst/>
          </a:prstGeom>
        </p:spPr>
      </p:pic>
      <p:pic>
        <p:nvPicPr>
          <p:cNvPr id="40" name="Image 39" descr="Une image contenant symbole, cercle, Caractère coloré, Graphique&#10;&#10;Description générée automatiquement">
            <a:extLst>
              <a:ext uri="{FF2B5EF4-FFF2-40B4-BE49-F238E27FC236}">
                <a16:creationId xmlns:a16="http://schemas.microsoft.com/office/drawing/2014/main" id="{A29DBC59-3E40-6C56-D8F4-01501588B4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5908" y="3452473"/>
            <a:ext cx="244800" cy="244800"/>
          </a:xfrm>
          <a:prstGeom prst="rect">
            <a:avLst/>
          </a:prstGeom>
        </p:spPr>
      </p:pic>
      <p:pic>
        <p:nvPicPr>
          <p:cNvPr id="41" name="Image 40" descr="Une image contenant symbole, cercle, Caractère coloré, Graphique&#10;&#10;Description générée automatiquement">
            <a:extLst>
              <a:ext uri="{FF2B5EF4-FFF2-40B4-BE49-F238E27FC236}">
                <a16:creationId xmlns:a16="http://schemas.microsoft.com/office/drawing/2014/main" id="{3EA08288-BB69-BCF6-E6AE-CCDC2708BF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5908" y="1761565"/>
            <a:ext cx="244800" cy="244800"/>
          </a:xfrm>
          <a:prstGeom prst="rect">
            <a:avLst/>
          </a:prstGeom>
        </p:spPr>
      </p:pic>
      <p:pic>
        <p:nvPicPr>
          <p:cNvPr id="42" name="Image 41" descr="Une image contenant cercle, Caractère coloré, Graphique, symbole&#10;&#10;Description générée automatiquement">
            <a:extLst>
              <a:ext uri="{FF2B5EF4-FFF2-40B4-BE49-F238E27FC236}">
                <a16:creationId xmlns:a16="http://schemas.microsoft.com/office/drawing/2014/main" id="{F378D216-5CF8-368A-4A67-F84E10890A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6049" y="2200290"/>
            <a:ext cx="243899" cy="243899"/>
          </a:xfrm>
          <a:prstGeom prst="rect">
            <a:avLst/>
          </a:prstGeom>
        </p:spPr>
      </p:pic>
      <p:sp>
        <p:nvSpPr>
          <p:cNvPr id="43" name="ZoneTexte 42">
            <a:extLst>
              <a:ext uri="{FF2B5EF4-FFF2-40B4-BE49-F238E27FC236}">
                <a16:creationId xmlns:a16="http://schemas.microsoft.com/office/drawing/2014/main" id="{36B9A657-147D-B461-CC2A-0B495723A64A}"/>
              </a:ext>
            </a:extLst>
          </p:cNvPr>
          <p:cNvSpPr txBox="1"/>
          <p:nvPr/>
        </p:nvSpPr>
        <p:spPr>
          <a:xfrm>
            <a:off x="3264469" y="5642262"/>
            <a:ext cx="1997999" cy="253916"/>
          </a:xfrm>
          <a:prstGeom prst="rect">
            <a:avLst/>
          </a:prstGeom>
          <a:noFill/>
        </p:spPr>
        <p:txBody>
          <a:bodyPr wrap="square" rtlCol="0">
            <a:spAutoFit/>
          </a:bodyPr>
          <a:lstStyle/>
          <a:p>
            <a:r>
              <a:rPr lang="fr-FR" sz="1050" b="1">
                <a:solidFill>
                  <a:schemeClr val="accent4"/>
                </a:solidFill>
              </a:rPr>
              <a:t>Environnement cible</a:t>
            </a:r>
          </a:p>
        </p:txBody>
      </p:sp>
      <p:sp>
        <p:nvSpPr>
          <p:cNvPr id="44" name="ZoneTexte 43">
            <a:extLst>
              <a:ext uri="{FF2B5EF4-FFF2-40B4-BE49-F238E27FC236}">
                <a16:creationId xmlns:a16="http://schemas.microsoft.com/office/drawing/2014/main" id="{EE436185-1BCF-E30A-9544-FD7A967D85B3}"/>
              </a:ext>
            </a:extLst>
          </p:cNvPr>
          <p:cNvSpPr txBox="1"/>
          <p:nvPr/>
        </p:nvSpPr>
        <p:spPr>
          <a:xfrm>
            <a:off x="5253865" y="5607158"/>
            <a:ext cx="951186" cy="253916"/>
          </a:xfrm>
          <a:prstGeom prst="rect">
            <a:avLst/>
          </a:prstGeom>
          <a:noFill/>
        </p:spPr>
        <p:txBody>
          <a:bodyPr wrap="square" rtlCol="0">
            <a:spAutoFit/>
          </a:bodyPr>
          <a:lstStyle/>
          <a:p>
            <a:pPr algn="ctr"/>
            <a:r>
              <a:rPr lang="fr-FR" sz="1050" b="1"/>
              <a:t>CITIZEN IT</a:t>
            </a:r>
          </a:p>
        </p:txBody>
      </p:sp>
    </p:spTree>
    <p:extLst>
      <p:ext uri="{BB962C8B-B14F-4D97-AF65-F5344CB8AC3E}">
        <p14:creationId xmlns:p14="http://schemas.microsoft.com/office/powerpoint/2010/main" val="3341754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32158"/>
            <a:ext cx="10941055" cy="788029"/>
          </a:xfrm>
        </p:spPr>
        <p:txBody>
          <a:bodyPr lIns="91440" tIns="45720" rIns="91440" bIns="45720" anchor="t"/>
          <a:lstStyle/>
          <a:p>
            <a:r>
              <a:rPr lang="fr-FR"/>
              <a:t>FOCUS SUR : Environnement « CITIZEN IT »</a:t>
            </a:r>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3" name="Google Shape;666;p44">
            <a:extLst>
              <a:ext uri="{FF2B5EF4-FFF2-40B4-BE49-F238E27FC236}">
                <a16:creationId xmlns:a16="http://schemas.microsoft.com/office/drawing/2014/main" id="{688FD934-970B-A69A-AEBF-F8A0B2ECF4C5}"/>
              </a:ext>
            </a:extLst>
          </p:cNvPr>
          <p:cNvSpPr/>
          <p:nvPr/>
        </p:nvSpPr>
        <p:spPr>
          <a:xfrm>
            <a:off x="11412757" y="132158"/>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Image 3">
            <a:extLst>
              <a:ext uri="{FF2B5EF4-FFF2-40B4-BE49-F238E27FC236}">
                <a16:creationId xmlns:a16="http://schemas.microsoft.com/office/drawing/2014/main" id="{13685767-C722-889D-110A-C0D4B68EA8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6386" y="249175"/>
            <a:ext cx="324143" cy="324143"/>
          </a:xfrm>
          <a:prstGeom prst="rect">
            <a:avLst/>
          </a:prstGeom>
          <a:solidFill>
            <a:srgbClr val="E5C9EF"/>
          </a:solidFill>
        </p:spPr>
      </p:pic>
      <p:graphicFrame>
        <p:nvGraphicFramePr>
          <p:cNvPr id="11" name="Tableau 11">
            <a:extLst>
              <a:ext uri="{FF2B5EF4-FFF2-40B4-BE49-F238E27FC236}">
                <a16:creationId xmlns:a16="http://schemas.microsoft.com/office/drawing/2014/main" id="{90B374F1-851D-E4F2-8C29-4FAA8E13922F}"/>
              </a:ext>
            </a:extLst>
          </p:cNvPr>
          <p:cNvGraphicFramePr>
            <a:graphicFrameLocks noGrp="1"/>
          </p:cNvGraphicFramePr>
          <p:nvPr>
            <p:extLst>
              <p:ext uri="{D42A27DB-BD31-4B8C-83A1-F6EECF244321}">
                <p14:modId xmlns:p14="http://schemas.microsoft.com/office/powerpoint/2010/main" val="3405398977"/>
              </p:ext>
            </p:extLst>
          </p:nvPr>
        </p:nvGraphicFramePr>
        <p:xfrm>
          <a:off x="434917" y="2699464"/>
          <a:ext cx="10812282" cy="2804160"/>
        </p:xfrm>
        <a:graphic>
          <a:graphicData uri="http://schemas.openxmlformats.org/drawingml/2006/table">
            <a:tbl>
              <a:tblPr bandRow="1">
                <a:tableStyleId>{5C22544A-7EE6-4342-B048-85BDC9FD1C3A}</a:tableStyleId>
              </a:tblPr>
              <a:tblGrid>
                <a:gridCol w="1808566">
                  <a:extLst>
                    <a:ext uri="{9D8B030D-6E8A-4147-A177-3AD203B41FA5}">
                      <a16:colId xmlns:a16="http://schemas.microsoft.com/office/drawing/2014/main" val="491077417"/>
                    </a:ext>
                  </a:extLst>
                </a:gridCol>
                <a:gridCol w="9003716">
                  <a:extLst>
                    <a:ext uri="{9D8B030D-6E8A-4147-A177-3AD203B41FA5}">
                      <a16:colId xmlns:a16="http://schemas.microsoft.com/office/drawing/2014/main" val="2154795504"/>
                    </a:ext>
                  </a:extLst>
                </a:gridCol>
              </a:tblGrid>
              <a:tr h="701040">
                <a:tc>
                  <a:txBody>
                    <a:bodyPr/>
                    <a:lstStyle/>
                    <a:p>
                      <a:pPr marL="0" algn="l" defTabSz="914400" rtl="0" eaLnBrk="1" latinLnBrk="0" hangingPunct="1"/>
                      <a:r>
                        <a:rPr lang="fr-FR" sz="1000" kern="1200">
                          <a:solidFill>
                            <a:schemeClr val="bg1"/>
                          </a:solidFill>
                          <a:latin typeface="+mn-lt"/>
                          <a:ea typeface="+mn-ea"/>
                          <a:cs typeface="+mn-cs"/>
                        </a:rPr>
                        <a:t>Création des applicati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marL="0" algn="l" defTabSz="914400" rtl="0" eaLnBrk="1" latinLnBrk="0" hangingPunct="1"/>
                      <a:r>
                        <a:rPr lang="fr-FR" sz="1000" kern="1200">
                          <a:solidFill>
                            <a:schemeClr val="dk1"/>
                          </a:solidFill>
                          <a:latin typeface="+mn-lt"/>
                          <a:ea typeface="+mn-ea"/>
                          <a:cs typeface="+mn-cs"/>
                        </a:rPr>
                        <a:t>1 espace cloisonné (environnement) et sécurisé (par limitation des connections possibles &amp; granularité des accès) par entité pour héberger les applications, appelé </a:t>
                      </a:r>
                      <a:r>
                        <a:rPr lang="fr-FR" sz="1000" b="1" kern="1200">
                          <a:solidFill>
                            <a:schemeClr val="dk1"/>
                          </a:solidFill>
                          <a:latin typeface="+mn-lt"/>
                          <a:ea typeface="+mn-ea"/>
                          <a:cs typeface="+mn-cs"/>
                        </a:rPr>
                        <a:t>[ENTITE] – [CITIZEN IT]</a:t>
                      </a:r>
                      <a:endParaRPr lang="fr-FR" sz="1000" b="1" kern="1200">
                        <a:solidFill>
                          <a:schemeClr val="dk1"/>
                        </a:solidFill>
                        <a:highlight>
                          <a:srgbClr val="FFFF00"/>
                        </a:highlight>
                        <a:latin typeface="+mn-lt"/>
                        <a:ea typeface="+mn-ea"/>
                        <a:cs typeface="+mn-cs"/>
                      </a:endParaRP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3120133"/>
                  </a:ext>
                </a:extLst>
              </a:tr>
              <a:tr h="701040">
                <a:tc>
                  <a:txBody>
                    <a:bodyPr/>
                    <a:lstStyle/>
                    <a:p>
                      <a:pPr marL="0" algn="l" defTabSz="914400" rtl="0" eaLnBrk="1" latinLnBrk="0" hangingPunct="1"/>
                      <a:r>
                        <a:rPr lang="fr-FR" sz="1000" kern="1200">
                          <a:solidFill>
                            <a:schemeClr val="bg1"/>
                          </a:solidFill>
                          <a:latin typeface="+mn-lt"/>
                          <a:ea typeface="+mn-ea"/>
                          <a:cs typeface="+mn-cs"/>
                        </a:rPr>
                        <a:t>Sécurisation de l’environnem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algn="l"/>
                      <a:r>
                        <a:rPr lang="fr-FR" sz="1000"/>
                        <a:t>1 DLP globale appelée </a:t>
                      </a:r>
                      <a:r>
                        <a:rPr lang="fr-FR" sz="1000" b="1"/>
                        <a:t>« Citizen IT » </a:t>
                      </a:r>
                      <a:r>
                        <a:rPr lang="fr-FR" sz="1000"/>
                        <a:t>avec une liste arrêtée de connecteurs autorisés </a:t>
                      </a:r>
                      <a:r>
                        <a:rPr lang="fr-FR" sz="1000" i="1"/>
                        <a:t>(voir slide 2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498832"/>
                  </a:ext>
                </a:extLst>
              </a:tr>
              <a:tr h="701040">
                <a:tc>
                  <a:txBody>
                    <a:bodyPr/>
                    <a:lstStyle/>
                    <a:p>
                      <a:pPr marL="0" algn="l" defTabSz="914400" rtl="0" eaLnBrk="1" latinLnBrk="0" hangingPunct="1"/>
                      <a:r>
                        <a:rPr lang="fr-FR" sz="1000" kern="1200">
                          <a:solidFill>
                            <a:schemeClr val="bg1"/>
                          </a:solidFill>
                          <a:latin typeface="+mn-lt"/>
                          <a:ea typeface="+mn-ea"/>
                          <a:cs typeface="+mn-cs"/>
                        </a:rPr>
                        <a:t>Gestion des accè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algn="l"/>
                      <a:r>
                        <a:rPr lang="fr-FR" sz="1000"/>
                        <a:t>1 </a:t>
                      </a:r>
                      <a:r>
                        <a:rPr lang="fr-FR" sz="1000" b="1"/>
                        <a:t>Groupe AD synchronisé </a:t>
                      </a:r>
                      <a:r>
                        <a:rPr lang="fr-FR" sz="1000"/>
                        <a:t>appelé </a:t>
                      </a:r>
                      <a:r>
                        <a:rPr lang="fr-FR" sz="1000" b="1"/>
                        <a:t>GS_A_[DOMAINE]_[ENTITE]_AllUsers </a:t>
                      </a:r>
                      <a:r>
                        <a:rPr lang="fr-FR" sz="1000"/>
                        <a:t>par entité pour un ensemble d’utilisateurs</a:t>
                      </a:r>
                    </a:p>
                    <a:p>
                      <a:pPr algn="l"/>
                      <a:r>
                        <a:rPr lang="fr-FR" sz="1000"/>
                        <a:t>1 </a:t>
                      </a:r>
                      <a:r>
                        <a:rPr lang="fr-FR" sz="1000" b="1"/>
                        <a:t>Groupe AD synchronisé </a:t>
                      </a:r>
                      <a:r>
                        <a:rPr lang="fr-FR" sz="1000"/>
                        <a:t>appelé </a:t>
                      </a:r>
                      <a:r>
                        <a:rPr lang="fr-FR" sz="1000" b="1" kern="1200">
                          <a:solidFill>
                            <a:schemeClr val="dk1"/>
                          </a:solidFill>
                          <a:latin typeface="+mn-lt"/>
                          <a:ea typeface="+mn-ea"/>
                          <a:cs typeface="+mn-cs"/>
                        </a:rPr>
                        <a:t>GS_A_[DOMAINE]_[ENTITE]_PowerPlatform_E[3|5] </a:t>
                      </a:r>
                      <a:r>
                        <a:rPr lang="fr-FR" sz="1000"/>
                        <a:t>par entité pour autoriser le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a:t>1 </a:t>
                      </a:r>
                      <a:r>
                        <a:rPr lang="fr-FR" sz="1000" b="1"/>
                        <a:t>Groupe AD synchronisé </a:t>
                      </a:r>
                      <a:r>
                        <a:rPr lang="fr-FR" sz="1000"/>
                        <a:t>appelé </a:t>
                      </a:r>
                      <a:r>
                        <a:rPr lang="fr-FR" sz="1000" b="1" kern="1200">
                          <a:solidFill>
                            <a:schemeClr val="dk1"/>
                          </a:solidFill>
                          <a:latin typeface="+mn-lt"/>
                          <a:ea typeface="+mn-ea"/>
                          <a:cs typeface="+mn-cs"/>
                        </a:rPr>
                        <a:t>GS_A_[DOMAINE]_[ENTITE]_PowerPlatform_CITIZEN IT_Maker </a:t>
                      </a:r>
                      <a:r>
                        <a:rPr lang="fr-FR" sz="1000"/>
                        <a:t>par entité pour autoriser les créateurs d’application</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565418"/>
                  </a:ext>
                </a:extLst>
              </a:tr>
              <a:tr h="701040">
                <a:tc>
                  <a:txBody>
                    <a:bodyPr/>
                    <a:lstStyle/>
                    <a:p>
                      <a:pPr marL="0" algn="l" defTabSz="914400" rtl="0" eaLnBrk="1" latinLnBrk="0" hangingPunct="1"/>
                      <a:r>
                        <a:rPr lang="fr-FR" sz="1000" kern="1200">
                          <a:solidFill>
                            <a:schemeClr val="bg1"/>
                          </a:solidFill>
                          <a:latin typeface="+mn-lt"/>
                          <a:ea typeface="+mn-ea"/>
                          <a:cs typeface="+mn-cs"/>
                        </a:rPr>
                        <a:t>Suivi de l’activité et gestion de offre entité</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algn="l"/>
                      <a:r>
                        <a:rPr lang="fr-FR" sz="1000"/>
                        <a:t>1 </a:t>
                      </a:r>
                      <a:r>
                        <a:rPr lang="fr-FR" sz="1000" b="1" u="sng">
                          <a:solidFill>
                            <a:schemeClr val="tx1"/>
                          </a:solidFill>
                        </a:rPr>
                        <a:t>Groupe de l’Environnement Admin </a:t>
                      </a:r>
                      <a:r>
                        <a:rPr lang="fr-FR" sz="1000"/>
                        <a:t>pour chaque entité appelé </a:t>
                      </a:r>
                      <a:r>
                        <a:rPr lang="fr-FR" sz="1000" b="1" kern="1200">
                          <a:solidFill>
                            <a:schemeClr val="dk1"/>
                          </a:solidFill>
                          <a:latin typeface="+mn-lt"/>
                          <a:ea typeface="+mn-ea"/>
                          <a:cs typeface="+mn-cs"/>
                        </a:rPr>
                        <a:t>GS_A_[DOMAINE]_[ENTITE]_PowerPlatform_EnvironmentAdmin</a:t>
                      </a:r>
                    </a:p>
                    <a:p>
                      <a:pPr algn="l"/>
                      <a:r>
                        <a:rPr lang="fr-FR" sz="1000"/>
                        <a:t>L’accès à un rapport pour </a:t>
                      </a:r>
                      <a:r>
                        <a:rPr lang="fr-FR" sz="1000" b="1">
                          <a:solidFill>
                            <a:schemeClr val="tx1"/>
                          </a:solidFill>
                        </a:rPr>
                        <a:t>suivre en autonomie l’usage via le Power Platform Admin View </a:t>
                      </a:r>
                      <a:r>
                        <a:rPr lang="fr-FR" sz="1000" b="0">
                          <a:solidFill>
                            <a:schemeClr val="tx1"/>
                          </a:solidFill>
                        </a:rPr>
                        <a:t>(applications inutilisées, créateurs, type de connecteurs utilisés, …) </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5478628"/>
                  </a:ext>
                </a:extLst>
              </a:tr>
            </a:tbl>
          </a:graphicData>
        </a:graphic>
      </p:graphicFrame>
      <p:sp>
        <p:nvSpPr>
          <p:cNvPr id="12" name="Rectangle : coins arrondis 11">
            <a:extLst>
              <a:ext uri="{FF2B5EF4-FFF2-40B4-BE49-F238E27FC236}">
                <a16:creationId xmlns:a16="http://schemas.microsoft.com/office/drawing/2014/main" id="{D23DA763-35E8-6F47-1E27-310C2AE2045C}"/>
              </a:ext>
            </a:extLst>
          </p:cNvPr>
          <p:cNvSpPr/>
          <p:nvPr/>
        </p:nvSpPr>
        <p:spPr>
          <a:xfrm>
            <a:off x="434917" y="1085129"/>
            <a:ext cx="4264992" cy="603663"/>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chemeClr val="tx1"/>
                </a:solidFill>
              </a:rPr>
              <a:t>Tout ou partie des utilisateurs de l’entité pourront concevoir des petites applications ou flux</a:t>
            </a:r>
          </a:p>
        </p:txBody>
      </p:sp>
      <p:sp>
        <p:nvSpPr>
          <p:cNvPr id="13" name="Rectangle : coins arrondis 12">
            <a:extLst>
              <a:ext uri="{FF2B5EF4-FFF2-40B4-BE49-F238E27FC236}">
                <a16:creationId xmlns:a16="http://schemas.microsoft.com/office/drawing/2014/main" id="{AE120E5F-729D-988D-ED02-2022EF28F6F0}"/>
              </a:ext>
            </a:extLst>
          </p:cNvPr>
          <p:cNvSpPr/>
          <p:nvPr/>
        </p:nvSpPr>
        <p:spPr>
          <a:xfrm>
            <a:off x="656981" y="914054"/>
            <a:ext cx="2751897" cy="208723"/>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a:solidFill>
                  <a:schemeClr val="bg1"/>
                </a:solidFill>
              </a:rPr>
              <a:t>APPROCHE CITIZEN DEVELOPER</a:t>
            </a:r>
          </a:p>
        </p:txBody>
      </p:sp>
      <p:pic>
        <p:nvPicPr>
          <p:cNvPr id="17" name="Picture 24">
            <a:extLst>
              <a:ext uri="{FF2B5EF4-FFF2-40B4-BE49-F238E27FC236}">
                <a16:creationId xmlns:a16="http://schemas.microsoft.com/office/drawing/2014/main" id="{931DCA56-DF6B-48CB-3F49-10598D97FE46}"/>
              </a:ext>
            </a:extLst>
          </p:cNvPr>
          <p:cNvPicPr>
            <a:picLocks noChangeAspect="1"/>
          </p:cNvPicPr>
          <p:nvPr/>
        </p:nvPicPr>
        <p:blipFill>
          <a:blip r:embed="rId4"/>
          <a:stretch>
            <a:fillRect/>
          </a:stretch>
        </p:blipFill>
        <p:spPr>
          <a:xfrm>
            <a:off x="4770427" y="927575"/>
            <a:ext cx="443489" cy="761217"/>
          </a:xfrm>
          <a:prstGeom prst="rect">
            <a:avLst/>
          </a:prstGeom>
        </p:spPr>
      </p:pic>
      <p:sp>
        <p:nvSpPr>
          <p:cNvPr id="5" name="ZoneTexte 4">
            <a:extLst>
              <a:ext uri="{FF2B5EF4-FFF2-40B4-BE49-F238E27FC236}">
                <a16:creationId xmlns:a16="http://schemas.microsoft.com/office/drawing/2014/main" id="{80434149-9830-A9C4-40A0-9104C5E2FF54}"/>
              </a:ext>
            </a:extLst>
          </p:cNvPr>
          <p:cNvSpPr txBox="1"/>
          <p:nvPr/>
        </p:nvSpPr>
        <p:spPr>
          <a:xfrm>
            <a:off x="434917" y="2108282"/>
            <a:ext cx="9346518" cy="338554"/>
          </a:xfrm>
          <a:prstGeom prst="rect">
            <a:avLst/>
          </a:prstGeom>
          <a:noFill/>
        </p:spPr>
        <p:txBody>
          <a:bodyPr wrap="square" rtlCol="0" anchor="ctr">
            <a:spAutoFit/>
          </a:bodyPr>
          <a:lstStyle/>
          <a:p>
            <a:pPr algn="just"/>
            <a:r>
              <a:rPr lang="fr-FR" sz="1600" b="1">
                <a:solidFill>
                  <a:schemeClr val="tx1"/>
                </a:solidFill>
                <a:latin typeface="Arial Rounded MT Bold" panose="020F0704030504030204" pitchFamily="34" charset="0"/>
              </a:rPr>
              <a:t>Architecture et moyens mis à disposition de l’entité pour un environnement Citizen IT :</a:t>
            </a:r>
            <a:endParaRPr lang="fr-FR"/>
          </a:p>
        </p:txBody>
      </p:sp>
    </p:spTree>
    <p:extLst>
      <p:ext uri="{BB962C8B-B14F-4D97-AF65-F5344CB8AC3E}">
        <p14:creationId xmlns:p14="http://schemas.microsoft.com/office/powerpoint/2010/main" val="233341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6405"/>
            <a:ext cx="10800000" cy="420833"/>
          </a:xfrm>
        </p:spPr>
        <p:txBody>
          <a:bodyPr lIns="91440" tIns="45720" rIns="91440" bIns="45720" anchor="t"/>
          <a:lstStyle/>
          <a:p>
            <a:r>
              <a:rPr lang="fr-FR"/>
              <a:t>FOCUS SUR : environnement « IT FACTORY »</a:t>
            </a:r>
            <a:endParaRPr lang="en-US"/>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20" name="Espace réservé du numéro de diapositive 5">
            <a:extLst>
              <a:ext uri="{FF2B5EF4-FFF2-40B4-BE49-F238E27FC236}">
                <a16:creationId xmlns:a16="http://schemas.microsoft.com/office/drawing/2014/main" id="{C938247E-1309-9124-223D-EB92A5F7BC4D}"/>
              </a:ext>
            </a:extLst>
          </p:cNvPr>
          <p:cNvSpPr>
            <a:spLocks noGrp="1"/>
          </p:cNvSpPr>
          <p:nvPr>
            <p:ph type="sldNum" sz="quarter" idx="4"/>
          </p:nvPr>
        </p:nvSpPr>
        <p:spPr>
          <a:xfrm>
            <a:off x="716056" y="612775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3" name="Google Shape;666;p44">
            <a:extLst>
              <a:ext uri="{FF2B5EF4-FFF2-40B4-BE49-F238E27FC236}">
                <a16:creationId xmlns:a16="http://schemas.microsoft.com/office/drawing/2014/main" id="{19EC11AB-D358-0F3F-8F9D-911571D91F9F}"/>
              </a:ext>
            </a:extLst>
          </p:cNvPr>
          <p:cNvSpPr/>
          <p:nvPr/>
        </p:nvSpPr>
        <p:spPr>
          <a:xfrm>
            <a:off x="11412757" y="132158"/>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Image 3">
            <a:extLst>
              <a:ext uri="{FF2B5EF4-FFF2-40B4-BE49-F238E27FC236}">
                <a16:creationId xmlns:a16="http://schemas.microsoft.com/office/drawing/2014/main" id="{8F21F8AD-8F8B-8E3C-F81F-46667D0A0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6386" y="249175"/>
            <a:ext cx="324143" cy="324143"/>
          </a:xfrm>
          <a:prstGeom prst="rect">
            <a:avLst/>
          </a:prstGeom>
          <a:solidFill>
            <a:srgbClr val="E5C9EF"/>
          </a:solidFill>
        </p:spPr>
      </p:pic>
      <p:sp>
        <p:nvSpPr>
          <p:cNvPr id="5" name="Rectangle : coins arrondis 4">
            <a:extLst>
              <a:ext uri="{FF2B5EF4-FFF2-40B4-BE49-F238E27FC236}">
                <a16:creationId xmlns:a16="http://schemas.microsoft.com/office/drawing/2014/main" id="{0904C127-81E1-F914-242C-C221E7F76BB6}"/>
              </a:ext>
            </a:extLst>
          </p:cNvPr>
          <p:cNvSpPr/>
          <p:nvPr/>
        </p:nvSpPr>
        <p:spPr>
          <a:xfrm>
            <a:off x="606175" y="1186594"/>
            <a:ext cx="4517330" cy="603663"/>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chemeClr val="tx1"/>
                </a:solidFill>
              </a:rPr>
              <a:t>L’entité structure un Centre d’excellence de conception Power Platform</a:t>
            </a:r>
          </a:p>
        </p:txBody>
      </p:sp>
      <p:sp>
        <p:nvSpPr>
          <p:cNvPr id="6" name="Rectangle : coins arrondis 5">
            <a:extLst>
              <a:ext uri="{FF2B5EF4-FFF2-40B4-BE49-F238E27FC236}">
                <a16:creationId xmlns:a16="http://schemas.microsoft.com/office/drawing/2014/main" id="{D65CDA4F-CAEA-C2BB-AC0E-868D868BE0CD}"/>
              </a:ext>
            </a:extLst>
          </p:cNvPr>
          <p:cNvSpPr/>
          <p:nvPr/>
        </p:nvSpPr>
        <p:spPr>
          <a:xfrm>
            <a:off x="986056" y="1044708"/>
            <a:ext cx="2750400" cy="208723"/>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b="1">
                <a:solidFill>
                  <a:schemeClr val="bg1"/>
                </a:solidFill>
              </a:rPr>
              <a:t>APPROCHE IT FACTORY</a:t>
            </a:r>
          </a:p>
        </p:txBody>
      </p:sp>
      <p:graphicFrame>
        <p:nvGraphicFramePr>
          <p:cNvPr id="10" name="Tableau 11">
            <a:extLst>
              <a:ext uri="{FF2B5EF4-FFF2-40B4-BE49-F238E27FC236}">
                <a16:creationId xmlns:a16="http://schemas.microsoft.com/office/drawing/2014/main" id="{A19C2D27-8F86-AE36-8B33-02A9AF08DB58}"/>
              </a:ext>
            </a:extLst>
          </p:cNvPr>
          <p:cNvGraphicFramePr>
            <a:graphicFrameLocks noGrp="1"/>
          </p:cNvGraphicFramePr>
          <p:nvPr>
            <p:extLst>
              <p:ext uri="{D42A27DB-BD31-4B8C-83A1-F6EECF244321}">
                <p14:modId xmlns:p14="http://schemas.microsoft.com/office/powerpoint/2010/main" val="1508927978"/>
              </p:ext>
            </p:extLst>
          </p:nvPr>
        </p:nvGraphicFramePr>
        <p:xfrm>
          <a:off x="606175" y="2745731"/>
          <a:ext cx="10799999" cy="2845200"/>
        </p:xfrm>
        <a:graphic>
          <a:graphicData uri="http://schemas.openxmlformats.org/drawingml/2006/table">
            <a:tbl>
              <a:tblPr bandRow="1">
                <a:tableStyleId>{5C22544A-7EE6-4342-B048-85BDC9FD1C3A}</a:tableStyleId>
              </a:tblPr>
              <a:tblGrid>
                <a:gridCol w="1806511">
                  <a:extLst>
                    <a:ext uri="{9D8B030D-6E8A-4147-A177-3AD203B41FA5}">
                      <a16:colId xmlns:a16="http://schemas.microsoft.com/office/drawing/2014/main" val="491077417"/>
                    </a:ext>
                  </a:extLst>
                </a:gridCol>
                <a:gridCol w="8993488">
                  <a:extLst>
                    <a:ext uri="{9D8B030D-6E8A-4147-A177-3AD203B41FA5}">
                      <a16:colId xmlns:a16="http://schemas.microsoft.com/office/drawing/2014/main" val="2154795504"/>
                    </a:ext>
                  </a:extLst>
                </a:gridCol>
              </a:tblGrid>
              <a:tr h="711300">
                <a:tc>
                  <a:txBody>
                    <a:bodyPr/>
                    <a:lstStyle/>
                    <a:p>
                      <a:pPr marL="0" algn="l" defTabSz="914400" rtl="0" eaLnBrk="1" latinLnBrk="0" hangingPunct="1"/>
                      <a:r>
                        <a:rPr lang="fr-FR" sz="1000" kern="1200">
                          <a:solidFill>
                            <a:schemeClr val="bg1"/>
                          </a:solidFill>
                          <a:latin typeface="+mn-lt"/>
                          <a:ea typeface="+mn-ea"/>
                          <a:cs typeface="+mn-cs"/>
                        </a:rPr>
                        <a:t>Création des application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t>2</a:t>
                      </a:r>
                      <a:r>
                        <a:rPr lang="fr-FR" sz="1000" noProof="0"/>
                        <a:t> </a:t>
                      </a:r>
                      <a:r>
                        <a:rPr lang="fr-FR" sz="1000" b="1" noProof="0">
                          <a:solidFill>
                            <a:schemeClr val="tx1"/>
                          </a:solidFill>
                        </a:rPr>
                        <a:t>espaces cloisonnés</a:t>
                      </a:r>
                      <a:r>
                        <a:rPr lang="fr-FR" sz="1000" b="1" noProof="0">
                          <a:solidFill>
                            <a:schemeClr val="bg2"/>
                          </a:solidFill>
                        </a:rPr>
                        <a:t> </a:t>
                      </a:r>
                      <a:r>
                        <a:rPr lang="fr-FR" sz="1000" noProof="0"/>
                        <a:t>(environnements développement &amp; production) et </a:t>
                      </a:r>
                      <a:r>
                        <a:rPr lang="fr-FR" sz="1000" b="1" noProof="0">
                          <a:solidFill>
                            <a:schemeClr val="tx1"/>
                          </a:solidFill>
                        </a:rPr>
                        <a:t>sécurisés</a:t>
                      </a:r>
                      <a:r>
                        <a:rPr lang="fr-FR" sz="1000" noProof="0"/>
                        <a:t> (par DLP &amp; granularité des accès) par entité pour créer et maintenir les applications, appelé </a:t>
                      </a:r>
                      <a:r>
                        <a:rPr lang="fr-FR" sz="1000" b="1" kern="1200">
                          <a:solidFill>
                            <a:schemeClr val="dk1"/>
                          </a:solidFill>
                          <a:latin typeface="+mn-lt"/>
                          <a:ea typeface="+mn-ea"/>
                          <a:cs typeface="+mn-cs"/>
                        </a:rPr>
                        <a:t>[ENTITE] – [IT FACTORY PROD] </a:t>
                      </a:r>
                      <a:r>
                        <a:rPr lang="fr-FR" sz="1000" b="0" kern="1200">
                          <a:solidFill>
                            <a:schemeClr val="dk1"/>
                          </a:solidFill>
                          <a:latin typeface="+mn-lt"/>
                          <a:ea typeface="+mn-ea"/>
                          <a:cs typeface="+mn-cs"/>
                        </a:rPr>
                        <a:t>(déploiement et partage) </a:t>
                      </a:r>
                      <a:r>
                        <a:rPr lang="fr-FR" sz="1000" b="1" kern="1200">
                          <a:solidFill>
                            <a:schemeClr val="dk1"/>
                          </a:solidFill>
                          <a:latin typeface="+mn-lt"/>
                          <a:ea typeface="+mn-ea"/>
                          <a:cs typeface="+mn-cs"/>
                        </a:rPr>
                        <a:t>ET [ENTITE] – [IT FACTORY DEV] </a:t>
                      </a:r>
                      <a:r>
                        <a:rPr lang="fr-FR" sz="1000" b="0" kern="1200">
                          <a:solidFill>
                            <a:schemeClr val="dk1"/>
                          </a:solidFill>
                          <a:latin typeface="+mn-lt"/>
                          <a:ea typeface="+mn-ea"/>
                          <a:cs typeface="+mn-cs"/>
                        </a:rPr>
                        <a:t>(conception, évolution)</a:t>
                      </a:r>
                      <a:endParaRPr lang="fr-FR" sz="1000" b="0" noProof="0"/>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0" noProof="0"/>
                        <a:t>Création d’environnement spécifique projet </a:t>
                      </a:r>
                      <a:r>
                        <a:rPr lang="fr-FR" sz="1000" noProof="0"/>
                        <a:t>sur demande via METI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noProof="0"/>
                        <a:t>Voir Annexe 1 pour les caractéristiques techniques </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3120133"/>
                  </a:ext>
                </a:extLst>
              </a:tr>
              <a:tr h="711300">
                <a:tc>
                  <a:txBody>
                    <a:bodyPr/>
                    <a:lstStyle/>
                    <a:p>
                      <a:pPr marL="0" algn="l" defTabSz="914400" rtl="0" eaLnBrk="1" latinLnBrk="0" hangingPunct="1"/>
                      <a:r>
                        <a:rPr lang="fr-FR" sz="1000" kern="1200">
                          <a:solidFill>
                            <a:schemeClr val="bg1"/>
                          </a:solidFill>
                          <a:latin typeface="+mn-lt"/>
                          <a:ea typeface="+mn-ea"/>
                          <a:cs typeface="+mn-cs"/>
                        </a:rPr>
                        <a:t>Sécurisation de l’environnement</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t>2</a:t>
                      </a:r>
                      <a:r>
                        <a:rPr lang="fr-FR" sz="1000" noProof="0"/>
                        <a:t> </a:t>
                      </a:r>
                      <a:r>
                        <a:rPr lang="fr-FR" sz="1000" b="1" kern="1200" noProof="0">
                          <a:solidFill>
                            <a:schemeClr val="tx1"/>
                          </a:solidFill>
                          <a:latin typeface="+mn-lt"/>
                          <a:ea typeface="+mn-ea"/>
                          <a:cs typeface="+mn-cs"/>
                        </a:rPr>
                        <a:t>espaces cloisonn</a:t>
                      </a:r>
                      <a:r>
                        <a:rPr lang="fr-FR" sz="1000" b="1" noProof="0">
                          <a:solidFill>
                            <a:schemeClr val="tx1"/>
                          </a:solidFill>
                        </a:rPr>
                        <a:t>és</a:t>
                      </a:r>
                      <a:r>
                        <a:rPr lang="fr-FR" sz="1000" b="1" noProof="0">
                          <a:solidFill>
                            <a:schemeClr val="bg2"/>
                          </a:solidFill>
                        </a:rPr>
                        <a:t> </a:t>
                      </a:r>
                      <a:r>
                        <a:rPr lang="fr-FR" sz="1000" noProof="0"/>
                        <a:t>(environnements développement &amp; production) et </a:t>
                      </a:r>
                      <a:r>
                        <a:rPr lang="fr-FR" sz="1000" b="1" noProof="0">
                          <a:solidFill>
                            <a:schemeClr val="tx1"/>
                          </a:solidFill>
                        </a:rPr>
                        <a:t>sécurisés</a:t>
                      </a:r>
                      <a:r>
                        <a:rPr lang="fr-FR" sz="1000" noProof="0"/>
                        <a:t> (par DLP &amp; granularité des accès) par entité pour créer et maintenir les applic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b="0" noProof="0"/>
                        <a:t>Création d’environnement spécifique projet </a:t>
                      </a:r>
                      <a:r>
                        <a:rPr lang="fr-FR" sz="1000" noProof="0"/>
                        <a:t>sur demande via METIS</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498832"/>
                  </a:ext>
                </a:extLst>
              </a:tr>
              <a:tr h="711300">
                <a:tc>
                  <a:txBody>
                    <a:bodyPr/>
                    <a:lstStyle/>
                    <a:p>
                      <a:pPr marL="0" algn="l" defTabSz="914400" rtl="0" eaLnBrk="1" latinLnBrk="0" hangingPunct="1"/>
                      <a:r>
                        <a:rPr lang="fr-FR" sz="1000" kern="1200">
                          <a:solidFill>
                            <a:schemeClr val="bg1"/>
                          </a:solidFill>
                          <a:latin typeface="+mn-lt"/>
                          <a:ea typeface="+mn-ea"/>
                          <a:cs typeface="+mn-cs"/>
                        </a:rPr>
                        <a:t>Gestion des accè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a:t>1 </a:t>
                      </a:r>
                      <a:r>
                        <a:rPr lang="fr-FR" sz="1000" b="1"/>
                        <a:t>Groupe AD synchronisé </a:t>
                      </a:r>
                      <a:r>
                        <a:rPr lang="fr-FR" sz="1000"/>
                        <a:t>appelé </a:t>
                      </a:r>
                      <a:r>
                        <a:rPr lang="fr-FR" sz="1000" b="1"/>
                        <a:t>GS_A_[DOMAINE]_[ENTITE]_AllUsers </a:t>
                      </a:r>
                      <a:r>
                        <a:rPr lang="fr-FR" sz="1000"/>
                        <a:t>par entité pour un ensemble d’utilisateurs</a:t>
                      </a:r>
                    </a:p>
                    <a:p>
                      <a:pPr algn="l"/>
                      <a:r>
                        <a:rPr lang="fr-FR" sz="1000"/>
                        <a:t>1 </a:t>
                      </a:r>
                      <a:r>
                        <a:rPr lang="fr-FR" sz="1000" b="1"/>
                        <a:t>Groupe AD synchronisé </a:t>
                      </a:r>
                      <a:r>
                        <a:rPr lang="fr-FR" sz="1000"/>
                        <a:t>appelé </a:t>
                      </a:r>
                      <a:r>
                        <a:rPr lang="fr-FR" sz="1000" b="1" kern="1200">
                          <a:solidFill>
                            <a:schemeClr val="dk1"/>
                          </a:solidFill>
                          <a:latin typeface="+mn-lt"/>
                          <a:ea typeface="+mn-ea"/>
                          <a:cs typeface="+mn-cs"/>
                        </a:rPr>
                        <a:t>GS_A_[DOMAINE]_[ENTITE]_PowerPlatform_E[3|5] </a:t>
                      </a:r>
                      <a:r>
                        <a:rPr lang="fr-FR" sz="1000" b="0" kern="1200">
                          <a:solidFill>
                            <a:schemeClr val="dk1"/>
                          </a:solidFill>
                          <a:latin typeface="+mn-lt"/>
                          <a:ea typeface="+mn-ea"/>
                          <a:cs typeface="+mn-cs"/>
                        </a:rPr>
                        <a:t>par chaque entité pour autoriser le service</a:t>
                      </a:r>
                      <a:endParaRPr lang="fr-FR" sz="1000" b="0"/>
                    </a:p>
                    <a:p>
                      <a:pPr algn="l"/>
                      <a:r>
                        <a:rPr lang="fr-FR" sz="1000"/>
                        <a:t>1 </a:t>
                      </a:r>
                      <a:r>
                        <a:rPr lang="fr-FR" sz="1000" b="1"/>
                        <a:t>Groupe AD synchronisé </a:t>
                      </a:r>
                      <a:r>
                        <a:rPr lang="fr-FR" sz="1000"/>
                        <a:t>appelé </a:t>
                      </a:r>
                      <a:r>
                        <a:rPr lang="en-US" sz="1000" b="1" kern="1200">
                          <a:solidFill>
                            <a:schemeClr val="dk1"/>
                          </a:solidFill>
                          <a:latin typeface="+mn-lt"/>
                          <a:ea typeface="+mn-ea"/>
                          <a:cs typeface="+mn-cs"/>
                        </a:rPr>
                        <a:t>GS_A_[DOMAINE]_[ENTITE]_PowerPlatform_ITFactory_Maker </a:t>
                      </a:r>
                      <a:r>
                        <a:rPr lang="fr-FR" sz="1000"/>
                        <a:t>pour autoriser les créateurs d’application</a:t>
                      </a:r>
                      <a:endParaRPr lang="fr-FR" sz="1000" b="1" kern="1200">
                        <a:solidFill>
                          <a:schemeClr val="dk1"/>
                        </a:solidFill>
                        <a:latin typeface="+mn-lt"/>
                        <a:ea typeface="+mn-ea"/>
                        <a:cs typeface="+mn-cs"/>
                      </a:endParaRP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565418"/>
                  </a:ext>
                </a:extLst>
              </a:tr>
              <a:tr h="711300">
                <a:tc>
                  <a:txBody>
                    <a:bodyPr/>
                    <a:lstStyle/>
                    <a:p>
                      <a:pPr marL="0" algn="l" defTabSz="914400" rtl="0" eaLnBrk="1" latinLnBrk="0" hangingPunct="1"/>
                      <a:r>
                        <a:rPr lang="fr-FR" sz="1000" kern="1200">
                          <a:solidFill>
                            <a:schemeClr val="bg1"/>
                          </a:solidFill>
                          <a:latin typeface="+mn-lt"/>
                          <a:ea typeface="+mn-ea"/>
                          <a:cs typeface="+mn-cs"/>
                        </a:rPr>
                        <a:t>Suivi de l’activité et gestion de offre entité</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9597"/>
                    </a:solidFill>
                  </a:tcPr>
                </a:tc>
                <a:tc>
                  <a:txBody>
                    <a:bodyPr/>
                    <a:lstStyle/>
                    <a:p>
                      <a:pPr algn="l"/>
                      <a:r>
                        <a:rPr lang="fr-FR" sz="1000" u="sng"/>
                        <a:t>1 </a:t>
                      </a:r>
                      <a:r>
                        <a:rPr lang="fr-FR" sz="1000" b="1" u="sng">
                          <a:solidFill>
                            <a:schemeClr val="tx1"/>
                          </a:solidFill>
                        </a:rPr>
                        <a:t>Groupe de Environnement Admin </a:t>
                      </a:r>
                      <a:r>
                        <a:rPr lang="fr-FR" sz="1000"/>
                        <a:t>pour chaque entité, appelé </a:t>
                      </a:r>
                      <a:r>
                        <a:rPr lang="fr-FR" sz="1000" b="1" kern="1200">
                          <a:solidFill>
                            <a:schemeClr val="tx1"/>
                          </a:solidFill>
                          <a:latin typeface="+mn-lt"/>
                          <a:ea typeface="+mn-ea"/>
                          <a:cs typeface="+mn-cs"/>
                        </a:rPr>
                        <a:t>GS_A_[DOMAINE]_[ENTITE]_PowerPlatform_EnvironmentAdmin</a:t>
                      </a:r>
                    </a:p>
                    <a:p>
                      <a:pPr algn="l"/>
                      <a:r>
                        <a:rPr lang="fr-FR" sz="1000"/>
                        <a:t>L’accès à un rapport pour </a:t>
                      </a:r>
                      <a:r>
                        <a:rPr lang="fr-FR" sz="1000" b="1">
                          <a:solidFill>
                            <a:schemeClr val="tx1"/>
                          </a:solidFill>
                        </a:rPr>
                        <a:t>suivre en autonomie l’usage </a:t>
                      </a:r>
                      <a:r>
                        <a:rPr lang="fr-FR" sz="1000" b="0">
                          <a:solidFill>
                            <a:schemeClr val="tx1"/>
                          </a:solidFill>
                        </a:rPr>
                        <a:t>(applications inutilisées, créateurs, type de connecteurs utilisés, …)</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5478628"/>
                  </a:ext>
                </a:extLst>
              </a:tr>
            </a:tbl>
          </a:graphicData>
        </a:graphic>
      </p:graphicFrame>
      <p:pic>
        <p:nvPicPr>
          <p:cNvPr id="11" name="Picture 22">
            <a:extLst>
              <a:ext uri="{FF2B5EF4-FFF2-40B4-BE49-F238E27FC236}">
                <a16:creationId xmlns:a16="http://schemas.microsoft.com/office/drawing/2014/main" id="{11E195F8-EEB2-0D59-0264-2E100CE335A8}"/>
              </a:ext>
            </a:extLst>
          </p:cNvPr>
          <p:cNvPicPr>
            <a:picLocks noChangeAspect="1"/>
          </p:cNvPicPr>
          <p:nvPr/>
        </p:nvPicPr>
        <p:blipFill rotWithShape="1">
          <a:blip r:embed="rId4"/>
          <a:srcRect l="48104"/>
          <a:stretch/>
        </p:blipFill>
        <p:spPr>
          <a:xfrm>
            <a:off x="5284405" y="1096664"/>
            <a:ext cx="608181" cy="693593"/>
          </a:xfrm>
          <a:prstGeom prst="rect">
            <a:avLst/>
          </a:prstGeom>
        </p:spPr>
      </p:pic>
      <p:sp>
        <p:nvSpPr>
          <p:cNvPr id="7" name="ZoneTexte 6">
            <a:extLst>
              <a:ext uri="{FF2B5EF4-FFF2-40B4-BE49-F238E27FC236}">
                <a16:creationId xmlns:a16="http://schemas.microsoft.com/office/drawing/2014/main" id="{3A7D1AAC-0AC9-15F4-9AB5-84DBF569ACBD}"/>
              </a:ext>
            </a:extLst>
          </p:cNvPr>
          <p:cNvSpPr txBox="1"/>
          <p:nvPr/>
        </p:nvSpPr>
        <p:spPr>
          <a:xfrm>
            <a:off x="537185" y="2132567"/>
            <a:ext cx="9346518" cy="338554"/>
          </a:xfrm>
          <a:prstGeom prst="rect">
            <a:avLst/>
          </a:prstGeom>
          <a:noFill/>
        </p:spPr>
        <p:txBody>
          <a:bodyPr wrap="square" rtlCol="0" anchor="ctr">
            <a:spAutoFit/>
          </a:bodyPr>
          <a:lstStyle/>
          <a:p>
            <a:pPr algn="just"/>
            <a:r>
              <a:rPr lang="fr-FR" sz="1600" b="1">
                <a:solidFill>
                  <a:schemeClr val="tx1"/>
                </a:solidFill>
                <a:latin typeface="Arial Rounded MT Bold" panose="020F0704030504030204" pitchFamily="34" charset="0"/>
              </a:rPr>
              <a:t>Architecture et moyens mis à disposition de l’entité pour un environnement </a:t>
            </a:r>
            <a:r>
              <a:rPr lang="fr-FR" sz="1600" b="1">
                <a:latin typeface="Arial Rounded MT Bold" panose="020F0704030504030204" pitchFamily="34" charset="0"/>
              </a:rPr>
              <a:t>IT </a:t>
            </a:r>
            <a:r>
              <a:rPr lang="fr-FR" sz="1600" b="1" err="1">
                <a:latin typeface="Arial Rounded MT Bold" panose="020F0704030504030204" pitchFamily="34" charset="0"/>
              </a:rPr>
              <a:t>Factory</a:t>
            </a:r>
            <a:r>
              <a:rPr lang="fr-FR" sz="1600" b="1">
                <a:solidFill>
                  <a:schemeClr val="tx1"/>
                </a:solidFill>
                <a:latin typeface="Arial Rounded MT Bold" panose="020F0704030504030204" pitchFamily="34" charset="0"/>
              </a:rPr>
              <a:t> :</a:t>
            </a:r>
            <a:endParaRPr lang="fr-FR"/>
          </a:p>
        </p:txBody>
      </p:sp>
    </p:spTree>
    <p:extLst>
      <p:ext uri="{BB962C8B-B14F-4D97-AF65-F5344CB8AC3E}">
        <p14:creationId xmlns:p14="http://schemas.microsoft.com/office/powerpoint/2010/main" val="19560073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6405"/>
            <a:ext cx="10800000" cy="420833"/>
          </a:xfrm>
        </p:spPr>
        <p:txBody>
          <a:bodyPr lIns="91440" tIns="45720" rIns="91440" bIns="45720" anchor="t"/>
          <a:lstStyle/>
          <a:p>
            <a:r>
              <a:rPr lang="fr-FR"/>
              <a:t>FOCUS Spécifique sur « A NE PAS UTILISER »</a:t>
            </a:r>
            <a:endParaRPr lang="en-US"/>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20" name="Espace réservé du numéro de diapositive 5">
            <a:extLst>
              <a:ext uri="{FF2B5EF4-FFF2-40B4-BE49-F238E27FC236}">
                <a16:creationId xmlns:a16="http://schemas.microsoft.com/office/drawing/2014/main" id="{C938247E-1309-9124-223D-EB92A5F7BC4D}"/>
              </a:ext>
            </a:extLst>
          </p:cNvPr>
          <p:cNvSpPr>
            <a:spLocks noGrp="1"/>
          </p:cNvSpPr>
          <p:nvPr>
            <p:ph type="sldNum" sz="quarter" idx="4"/>
          </p:nvPr>
        </p:nvSpPr>
        <p:spPr>
          <a:xfrm>
            <a:off x="716056" y="612775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3" name="ZoneTexte 2">
            <a:extLst>
              <a:ext uri="{FF2B5EF4-FFF2-40B4-BE49-F238E27FC236}">
                <a16:creationId xmlns:a16="http://schemas.microsoft.com/office/drawing/2014/main" id="{091B2D08-437C-5BD4-819C-1986E541FAAA}"/>
              </a:ext>
            </a:extLst>
          </p:cNvPr>
          <p:cNvSpPr txBox="1"/>
          <p:nvPr/>
        </p:nvSpPr>
        <p:spPr>
          <a:xfrm>
            <a:off x="51911" y="653691"/>
            <a:ext cx="11961960" cy="1528624"/>
          </a:xfrm>
          <a:prstGeom prst="rect">
            <a:avLst/>
          </a:prstGeom>
          <a:noFill/>
        </p:spPr>
        <p:txBody>
          <a:bodyPr wrap="square">
            <a:spAutoFit/>
          </a:bodyPr>
          <a:lstStyle/>
          <a:p>
            <a:pPr algn="ctr">
              <a:spcBef>
                <a:spcPts val="100"/>
              </a:spcBef>
              <a:spcAft>
                <a:spcPts val="100"/>
              </a:spcAft>
              <a:defRPr/>
            </a:pPr>
            <a:r>
              <a:rPr lang="fr-FR" b="1">
                <a:solidFill>
                  <a:srgbClr val="009597"/>
                </a:solidFill>
                <a:latin typeface="Arial"/>
                <a:cs typeface="Arial"/>
              </a:rPr>
              <a:t>« A NE PAS UTILISER » </a:t>
            </a:r>
            <a:r>
              <a:rPr lang="fr-FR" b="1">
                <a:solidFill>
                  <a:schemeClr val="tx1">
                    <a:lumMod val="50000"/>
                  </a:schemeClr>
                </a:solidFill>
                <a:latin typeface="Arial"/>
                <a:cs typeface="Arial"/>
              </a:rPr>
              <a:t>: </a:t>
            </a:r>
            <a:r>
              <a:rPr lang="fr-FR">
                <a:solidFill>
                  <a:schemeClr val="tx1">
                    <a:lumMod val="50000"/>
                  </a:schemeClr>
                </a:solidFill>
                <a:latin typeface="Arial"/>
                <a:cs typeface="Arial"/>
              </a:rPr>
              <a:t>est en réalité l’environnement </a:t>
            </a:r>
            <a:r>
              <a:rPr lang="fr-FR" b="1">
                <a:solidFill>
                  <a:schemeClr val="tx1">
                    <a:lumMod val="50000"/>
                  </a:schemeClr>
                </a:solidFill>
                <a:latin typeface="Arial"/>
                <a:cs typeface="Arial"/>
              </a:rPr>
              <a:t>par défaut </a:t>
            </a:r>
            <a:r>
              <a:rPr lang="fr-FR">
                <a:solidFill>
                  <a:schemeClr val="tx1">
                    <a:lumMod val="50000"/>
                  </a:schemeClr>
                </a:solidFill>
                <a:latin typeface="Arial"/>
                <a:cs typeface="Arial"/>
              </a:rPr>
              <a:t>qui est créé </a:t>
            </a:r>
            <a:r>
              <a:rPr lang="fr-FR" b="1">
                <a:solidFill>
                  <a:srgbClr val="009597"/>
                </a:solidFill>
                <a:latin typeface="Arial"/>
                <a:cs typeface="Arial"/>
              </a:rPr>
              <a:t>automatiquement</a:t>
            </a:r>
            <a:r>
              <a:rPr lang="fr-FR">
                <a:solidFill>
                  <a:schemeClr val="tx1">
                    <a:lumMod val="50000"/>
                  </a:schemeClr>
                </a:solidFill>
                <a:latin typeface="Arial"/>
                <a:cs typeface="Arial"/>
              </a:rPr>
              <a:t> lorsque la Power Platform est déployée dans le tenant. Les ressources dans cet environnement sont </a:t>
            </a:r>
            <a:r>
              <a:rPr lang="fr-FR" b="1">
                <a:solidFill>
                  <a:srgbClr val="009597"/>
                </a:solidFill>
                <a:latin typeface="Arial"/>
                <a:cs typeface="Arial"/>
              </a:rPr>
              <a:t>partagées</a:t>
            </a:r>
            <a:r>
              <a:rPr lang="fr-FR">
                <a:solidFill>
                  <a:schemeClr val="tx1">
                    <a:lumMod val="50000"/>
                  </a:schemeClr>
                </a:solidFill>
                <a:latin typeface="Arial"/>
                <a:cs typeface="Arial"/>
              </a:rPr>
              <a:t> avec d'autres utilisateurs tout entités confondues. Cet environnement ne peut pas être supprimé. </a:t>
            </a:r>
          </a:p>
          <a:p>
            <a:pPr algn="ctr">
              <a:spcBef>
                <a:spcPts val="100"/>
              </a:spcBef>
              <a:spcAft>
                <a:spcPts val="100"/>
              </a:spcAft>
              <a:defRPr/>
            </a:pPr>
            <a:r>
              <a:rPr lang="fr-FR">
                <a:solidFill>
                  <a:schemeClr val="tx1">
                    <a:lumMod val="50000"/>
                  </a:schemeClr>
                </a:solidFill>
                <a:latin typeface="Arial"/>
                <a:cs typeface="Arial"/>
              </a:rPr>
              <a:t>Voici pourquoi l’utilisation de Power Platform au sein de Crédit Agricole est soumise à </a:t>
            </a:r>
            <a:r>
              <a:rPr lang="fr-FR" b="1">
                <a:solidFill>
                  <a:srgbClr val="FF0000"/>
                </a:solidFill>
                <a:latin typeface="Arial"/>
                <a:cs typeface="Arial"/>
              </a:rPr>
              <a:t>trois règles :</a:t>
            </a:r>
            <a:r>
              <a:rPr lang="fr-FR">
                <a:solidFill>
                  <a:srgbClr val="FF0000"/>
                </a:solidFill>
                <a:latin typeface="Arial"/>
                <a:cs typeface="Arial"/>
              </a:rPr>
              <a:t> </a:t>
            </a:r>
          </a:p>
          <a:p>
            <a:pPr algn="just">
              <a:spcBef>
                <a:spcPts val="100"/>
              </a:spcBef>
              <a:spcAft>
                <a:spcPts val="100"/>
              </a:spcAft>
              <a:defRPr/>
            </a:pPr>
            <a:endParaRPr lang="fr-FR">
              <a:solidFill>
                <a:schemeClr val="tx1">
                  <a:lumMod val="50000"/>
                </a:schemeClr>
              </a:solidFill>
              <a:latin typeface="Arial"/>
              <a:cs typeface="Arial"/>
            </a:endParaRPr>
          </a:p>
        </p:txBody>
      </p:sp>
      <p:sp>
        <p:nvSpPr>
          <p:cNvPr id="6" name="Google Shape;666;p44">
            <a:extLst>
              <a:ext uri="{FF2B5EF4-FFF2-40B4-BE49-F238E27FC236}">
                <a16:creationId xmlns:a16="http://schemas.microsoft.com/office/drawing/2014/main" id="{BD25AB70-AB40-3EBB-5889-13BA48C70DB7}"/>
              </a:ext>
            </a:extLst>
          </p:cNvPr>
          <p:cNvSpPr/>
          <p:nvPr/>
        </p:nvSpPr>
        <p:spPr>
          <a:xfrm>
            <a:off x="11412757" y="132158"/>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7" name="Image 6">
            <a:extLst>
              <a:ext uri="{FF2B5EF4-FFF2-40B4-BE49-F238E27FC236}">
                <a16:creationId xmlns:a16="http://schemas.microsoft.com/office/drawing/2014/main" id="{575B35DB-8D23-F24D-5E69-366DA0458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6386" y="249175"/>
            <a:ext cx="324143" cy="324143"/>
          </a:xfrm>
          <a:prstGeom prst="rect">
            <a:avLst/>
          </a:prstGeom>
          <a:solidFill>
            <a:srgbClr val="E5C9EF"/>
          </a:solidFill>
        </p:spPr>
      </p:pic>
      <p:pic>
        <p:nvPicPr>
          <p:cNvPr id="11" name="Image 10" descr="Une image contenant clipart, illustration, Dessin animé, Animation&#10;&#10;Description générée automatiquement">
            <a:extLst>
              <a:ext uri="{FF2B5EF4-FFF2-40B4-BE49-F238E27FC236}">
                <a16:creationId xmlns:a16="http://schemas.microsoft.com/office/drawing/2014/main" id="{4F300AD2-4CCC-EC28-A0E5-1C0946A7CA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87305" y="2221040"/>
            <a:ext cx="738657" cy="738657"/>
          </a:xfrm>
          <a:prstGeom prst="rect">
            <a:avLst/>
          </a:prstGeom>
        </p:spPr>
      </p:pic>
      <p:sp>
        <p:nvSpPr>
          <p:cNvPr id="16" name="ZoneTexte 15">
            <a:extLst>
              <a:ext uri="{FF2B5EF4-FFF2-40B4-BE49-F238E27FC236}">
                <a16:creationId xmlns:a16="http://schemas.microsoft.com/office/drawing/2014/main" id="{4C5B0DA4-FF09-99F7-F018-05B1CEEE44B4}"/>
              </a:ext>
            </a:extLst>
          </p:cNvPr>
          <p:cNvSpPr txBox="1"/>
          <p:nvPr/>
        </p:nvSpPr>
        <p:spPr>
          <a:xfrm>
            <a:off x="1861507" y="2445093"/>
            <a:ext cx="6425798" cy="369332"/>
          </a:xfrm>
          <a:prstGeom prst="rect">
            <a:avLst/>
          </a:prstGeom>
          <a:noFill/>
        </p:spPr>
        <p:txBody>
          <a:bodyPr wrap="none" rtlCol="0">
            <a:spAutoFit/>
          </a:bodyPr>
          <a:lstStyle/>
          <a:p>
            <a:r>
              <a:rPr lang="fr-FR">
                <a:solidFill>
                  <a:schemeClr val="tx1">
                    <a:lumMod val="50000"/>
                  </a:schemeClr>
                </a:solidFill>
                <a:latin typeface="Arial"/>
                <a:cs typeface="Arial"/>
              </a:rPr>
              <a:t>Il est interdit de créer à l’intérieur de « A NE PAS UTILISER »</a:t>
            </a:r>
          </a:p>
        </p:txBody>
      </p:sp>
      <p:pic>
        <p:nvPicPr>
          <p:cNvPr id="18" name="Image 17" descr="Une image contenant orange, capture d’écran, clipart, Graphique&#10;&#10;Description générée automatiquement">
            <a:extLst>
              <a:ext uri="{FF2B5EF4-FFF2-40B4-BE49-F238E27FC236}">
                <a16:creationId xmlns:a16="http://schemas.microsoft.com/office/drawing/2014/main" id="{44247B72-F402-4689-3971-DCD3311D2E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98748" y="3213380"/>
            <a:ext cx="828017" cy="828017"/>
          </a:xfrm>
          <a:prstGeom prst="rect">
            <a:avLst/>
          </a:prstGeom>
        </p:spPr>
      </p:pic>
      <p:pic>
        <p:nvPicPr>
          <p:cNvPr id="21" name="Image 20" descr="Une image contenant clipart, bouteille, conception&#10;&#10;Description générée automatiquement">
            <a:extLst>
              <a:ext uri="{FF2B5EF4-FFF2-40B4-BE49-F238E27FC236}">
                <a16:creationId xmlns:a16="http://schemas.microsoft.com/office/drawing/2014/main" id="{46917A8B-D0D9-7807-7F52-3CD394502B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26969" y="4426182"/>
            <a:ext cx="794923" cy="794923"/>
          </a:xfrm>
          <a:prstGeom prst="rect">
            <a:avLst/>
          </a:prstGeom>
        </p:spPr>
      </p:pic>
      <p:sp>
        <p:nvSpPr>
          <p:cNvPr id="22" name="ZoneTexte 21">
            <a:extLst>
              <a:ext uri="{FF2B5EF4-FFF2-40B4-BE49-F238E27FC236}">
                <a16:creationId xmlns:a16="http://schemas.microsoft.com/office/drawing/2014/main" id="{F861A5D3-09E8-9E69-189A-C6C2DF6EAFE7}"/>
              </a:ext>
            </a:extLst>
          </p:cNvPr>
          <p:cNvSpPr txBox="1"/>
          <p:nvPr/>
        </p:nvSpPr>
        <p:spPr>
          <a:xfrm>
            <a:off x="1828969" y="3337055"/>
            <a:ext cx="9189499" cy="1021556"/>
          </a:xfrm>
          <a:prstGeom prst="roundRect">
            <a:avLst/>
          </a:prstGeom>
          <a:noFill/>
        </p:spPr>
        <p:txBody>
          <a:bodyPr wrap="square" rtlCol="0">
            <a:spAutoFit/>
          </a:bodyPr>
          <a:lstStyle/>
          <a:p>
            <a:r>
              <a:rPr lang="fr-FR">
                <a:solidFill>
                  <a:schemeClr val="tx1">
                    <a:lumMod val="50000"/>
                  </a:schemeClr>
                </a:solidFill>
                <a:latin typeface="Arial"/>
                <a:cs typeface="Arial"/>
              </a:rPr>
              <a:t>Suite à une création dans « A NE PAS UTILISER », un mail explicatif rappelant les règles d'utilisation de Power Platform est envoyé à chaque utilisateur concerné au sein de Crédit Agricole*</a:t>
            </a:r>
          </a:p>
        </p:txBody>
      </p:sp>
      <p:sp>
        <p:nvSpPr>
          <p:cNvPr id="23" name="ZoneTexte 22">
            <a:extLst>
              <a:ext uri="{FF2B5EF4-FFF2-40B4-BE49-F238E27FC236}">
                <a16:creationId xmlns:a16="http://schemas.microsoft.com/office/drawing/2014/main" id="{350429EE-36B8-31AB-AE3A-DFC06CDA9A84}"/>
              </a:ext>
            </a:extLst>
          </p:cNvPr>
          <p:cNvSpPr txBox="1"/>
          <p:nvPr/>
        </p:nvSpPr>
        <p:spPr>
          <a:xfrm>
            <a:off x="1861507" y="4552200"/>
            <a:ext cx="8963695" cy="646331"/>
          </a:xfrm>
          <a:prstGeom prst="rect">
            <a:avLst/>
          </a:prstGeom>
          <a:noFill/>
        </p:spPr>
        <p:txBody>
          <a:bodyPr wrap="square" rtlCol="0">
            <a:spAutoFit/>
          </a:bodyPr>
          <a:lstStyle/>
          <a:p>
            <a:r>
              <a:rPr lang="fr-FR">
                <a:solidFill>
                  <a:schemeClr val="tx1">
                    <a:lumMod val="50000"/>
                  </a:schemeClr>
                </a:solidFill>
                <a:latin typeface="Arial"/>
                <a:cs typeface="Arial"/>
              </a:rPr>
              <a:t>Suppression quotidienne des apps et des flux crées au sein de « A NE PAS UTILISER » </a:t>
            </a:r>
          </a:p>
        </p:txBody>
      </p:sp>
      <p:sp>
        <p:nvSpPr>
          <p:cNvPr id="4" name="Ellipse 3">
            <a:extLst>
              <a:ext uri="{FF2B5EF4-FFF2-40B4-BE49-F238E27FC236}">
                <a16:creationId xmlns:a16="http://schemas.microsoft.com/office/drawing/2014/main" id="{155F0B23-0C29-DD47-F94D-81CB200AB238}"/>
              </a:ext>
            </a:extLst>
          </p:cNvPr>
          <p:cNvSpPr/>
          <p:nvPr/>
        </p:nvSpPr>
        <p:spPr>
          <a:xfrm>
            <a:off x="854193" y="3316954"/>
            <a:ext cx="803726" cy="77005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600">
                <a:solidFill>
                  <a:schemeClr val="bg1"/>
                </a:solidFill>
              </a:rPr>
              <a:t>2</a:t>
            </a:r>
          </a:p>
        </p:txBody>
      </p:sp>
      <p:sp>
        <p:nvSpPr>
          <p:cNvPr id="5" name="Ellipse 4">
            <a:extLst>
              <a:ext uri="{FF2B5EF4-FFF2-40B4-BE49-F238E27FC236}">
                <a16:creationId xmlns:a16="http://schemas.microsoft.com/office/drawing/2014/main" id="{6A585E76-7F94-18AB-0031-5853ED66F3BA}"/>
              </a:ext>
            </a:extLst>
          </p:cNvPr>
          <p:cNvSpPr/>
          <p:nvPr/>
        </p:nvSpPr>
        <p:spPr>
          <a:xfrm>
            <a:off x="854193" y="2259493"/>
            <a:ext cx="803726" cy="77005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600">
                <a:solidFill>
                  <a:schemeClr val="bg1"/>
                </a:solidFill>
              </a:rPr>
              <a:t>1</a:t>
            </a:r>
          </a:p>
        </p:txBody>
      </p:sp>
      <p:sp>
        <p:nvSpPr>
          <p:cNvPr id="8" name="Ellipse 7">
            <a:extLst>
              <a:ext uri="{FF2B5EF4-FFF2-40B4-BE49-F238E27FC236}">
                <a16:creationId xmlns:a16="http://schemas.microsoft.com/office/drawing/2014/main" id="{06E08887-A651-BD19-DE14-E979D0067B5C}"/>
              </a:ext>
            </a:extLst>
          </p:cNvPr>
          <p:cNvSpPr/>
          <p:nvPr/>
        </p:nvSpPr>
        <p:spPr>
          <a:xfrm>
            <a:off x="854193" y="4374415"/>
            <a:ext cx="803726" cy="77005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3600">
                <a:solidFill>
                  <a:schemeClr val="bg1"/>
                </a:solidFill>
              </a:rPr>
              <a:t>3</a:t>
            </a:r>
          </a:p>
        </p:txBody>
      </p:sp>
      <p:sp>
        <p:nvSpPr>
          <p:cNvPr id="9" name="ZoneTexte 8">
            <a:extLst>
              <a:ext uri="{FF2B5EF4-FFF2-40B4-BE49-F238E27FC236}">
                <a16:creationId xmlns:a16="http://schemas.microsoft.com/office/drawing/2014/main" id="{6D0E05BE-F9E0-AABC-2C26-F3DAA84C4CCA}"/>
              </a:ext>
            </a:extLst>
          </p:cNvPr>
          <p:cNvSpPr txBox="1"/>
          <p:nvPr/>
        </p:nvSpPr>
        <p:spPr>
          <a:xfrm>
            <a:off x="854193" y="5678182"/>
            <a:ext cx="3962944" cy="261610"/>
          </a:xfrm>
          <a:prstGeom prst="rect">
            <a:avLst/>
          </a:prstGeom>
          <a:noFill/>
        </p:spPr>
        <p:txBody>
          <a:bodyPr wrap="none" rtlCol="0">
            <a:spAutoFit/>
          </a:bodyPr>
          <a:lstStyle/>
          <a:p>
            <a:r>
              <a:rPr lang="fr-FR" sz="1100"/>
              <a:t>* Chaque entité a la possibilité de personnaliser ce message</a:t>
            </a:r>
          </a:p>
        </p:txBody>
      </p:sp>
    </p:spTree>
    <p:extLst>
      <p:ext uri="{BB962C8B-B14F-4D97-AF65-F5344CB8AC3E}">
        <p14:creationId xmlns:p14="http://schemas.microsoft.com/office/powerpoint/2010/main" val="2200555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65221"/>
            <a:ext cx="10800000" cy="402017"/>
          </a:xfrm>
        </p:spPr>
        <p:txBody>
          <a:bodyPr lIns="91440" tIns="45720" rIns="91440" bIns="45720" anchor="t"/>
          <a:lstStyle/>
          <a:p>
            <a:r>
              <a:rPr lang="fr-FR"/>
              <a:t>NOTE CONCERNANT LES ENVIRONNEMENTS « DATAVERSE FOR TEAMS »</a:t>
            </a:r>
            <a:endParaRPr lang="en-US"/>
          </a:p>
        </p:txBody>
      </p:sp>
      <p:sp>
        <p:nvSpPr>
          <p:cNvPr id="6" name="Google Shape;666;p44">
            <a:extLst>
              <a:ext uri="{FF2B5EF4-FFF2-40B4-BE49-F238E27FC236}">
                <a16:creationId xmlns:a16="http://schemas.microsoft.com/office/drawing/2014/main" id="{BD25AB70-AB40-3EBB-5889-13BA48C70DB7}"/>
              </a:ext>
            </a:extLst>
          </p:cNvPr>
          <p:cNvSpPr/>
          <p:nvPr/>
        </p:nvSpPr>
        <p:spPr>
          <a:xfrm>
            <a:off x="11412757" y="156810"/>
            <a:ext cx="551400" cy="526747"/>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7" name="Image 6">
            <a:extLst>
              <a:ext uri="{FF2B5EF4-FFF2-40B4-BE49-F238E27FC236}">
                <a16:creationId xmlns:a16="http://schemas.microsoft.com/office/drawing/2014/main" id="{575B35DB-8D23-F24D-5E69-366DA0458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6386" y="263668"/>
            <a:ext cx="324143" cy="309650"/>
          </a:xfrm>
          <a:prstGeom prst="rect">
            <a:avLst/>
          </a:prstGeom>
          <a:solidFill>
            <a:srgbClr val="E5C9EF"/>
          </a:solidFill>
        </p:spPr>
      </p:pic>
      <p:sp>
        <p:nvSpPr>
          <p:cNvPr id="5" name="Rectangle 4">
            <a:extLst>
              <a:ext uri="{FF2B5EF4-FFF2-40B4-BE49-F238E27FC236}">
                <a16:creationId xmlns:a16="http://schemas.microsoft.com/office/drawing/2014/main" id="{BB931FD4-6A71-62EF-6C29-E83C37D84097}"/>
              </a:ext>
            </a:extLst>
          </p:cNvPr>
          <p:cNvSpPr/>
          <p:nvPr/>
        </p:nvSpPr>
        <p:spPr>
          <a:xfrm>
            <a:off x="53137" y="1070187"/>
            <a:ext cx="12192000" cy="851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spcAft>
                <a:spcPts val="100"/>
              </a:spcAft>
              <a:buClr>
                <a:srgbClr val="6E9615"/>
              </a:buClr>
              <a:defRPr/>
            </a:pPr>
            <a:r>
              <a:rPr lang="fr-FR" sz="1600" b="1">
                <a:solidFill>
                  <a:schemeClr val="bg2"/>
                </a:solidFill>
                <a:latin typeface="Arial"/>
              </a:rPr>
              <a:t>Les environnements </a:t>
            </a:r>
            <a:r>
              <a:rPr lang="fr-FR" sz="1600" b="1" err="1">
                <a:solidFill>
                  <a:schemeClr val="bg2"/>
                </a:solidFill>
                <a:latin typeface="Arial"/>
              </a:rPr>
              <a:t>Dataverse</a:t>
            </a:r>
            <a:r>
              <a:rPr lang="fr-FR" sz="1600" b="1">
                <a:solidFill>
                  <a:schemeClr val="bg2"/>
                </a:solidFill>
                <a:latin typeface="Arial"/>
              </a:rPr>
              <a:t> for Teams </a:t>
            </a:r>
            <a:r>
              <a:rPr lang="fr-FR" sz="1600">
                <a:solidFill>
                  <a:schemeClr val="tx1">
                    <a:lumMod val="50000"/>
                  </a:schemeClr>
                </a:solidFill>
                <a:latin typeface="Arial"/>
              </a:rPr>
              <a:t>ne sont pas disponibles dans le cadre de l’offre Power Platform pour Crédit Agricole.     A ce jour il n’est pas possible de mettre en place </a:t>
            </a:r>
            <a:r>
              <a:rPr lang="fr-FR" sz="1600" b="1">
                <a:solidFill>
                  <a:schemeClr val="bg2"/>
                </a:solidFill>
                <a:latin typeface="Arial"/>
              </a:rPr>
              <a:t>un cadre de gouvernance </a:t>
            </a:r>
            <a:r>
              <a:rPr lang="fr-FR" sz="1600">
                <a:solidFill>
                  <a:schemeClr val="tx1">
                    <a:lumMod val="50000"/>
                  </a:schemeClr>
                </a:solidFill>
                <a:latin typeface="Arial"/>
              </a:rPr>
              <a:t>répondant aux exigences du Crédit Agricole</a:t>
            </a:r>
          </a:p>
        </p:txBody>
      </p:sp>
      <p:sp>
        <p:nvSpPr>
          <p:cNvPr id="19" name="Rectangle 18">
            <a:extLst>
              <a:ext uri="{FF2B5EF4-FFF2-40B4-BE49-F238E27FC236}">
                <a16:creationId xmlns:a16="http://schemas.microsoft.com/office/drawing/2014/main" id="{B9DD1E93-4A34-4942-5C45-BB5B6922B3C1}"/>
              </a:ext>
            </a:extLst>
          </p:cNvPr>
          <p:cNvSpPr/>
          <p:nvPr/>
        </p:nvSpPr>
        <p:spPr>
          <a:xfrm>
            <a:off x="283755" y="2069060"/>
            <a:ext cx="11404701" cy="5246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400" b="1">
                <a:solidFill>
                  <a:schemeClr val="bg2"/>
                </a:solidFill>
                <a:latin typeface="Arial Rounded MT Bold" panose="020F0704030504030204" pitchFamily="34" charset="0"/>
              </a:rPr>
              <a:t>Si vous souhaitez permettre à vos utilisateurs d’utiliser application Power Apps dans Teams, voici la démarche à suivre</a:t>
            </a:r>
          </a:p>
        </p:txBody>
      </p:sp>
      <p:pic>
        <p:nvPicPr>
          <p:cNvPr id="11" name="Image 10" descr="Une image contenant texte, Police, capture d’écran, blanc&#10;&#10;Description générée automatiquement">
            <a:extLst>
              <a:ext uri="{FF2B5EF4-FFF2-40B4-BE49-F238E27FC236}">
                <a16:creationId xmlns:a16="http://schemas.microsoft.com/office/drawing/2014/main" id="{FA48452F-96F8-D901-A86A-76903A6BA1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7250" y="3282335"/>
            <a:ext cx="3728617" cy="520727"/>
          </a:xfrm>
          <a:prstGeom prst="rect">
            <a:avLst/>
          </a:prstGeom>
        </p:spPr>
      </p:pic>
      <p:sp>
        <p:nvSpPr>
          <p:cNvPr id="4" name="Ellipse 3">
            <a:extLst>
              <a:ext uri="{FF2B5EF4-FFF2-40B4-BE49-F238E27FC236}">
                <a16:creationId xmlns:a16="http://schemas.microsoft.com/office/drawing/2014/main" id="{EA68F871-7275-76AA-9180-BA057F72183A}"/>
              </a:ext>
            </a:extLst>
          </p:cNvPr>
          <p:cNvSpPr/>
          <p:nvPr/>
        </p:nvSpPr>
        <p:spPr>
          <a:xfrm>
            <a:off x="451420" y="2645646"/>
            <a:ext cx="464929" cy="4649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latin typeface="Arial Rounded MT Bold" panose="020F0704030504030204" pitchFamily="34" charset="0"/>
              </a:rPr>
              <a:t>1</a:t>
            </a:r>
          </a:p>
        </p:txBody>
      </p:sp>
      <p:sp>
        <p:nvSpPr>
          <p:cNvPr id="9" name="ZoneTexte 8">
            <a:extLst>
              <a:ext uri="{FF2B5EF4-FFF2-40B4-BE49-F238E27FC236}">
                <a16:creationId xmlns:a16="http://schemas.microsoft.com/office/drawing/2014/main" id="{5DD43055-CF82-6511-C656-BD3EE1EE8992}"/>
              </a:ext>
            </a:extLst>
          </p:cNvPr>
          <p:cNvSpPr txBox="1"/>
          <p:nvPr/>
        </p:nvSpPr>
        <p:spPr>
          <a:xfrm>
            <a:off x="1045477" y="2602549"/>
            <a:ext cx="3194256" cy="523220"/>
          </a:xfrm>
          <a:prstGeom prst="rect">
            <a:avLst/>
          </a:prstGeom>
          <a:noFill/>
        </p:spPr>
        <p:txBody>
          <a:bodyPr wrap="square">
            <a:spAutoFit/>
          </a:bodyPr>
          <a:lstStyle/>
          <a:p>
            <a:r>
              <a:rPr lang="fr-FR" sz="1400"/>
              <a:t>Dans le canal de l’équipe souhaitez, ajouter un onglet en cliquant sur « + »</a:t>
            </a:r>
          </a:p>
        </p:txBody>
      </p:sp>
      <p:sp>
        <p:nvSpPr>
          <p:cNvPr id="10" name="Ellipse 9">
            <a:extLst>
              <a:ext uri="{FF2B5EF4-FFF2-40B4-BE49-F238E27FC236}">
                <a16:creationId xmlns:a16="http://schemas.microsoft.com/office/drawing/2014/main" id="{DABD1014-BF59-6F5E-551B-BBC1194D1A70}"/>
              </a:ext>
            </a:extLst>
          </p:cNvPr>
          <p:cNvSpPr/>
          <p:nvPr/>
        </p:nvSpPr>
        <p:spPr>
          <a:xfrm>
            <a:off x="3910928" y="3329782"/>
            <a:ext cx="319927" cy="319927"/>
          </a:xfrm>
          <a:prstGeom prst="ellipse">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a:extLst>
              <a:ext uri="{FF2B5EF4-FFF2-40B4-BE49-F238E27FC236}">
                <a16:creationId xmlns:a16="http://schemas.microsoft.com/office/drawing/2014/main" id="{F8AA4FEF-E3C3-8792-6354-A82DD95E3ACE}"/>
              </a:ext>
            </a:extLst>
          </p:cNvPr>
          <p:cNvSpPr/>
          <p:nvPr/>
        </p:nvSpPr>
        <p:spPr>
          <a:xfrm>
            <a:off x="1507865" y="4401477"/>
            <a:ext cx="464929" cy="4649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latin typeface="Arial Rounded MT Bold" panose="020F0704030504030204" pitchFamily="34" charset="0"/>
              </a:rPr>
              <a:t>2</a:t>
            </a:r>
          </a:p>
        </p:txBody>
      </p:sp>
      <p:sp>
        <p:nvSpPr>
          <p:cNvPr id="13" name="ZoneTexte 12">
            <a:extLst>
              <a:ext uri="{FF2B5EF4-FFF2-40B4-BE49-F238E27FC236}">
                <a16:creationId xmlns:a16="http://schemas.microsoft.com/office/drawing/2014/main" id="{658E7ED8-307A-07C6-AF02-BCC89FB0C6B2}"/>
              </a:ext>
            </a:extLst>
          </p:cNvPr>
          <p:cNvSpPr txBox="1"/>
          <p:nvPr/>
        </p:nvSpPr>
        <p:spPr>
          <a:xfrm>
            <a:off x="2101922" y="4358380"/>
            <a:ext cx="3194256" cy="523220"/>
          </a:xfrm>
          <a:prstGeom prst="rect">
            <a:avLst/>
          </a:prstGeom>
          <a:noFill/>
        </p:spPr>
        <p:txBody>
          <a:bodyPr wrap="square">
            <a:spAutoFit/>
          </a:bodyPr>
          <a:lstStyle/>
          <a:p>
            <a:r>
              <a:rPr lang="fr-FR" sz="1400"/>
              <a:t>Dans la liste d’application qui apparaît sélectionnez alors « Site web »</a:t>
            </a:r>
          </a:p>
        </p:txBody>
      </p:sp>
      <p:sp>
        <p:nvSpPr>
          <p:cNvPr id="15" name="Forme libre : forme 14">
            <a:extLst>
              <a:ext uri="{FF2B5EF4-FFF2-40B4-BE49-F238E27FC236}">
                <a16:creationId xmlns:a16="http://schemas.microsoft.com/office/drawing/2014/main" id="{830A7E44-99AE-67FD-8857-FA0271AB720D}"/>
              </a:ext>
            </a:extLst>
          </p:cNvPr>
          <p:cNvSpPr/>
          <p:nvPr/>
        </p:nvSpPr>
        <p:spPr>
          <a:xfrm>
            <a:off x="605422" y="3125770"/>
            <a:ext cx="773315" cy="1418258"/>
          </a:xfrm>
          <a:custGeom>
            <a:avLst/>
            <a:gdLst>
              <a:gd name="connsiteX0" fmla="*/ 820 w 584806"/>
              <a:gd name="connsiteY0" fmla="*/ 0 h 1014292"/>
              <a:gd name="connsiteX1" fmla="*/ 93028 w 584806"/>
              <a:gd name="connsiteY1" fmla="*/ 591670 h 1014292"/>
              <a:gd name="connsiteX2" fmla="*/ 584806 w 584806"/>
              <a:gd name="connsiteY2" fmla="*/ 1014292 h 1014292"/>
            </a:gdLst>
            <a:ahLst/>
            <a:cxnLst>
              <a:cxn ang="0">
                <a:pos x="connsiteX0" y="connsiteY0"/>
              </a:cxn>
              <a:cxn ang="0">
                <a:pos x="connsiteX1" y="connsiteY1"/>
              </a:cxn>
              <a:cxn ang="0">
                <a:pos x="connsiteX2" y="connsiteY2"/>
              </a:cxn>
            </a:cxnLst>
            <a:rect l="l" t="t" r="r" b="b"/>
            <a:pathLst>
              <a:path w="584806" h="1014292">
                <a:moveTo>
                  <a:pt x="820" y="0"/>
                </a:moveTo>
                <a:cubicBezTo>
                  <a:pt x="-1742" y="211310"/>
                  <a:pt x="-4303" y="422621"/>
                  <a:pt x="93028" y="591670"/>
                </a:cubicBezTo>
                <a:cubicBezTo>
                  <a:pt x="190359" y="760719"/>
                  <a:pt x="387582" y="887505"/>
                  <a:pt x="584806" y="1014292"/>
                </a:cubicBezTo>
              </a:path>
            </a:pathLst>
          </a:custGeom>
          <a:noFill/>
          <a:ln w="28575">
            <a:solidFill>
              <a:schemeClr val="bg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7" name="Image 16">
            <a:extLst>
              <a:ext uri="{FF2B5EF4-FFF2-40B4-BE49-F238E27FC236}">
                <a16:creationId xmlns:a16="http://schemas.microsoft.com/office/drawing/2014/main" id="{A4E8F5EC-BD19-6EA4-F606-A09D17FA0188}"/>
              </a:ext>
            </a:extLst>
          </p:cNvPr>
          <p:cNvPicPr>
            <a:picLocks noChangeAspect="1"/>
          </p:cNvPicPr>
          <p:nvPr/>
        </p:nvPicPr>
        <p:blipFill>
          <a:blip r:embed="rId5"/>
          <a:stretch>
            <a:fillRect/>
          </a:stretch>
        </p:blipFill>
        <p:spPr>
          <a:xfrm>
            <a:off x="2533407" y="4918657"/>
            <a:ext cx="2724290" cy="1454225"/>
          </a:xfrm>
          <a:prstGeom prst="rect">
            <a:avLst/>
          </a:prstGeom>
        </p:spPr>
      </p:pic>
      <p:sp>
        <p:nvSpPr>
          <p:cNvPr id="18" name="Rectangle : coins arrondis 17">
            <a:extLst>
              <a:ext uri="{FF2B5EF4-FFF2-40B4-BE49-F238E27FC236}">
                <a16:creationId xmlns:a16="http://schemas.microsoft.com/office/drawing/2014/main" id="{7E877222-78A3-9D3D-7DD8-629BC7A51C5E}"/>
              </a:ext>
            </a:extLst>
          </p:cNvPr>
          <p:cNvSpPr/>
          <p:nvPr/>
        </p:nvSpPr>
        <p:spPr>
          <a:xfrm>
            <a:off x="4367813" y="5401408"/>
            <a:ext cx="745724" cy="971474"/>
          </a:xfrm>
          <a:prstGeom prst="roundRect">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1" name="Image 30">
            <a:extLst>
              <a:ext uri="{FF2B5EF4-FFF2-40B4-BE49-F238E27FC236}">
                <a16:creationId xmlns:a16="http://schemas.microsoft.com/office/drawing/2014/main" id="{D7E74F8D-7BA5-DEBF-49EF-0D3E956D314B}"/>
              </a:ext>
            </a:extLst>
          </p:cNvPr>
          <p:cNvPicPr>
            <a:picLocks noChangeAspect="1"/>
          </p:cNvPicPr>
          <p:nvPr/>
        </p:nvPicPr>
        <p:blipFill>
          <a:blip r:embed="rId6"/>
          <a:stretch>
            <a:fillRect/>
          </a:stretch>
        </p:blipFill>
        <p:spPr>
          <a:xfrm>
            <a:off x="7285546" y="4091773"/>
            <a:ext cx="3514454" cy="2183647"/>
          </a:xfrm>
          <a:prstGeom prst="rect">
            <a:avLst/>
          </a:prstGeom>
        </p:spPr>
      </p:pic>
      <p:sp>
        <p:nvSpPr>
          <p:cNvPr id="33" name="Ellipse 32">
            <a:extLst>
              <a:ext uri="{FF2B5EF4-FFF2-40B4-BE49-F238E27FC236}">
                <a16:creationId xmlns:a16="http://schemas.microsoft.com/office/drawing/2014/main" id="{98C8F68A-6928-08B9-846B-F6D78683E445}"/>
              </a:ext>
            </a:extLst>
          </p:cNvPr>
          <p:cNvSpPr/>
          <p:nvPr/>
        </p:nvSpPr>
        <p:spPr>
          <a:xfrm>
            <a:off x="6593129" y="3149268"/>
            <a:ext cx="464929" cy="46492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a:latin typeface="Arial Rounded MT Bold" panose="020F0704030504030204" pitchFamily="34" charset="0"/>
              </a:rPr>
              <a:t>3</a:t>
            </a:r>
          </a:p>
        </p:txBody>
      </p:sp>
      <p:sp>
        <p:nvSpPr>
          <p:cNvPr id="34" name="ZoneTexte 33">
            <a:extLst>
              <a:ext uri="{FF2B5EF4-FFF2-40B4-BE49-F238E27FC236}">
                <a16:creationId xmlns:a16="http://schemas.microsoft.com/office/drawing/2014/main" id="{B5742438-725E-EBDC-C0C0-0088921147DD}"/>
              </a:ext>
            </a:extLst>
          </p:cNvPr>
          <p:cNvSpPr txBox="1"/>
          <p:nvPr/>
        </p:nvSpPr>
        <p:spPr>
          <a:xfrm>
            <a:off x="7169681" y="3033656"/>
            <a:ext cx="4680848" cy="954107"/>
          </a:xfrm>
          <a:prstGeom prst="rect">
            <a:avLst/>
          </a:prstGeom>
          <a:noFill/>
        </p:spPr>
        <p:txBody>
          <a:bodyPr wrap="square">
            <a:spAutoFit/>
          </a:bodyPr>
          <a:lstStyle/>
          <a:p>
            <a:r>
              <a:rPr lang="fr-FR" sz="1400"/>
              <a:t>Dans la fenêtre qui apparaît :</a:t>
            </a:r>
          </a:p>
          <a:p>
            <a:pPr marL="285750" indent="-285750">
              <a:buFont typeface="Arial" panose="020B0604020202020204" pitchFamily="34" charset="0"/>
              <a:buChar char="•"/>
            </a:pPr>
            <a:r>
              <a:rPr lang="fr-FR" sz="1400"/>
              <a:t>Renseigner le nom de l’onglet que vous souhaitez</a:t>
            </a:r>
          </a:p>
          <a:p>
            <a:pPr marL="285750" indent="-285750">
              <a:buFont typeface="Arial" panose="020B0604020202020204" pitchFamily="34" charset="0"/>
              <a:buChar char="•"/>
            </a:pPr>
            <a:r>
              <a:rPr lang="fr-FR" sz="1400"/>
              <a:t>Dans « URL » : renseigner l’adresse de votre application</a:t>
            </a:r>
          </a:p>
        </p:txBody>
      </p:sp>
      <p:sp>
        <p:nvSpPr>
          <p:cNvPr id="35" name="Rectangle : coins arrondis 34">
            <a:extLst>
              <a:ext uri="{FF2B5EF4-FFF2-40B4-BE49-F238E27FC236}">
                <a16:creationId xmlns:a16="http://schemas.microsoft.com/office/drawing/2014/main" id="{652263EB-4DFF-F073-C73E-8391548A7F56}"/>
              </a:ext>
            </a:extLst>
          </p:cNvPr>
          <p:cNvSpPr/>
          <p:nvPr/>
        </p:nvSpPr>
        <p:spPr>
          <a:xfrm>
            <a:off x="7395098" y="4512833"/>
            <a:ext cx="3395772" cy="971474"/>
          </a:xfrm>
          <a:prstGeom prst="roundRect">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Forme libre : forme 36">
            <a:extLst>
              <a:ext uri="{FF2B5EF4-FFF2-40B4-BE49-F238E27FC236}">
                <a16:creationId xmlns:a16="http://schemas.microsoft.com/office/drawing/2014/main" id="{E6099D7C-1BB7-7205-1BBB-0B1D4079E1EC}"/>
              </a:ext>
            </a:extLst>
          </p:cNvPr>
          <p:cNvSpPr/>
          <p:nvPr/>
        </p:nvSpPr>
        <p:spPr>
          <a:xfrm flipV="1">
            <a:off x="5022320" y="3429000"/>
            <a:ext cx="1570809" cy="835322"/>
          </a:xfrm>
          <a:custGeom>
            <a:avLst/>
            <a:gdLst>
              <a:gd name="connsiteX0" fmla="*/ 820 w 584806"/>
              <a:gd name="connsiteY0" fmla="*/ 0 h 1014292"/>
              <a:gd name="connsiteX1" fmla="*/ 93028 w 584806"/>
              <a:gd name="connsiteY1" fmla="*/ 591670 h 1014292"/>
              <a:gd name="connsiteX2" fmla="*/ 584806 w 584806"/>
              <a:gd name="connsiteY2" fmla="*/ 1014292 h 1014292"/>
            </a:gdLst>
            <a:ahLst/>
            <a:cxnLst>
              <a:cxn ang="0">
                <a:pos x="connsiteX0" y="connsiteY0"/>
              </a:cxn>
              <a:cxn ang="0">
                <a:pos x="connsiteX1" y="connsiteY1"/>
              </a:cxn>
              <a:cxn ang="0">
                <a:pos x="connsiteX2" y="connsiteY2"/>
              </a:cxn>
            </a:cxnLst>
            <a:rect l="l" t="t" r="r" b="b"/>
            <a:pathLst>
              <a:path w="584806" h="1014292">
                <a:moveTo>
                  <a:pt x="820" y="0"/>
                </a:moveTo>
                <a:cubicBezTo>
                  <a:pt x="-1742" y="211310"/>
                  <a:pt x="-4303" y="422621"/>
                  <a:pt x="93028" y="591670"/>
                </a:cubicBezTo>
                <a:cubicBezTo>
                  <a:pt x="190359" y="760719"/>
                  <a:pt x="387582" y="887505"/>
                  <a:pt x="584806" y="1014292"/>
                </a:cubicBezTo>
              </a:path>
            </a:pathLst>
          </a:custGeom>
          <a:noFill/>
          <a:ln w="28575">
            <a:solidFill>
              <a:schemeClr val="bg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28538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3A5715A-F78A-BB39-E01A-766708689330}"/>
              </a:ext>
            </a:extLst>
          </p:cNvPr>
          <p:cNvSpPr>
            <a:spLocks noGrp="1"/>
          </p:cNvSpPr>
          <p:nvPr>
            <p:ph type="title"/>
          </p:nvPr>
        </p:nvSpPr>
        <p:spPr>
          <a:xfrm>
            <a:off x="0" y="155905"/>
            <a:ext cx="12310202" cy="551400"/>
          </a:xfrm>
        </p:spPr>
        <p:txBody>
          <a:bodyPr/>
          <a:lstStyle/>
          <a:p>
            <a:r>
              <a:rPr lang="fr-FR"/>
              <a:t>FOCUS SUR LA Sécurité des environnements</a:t>
            </a:r>
          </a:p>
        </p:txBody>
      </p:sp>
      <p:sp>
        <p:nvSpPr>
          <p:cNvPr id="3" name="Espace réservé du numéro de diapositive 2">
            <a:extLst>
              <a:ext uri="{FF2B5EF4-FFF2-40B4-BE49-F238E27FC236}">
                <a16:creationId xmlns:a16="http://schemas.microsoft.com/office/drawing/2014/main" id="{5AF6E544-5126-7D1A-DF64-9EF99D7CC9B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052634C2-93F6-3D90-260E-BA78701B0271}"/>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5" name="Rectangle 4">
            <a:extLst>
              <a:ext uri="{FF2B5EF4-FFF2-40B4-BE49-F238E27FC236}">
                <a16:creationId xmlns:a16="http://schemas.microsoft.com/office/drawing/2014/main" id="{79340272-F215-0072-A774-289CD6DA314B}"/>
              </a:ext>
            </a:extLst>
          </p:cNvPr>
          <p:cNvSpPr/>
          <p:nvPr/>
        </p:nvSpPr>
        <p:spPr>
          <a:xfrm>
            <a:off x="432912" y="1546010"/>
            <a:ext cx="5459307" cy="3671147"/>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solidFill>
                  <a:schemeClr val="tx1">
                    <a:lumMod val="50000"/>
                  </a:schemeClr>
                </a:solidFill>
                <a:latin typeface="Arial Rounded MT Bold" panose="020F0704030504030204" pitchFamily="34" charset="0"/>
              </a:rPr>
              <a:t>La gestion des habilitations &amp; des droits</a:t>
            </a:r>
          </a:p>
        </p:txBody>
      </p:sp>
      <p:sp>
        <p:nvSpPr>
          <p:cNvPr id="7" name="Rectangle 6">
            <a:extLst>
              <a:ext uri="{FF2B5EF4-FFF2-40B4-BE49-F238E27FC236}">
                <a16:creationId xmlns:a16="http://schemas.microsoft.com/office/drawing/2014/main" id="{62BB8B64-06C9-DFC1-7FA0-473F72E9EF69}"/>
              </a:ext>
            </a:extLst>
          </p:cNvPr>
          <p:cNvSpPr/>
          <p:nvPr/>
        </p:nvSpPr>
        <p:spPr>
          <a:xfrm>
            <a:off x="6178721" y="1546011"/>
            <a:ext cx="5459307" cy="3671147"/>
          </a:xfrm>
          <a:prstGeom prst="rect">
            <a:avLst/>
          </a:prstGeom>
          <a:solidFill>
            <a:srgbClr val="0095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solidFill>
                  <a:schemeClr val="tx1">
                    <a:lumMod val="50000"/>
                  </a:schemeClr>
                </a:solidFill>
                <a:latin typeface="Arial Rounded MT Bold" panose="020F0704030504030204" pitchFamily="34" charset="0"/>
              </a:rPr>
              <a:t>Les DLP et les connecteurs</a:t>
            </a:r>
          </a:p>
        </p:txBody>
      </p:sp>
      <p:sp>
        <p:nvSpPr>
          <p:cNvPr id="6" name="Google Shape;666;p44">
            <a:extLst>
              <a:ext uri="{FF2B5EF4-FFF2-40B4-BE49-F238E27FC236}">
                <a16:creationId xmlns:a16="http://schemas.microsoft.com/office/drawing/2014/main" id="{3DF6B22A-3CF5-0F22-C38D-604F70021188}"/>
              </a:ext>
            </a:extLst>
          </p:cNvPr>
          <p:cNvSpPr/>
          <p:nvPr/>
        </p:nvSpPr>
        <p:spPr>
          <a:xfrm>
            <a:off x="11412757" y="132158"/>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8" name="Image 7">
            <a:extLst>
              <a:ext uri="{FF2B5EF4-FFF2-40B4-BE49-F238E27FC236}">
                <a16:creationId xmlns:a16="http://schemas.microsoft.com/office/drawing/2014/main" id="{32B053FF-69C3-7A72-9268-5730359C18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26387" y="249175"/>
            <a:ext cx="324142" cy="324143"/>
          </a:xfrm>
          <a:prstGeom prst="rect">
            <a:avLst/>
          </a:prstGeom>
          <a:solidFill>
            <a:srgbClr val="E5C9EF"/>
          </a:solidFill>
        </p:spPr>
      </p:pic>
    </p:spTree>
    <p:extLst>
      <p:ext uri="{BB962C8B-B14F-4D97-AF65-F5344CB8AC3E}">
        <p14:creationId xmlns:p14="http://schemas.microsoft.com/office/powerpoint/2010/main" val="3215848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4571"/>
            <a:ext cx="10800000" cy="420833"/>
          </a:xfrm>
        </p:spPr>
        <p:txBody>
          <a:bodyPr lIns="91440" tIns="45720" rIns="91440" bIns="45720" anchor="t"/>
          <a:lstStyle/>
          <a:p>
            <a:r>
              <a:rPr lang="fr-FR"/>
              <a:t>POWER PLATFORM : C’est quoi ?</a:t>
            </a:r>
            <a:endParaRPr lang="en-US"/>
          </a:p>
        </p:txBody>
      </p:sp>
      <p:sp>
        <p:nvSpPr>
          <p:cNvPr id="8" name="Google Shape;652;p44">
            <a:extLst>
              <a:ext uri="{FF2B5EF4-FFF2-40B4-BE49-F238E27FC236}">
                <a16:creationId xmlns:a16="http://schemas.microsoft.com/office/drawing/2014/main" id="{27B9D1CD-B86C-2555-9A19-5D342F4B3CB6}"/>
              </a:ext>
            </a:extLst>
          </p:cNvPr>
          <p:cNvSpPr txBox="1"/>
          <p:nvPr/>
        </p:nvSpPr>
        <p:spPr>
          <a:xfrm>
            <a:off x="123450" y="5935775"/>
            <a:ext cx="1797900" cy="707846"/>
          </a:xfrm>
          <a:prstGeom prst="rect">
            <a:avLst/>
          </a:prstGeom>
          <a:noFill/>
          <a:ln>
            <a:noFill/>
          </a:ln>
        </p:spPr>
        <p:txBody>
          <a:bodyPr spcFirstLastPara="1" wrap="square" lIns="87750" tIns="45700" rIns="87750" bIns="45700" anchor="t" anchorCtr="0">
            <a:spAutoFit/>
          </a:bodyPr>
          <a:lstStyle/>
          <a:p>
            <a:pPr marL="0" marR="0" lvl="0" indent="0" algn="ctr" rtl="0">
              <a:lnSpc>
                <a:spcPct val="100000"/>
              </a:lnSpc>
              <a:spcBef>
                <a:spcPts val="0"/>
              </a:spcBef>
              <a:spcAft>
                <a:spcPts val="0"/>
              </a:spcAft>
              <a:buNone/>
            </a:pPr>
            <a:r>
              <a:rPr lang="fr-FR" sz="2000" b="1">
                <a:solidFill>
                  <a:schemeClr val="bg1"/>
                </a:solidFill>
                <a:latin typeface="Arial Rounded MT Bold" panose="020F0704030504030204" pitchFamily="34" charset="0"/>
                <a:ea typeface="Caveat"/>
                <a:cs typeface="Caveat"/>
                <a:sym typeface="Caveat"/>
              </a:rPr>
              <a:t>Offre Power Platform v1</a:t>
            </a:r>
            <a:endParaRPr sz="1400" b="0" i="0" u="none" strike="noStrike" cap="none" err="1">
              <a:solidFill>
                <a:schemeClr val="bg1"/>
              </a:solidFill>
              <a:latin typeface="Arial Rounded MT Bold" panose="020F0704030504030204" pitchFamily="34" charset="0"/>
              <a:ea typeface="Arial"/>
              <a:cs typeface="Arial"/>
              <a:sym typeface="Arial"/>
            </a:endParaRPr>
          </a:p>
        </p:txBody>
      </p:sp>
      <p:sp>
        <p:nvSpPr>
          <p:cNvPr id="11" name="Google Shape;660;p44">
            <a:extLst>
              <a:ext uri="{FF2B5EF4-FFF2-40B4-BE49-F238E27FC236}">
                <a16:creationId xmlns:a16="http://schemas.microsoft.com/office/drawing/2014/main" id="{B69BAFFC-B747-7DCF-5670-06E7ACA18FC6}"/>
              </a:ext>
            </a:extLst>
          </p:cNvPr>
          <p:cNvSpPr/>
          <p:nvPr/>
        </p:nvSpPr>
        <p:spPr>
          <a:xfrm>
            <a:off x="103756" y="2065175"/>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Rectangle 36">
            <a:extLst>
              <a:ext uri="{FF2B5EF4-FFF2-40B4-BE49-F238E27FC236}">
                <a16:creationId xmlns:a16="http://schemas.microsoft.com/office/drawing/2014/main" id="{C716353E-43BB-682A-73E0-5F444E59F4B4}"/>
              </a:ext>
            </a:extLst>
          </p:cNvPr>
          <p:cNvSpPr/>
          <p:nvPr/>
        </p:nvSpPr>
        <p:spPr>
          <a:xfrm>
            <a:off x="370193" y="735495"/>
            <a:ext cx="11048956" cy="5200280"/>
          </a:xfrm>
          <a:prstGeom prst="rect">
            <a:avLst/>
          </a:prstGeom>
          <a:solidFill>
            <a:schemeClr val="accent2">
              <a:lumMod val="20000"/>
              <a:lumOff val="80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39" name="Google Shape;660;p44">
            <a:extLst>
              <a:ext uri="{FF2B5EF4-FFF2-40B4-BE49-F238E27FC236}">
                <a16:creationId xmlns:a16="http://schemas.microsoft.com/office/drawing/2014/main" id="{9BD7B936-29A7-E2F4-7B2B-0F74CED0A1FF}"/>
              </a:ext>
            </a:extLst>
          </p:cNvPr>
          <p:cNvSpPr/>
          <p:nvPr/>
        </p:nvSpPr>
        <p:spPr>
          <a:xfrm>
            <a:off x="577593" y="1000766"/>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0" name="Picture 2" descr="Power Platform 2021 in der Übersicht">
            <a:extLst>
              <a:ext uri="{FF2B5EF4-FFF2-40B4-BE49-F238E27FC236}">
                <a16:creationId xmlns:a16="http://schemas.microsoft.com/office/drawing/2014/main" id="{12CC8892-4D86-82C7-E442-DC2D7BACD8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700" r="39294" b="71270"/>
          <a:stretch/>
        </p:blipFill>
        <p:spPr bwMode="auto">
          <a:xfrm>
            <a:off x="677137" y="1080239"/>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B34F7715-4E58-245D-3A28-21CCB673C293}"/>
              </a:ext>
            </a:extLst>
          </p:cNvPr>
          <p:cNvSpPr txBox="1"/>
          <p:nvPr/>
        </p:nvSpPr>
        <p:spPr>
          <a:xfrm>
            <a:off x="1290627" y="1087470"/>
            <a:ext cx="10073592" cy="369332"/>
          </a:xfrm>
          <a:prstGeom prst="rect">
            <a:avLst/>
          </a:prstGeom>
          <a:noFill/>
        </p:spPr>
        <p:txBody>
          <a:bodyPr wrap="none" rtlCol="0">
            <a:spAutoFit/>
          </a:bodyPr>
          <a:lstStyle/>
          <a:p>
            <a:r>
              <a:rPr lang="fr-FR" b="1">
                <a:latin typeface="Arial Rounded MT Bold" panose="020F0704030504030204" pitchFamily="34" charset="0"/>
              </a:rPr>
              <a:t>Une plateforme unique &amp; commune pour l’ensemble du tenant Office 365 Crédit Agricole</a:t>
            </a:r>
          </a:p>
        </p:txBody>
      </p:sp>
      <p:sp>
        <p:nvSpPr>
          <p:cNvPr id="42" name="Rectangle 41">
            <a:extLst>
              <a:ext uri="{FF2B5EF4-FFF2-40B4-BE49-F238E27FC236}">
                <a16:creationId xmlns:a16="http://schemas.microsoft.com/office/drawing/2014/main" id="{C1966E60-9923-8926-9349-5D935F131371}"/>
              </a:ext>
            </a:extLst>
          </p:cNvPr>
          <p:cNvSpPr/>
          <p:nvPr/>
        </p:nvSpPr>
        <p:spPr>
          <a:xfrm>
            <a:off x="632348" y="1859485"/>
            <a:ext cx="10618679" cy="3699272"/>
          </a:xfrm>
          <a:prstGeom prst="rect">
            <a:avLst/>
          </a:prstGeom>
          <a:solidFill>
            <a:srgbClr val="E5C9EF"/>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3" name="Google Shape;666;p44">
            <a:extLst>
              <a:ext uri="{FF2B5EF4-FFF2-40B4-BE49-F238E27FC236}">
                <a16:creationId xmlns:a16="http://schemas.microsoft.com/office/drawing/2014/main" id="{5C48A492-DDB2-15F7-4BF7-D2E8FFB3F004}"/>
              </a:ext>
            </a:extLst>
          </p:cNvPr>
          <p:cNvSpPr/>
          <p:nvPr/>
        </p:nvSpPr>
        <p:spPr>
          <a:xfrm>
            <a:off x="889426" y="2359343"/>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4" name="Image 43">
            <a:extLst>
              <a:ext uri="{FF2B5EF4-FFF2-40B4-BE49-F238E27FC236}">
                <a16:creationId xmlns:a16="http://schemas.microsoft.com/office/drawing/2014/main" id="{7E4C4D0B-313F-255E-500D-4628B49A69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2698" y="2454503"/>
            <a:ext cx="324143" cy="324143"/>
          </a:xfrm>
          <a:prstGeom prst="rect">
            <a:avLst/>
          </a:prstGeom>
        </p:spPr>
      </p:pic>
      <p:sp>
        <p:nvSpPr>
          <p:cNvPr id="45" name="ZoneTexte 44">
            <a:extLst>
              <a:ext uri="{FF2B5EF4-FFF2-40B4-BE49-F238E27FC236}">
                <a16:creationId xmlns:a16="http://schemas.microsoft.com/office/drawing/2014/main" id="{1EEDFF83-950D-E48F-3A50-EC8335D8C3DB}"/>
              </a:ext>
            </a:extLst>
          </p:cNvPr>
          <p:cNvSpPr txBox="1"/>
          <p:nvPr/>
        </p:nvSpPr>
        <p:spPr>
          <a:xfrm>
            <a:off x="1498841" y="2307789"/>
            <a:ext cx="8637759" cy="646331"/>
          </a:xfrm>
          <a:prstGeom prst="rect">
            <a:avLst/>
          </a:prstGeom>
          <a:noFill/>
        </p:spPr>
        <p:txBody>
          <a:bodyPr wrap="square" rtlCol="0">
            <a:spAutoFit/>
          </a:bodyPr>
          <a:lstStyle/>
          <a:p>
            <a:r>
              <a:rPr lang="fr-FR" b="1">
                <a:latin typeface="Arial Rounded MT Bold" panose="020F0704030504030204" pitchFamily="34" charset="0"/>
              </a:rPr>
              <a:t>Qui contient un ou plusieurs environnement(s) dédié à chaque entité consommant l’Offre Power Platform</a:t>
            </a:r>
          </a:p>
        </p:txBody>
      </p:sp>
      <p:sp>
        <p:nvSpPr>
          <p:cNvPr id="46" name="Rectangle 45">
            <a:extLst>
              <a:ext uri="{FF2B5EF4-FFF2-40B4-BE49-F238E27FC236}">
                <a16:creationId xmlns:a16="http://schemas.microsoft.com/office/drawing/2014/main" id="{8C15BC74-F783-417F-BD0F-352DA5128998}"/>
              </a:ext>
            </a:extLst>
          </p:cNvPr>
          <p:cNvSpPr/>
          <p:nvPr/>
        </p:nvSpPr>
        <p:spPr>
          <a:xfrm>
            <a:off x="906558" y="3498040"/>
            <a:ext cx="9782161" cy="1744923"/>
          </a:xfrm>
          <a:prstGeom prst="rect">
            <a:avLst/>
          </a:prstGeom>
          <a:solidFill>
            <a:srgbClr val="B7FEFF"/>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7" name="Google Shape;674;p44">
            <a:extLst>
              <a:ext uri="{FF2B5EF4-FFF2-40B4-BE49-F238E27FC236}">
                <a16:creationId xmlns:a16="http://schemas.microsoft.com/office/drawing/2014/main" id="{98FB7D55-D995-885C-75FB-95A935A18093}"/>
              </a:ext>
            </a:extLst>
          </p:cNvPr>
          <p:cNvSpPr/>
          <p:nvPr/>
        </p:nvSpPr>
        <p:spPr>
          <a:xfrm>
            <a:off x="1223448" y="4094801"/>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9" name="Image 48">
            <a:extLst>
              <a:ext uri="{FF2B5EF4-FFF2-40B4-BE49-F238E27FC236}">
                <a16:creationId xmlns:a16="http://schemas.microsoft.com/office/drawing/2014/main" id="{ED73C1F1-6D29-07FE-E7A5-F1EC2117A0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36841" y="4185835"/>
            <a:ext cx="324000" cy="324000"/>
          </a:xfrm>
          <a:prstGeom prst="rect">
            <a:avLst/>
          </a:prstGeom>
        </p:spPr>
      </p:pic>
      <p:sp>
        <p:nvSpPr>
          <p:cNvPr id="2" name="ZoneTexte 1">
            <a:extLst>
              <a:ext uri="{FF2B5EF4-FFF2-40B4-BE49-F238E27FC236}">
                <a16:creationId xmlns:a16="http://schemas.microsoft.com/office/drawing/2014/main" id="{D1EE6376-4F6B-22F4-4FAE-12E8722AAE09}"/>
              </a:ext>
            </a:extLst>
          </p:cNvPr>
          <p:cNvSpPr txBox="1"/>
          <p:nvPr/>
        </p:nvSpPr>
        <p:spPr>
          <a:xfrm>
            <a:off x="1803101" y="4185835"/>
            <a:ext cx="8885618" cy="369332"/>
          </a:xfrm>
          <a:prstGeom prst="rect">
            <a:avLst/>
          </a:prstGeom>
          <a:noFill/>
        </p:spPr>
        <p:txBody>
          <a:bodyPr wrap="square" rtlCol="0">
            <a:spAutoFit/>
          </a:bodyPr>
          <a:lstStyle/>
          <a:p>
            <a:r>
              <a:rPr lang="fr-FR" b="1">
                <a:latin typeface="Arial Rounded MT Bold" panose="020F0704030504030204" pitchFamily="34" charset="0"/>
              </a:rPr>
              <a:t>Hébergeant des applications, des flux et des utilisateurs</a:t>
            </a:r>
          </a:p>
        </p:txBody>
      </p:sp>
    </p:spTree>
    <p:extLst>
      <p:ext uri="{BB962C8B-B14F-4D97-AF65-F5344CB8AC3E}">
        <p14:creationId xmlns:p14="http://schemas.microsoft.com/office/powerpoint/2010/main" val="3424562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3A5715A-F78A-BB39-E01A-766708689330}"/>
              </a:ext>
            </a:extLst>
          </p:cNvPr>
          <p:cNvSpPr>
            <a:spLocks noGrp="1"/>
          </p:cNvSpPr>
          <p:nvPr>
            <p:ph type="title"/>
          </p:nvPr>
        </p:nvSpPr>
        <p:spPr>
          <a:xfrm>
            <a:off x="0" y="149468"/>
            <a:ext cx="12310202" cy="900000"/>
          </a:xfrm>
        </p:spPr>
        <p:txBody>
          <a:bodyPr/>
          <a:lstStyle/>
          <a:p>
            <a:r>
              <a:rPr lang="fr-FR"/>
              <a:t>FOCUS Gestion des habilitations et des droits : LES GROUPES DE sécurité</a:t>
            </a:r>
          </a:p>
        </p:txBody>
      </p:sp>
      <p:sp>
        <p:nvSpPr>
          <p:cNvPr id="3" name="Espace réservé du numéro de diapositive 2">
            <a:extLst>
              <a:ext uri="{FF2B5EF4-FFF2-40B4-BE49-F238E27FC236}">
                <a16:creationId xmlns:a16="http://schemas.microsoft.com/office/drawing/2014/main" id="{5AF6E544-5126-7D1A-DF64-9EF99D7CC9B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052634C2-93F6-3D90-260E-BA78701B0271}"/>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6" name="ZoneTexte 5">
            <a:extLst>
              <a:ext uri="{FF2B5EF4-FFF2-40B4-BE49-F238E27FC236}">
                <a16:creationId xmlns:a16="http://schemas.microsoft.com/office/drawing/2014/main" id="{5739D314-2C51-9ECE-0D2E-97FBE85B96D9}"/>
              </a:ext>
            </a:extLst>
          </p:cNvPr>
          <p:cNvSpPr txBox="1"/>
          <p:nvPr/>
        </p:nvSpPr>
        <p:spPr>
          <a:xfrm>
            <a:off x="270024" y="1229445"/>
            <a:ext cx="11598765" cy="615553"/>
          </a:xfrm>
          <a:prstGeom prst="rect">
            <a:avLst/>
          </a:prstGeom>
          <a:noFill/>
        </p:spPr>
        <p:txBody>
          <a:bodyPr wrap="square" rtlCol="0">
            <a:spAutoFit/>
          </a:bodyPr>
          <a:lstStyle/>
          <a:p>
            <a:pPr algn="ctr"/>
            <a:r>
              <a:rPr lang="fr-FR" b="1">
                <a:solidFill>
                  <a:srgbClr val="009597"/>
                </a:solidFill>
              </a:rPr>
              <a:t>La gestion des droits des environnements </a:t>
            </a:r>
            <a:r>
              <a:rPr lang="fr-FR" sz="1600">
                <a:solidFill>
                  <a:schemeClr val="tx1">
                    <a:lumMod val="50000"/>
                  </a:schemeClr>
                </a:solidFill>
                <a:latin typeface="Arial"/>
              </a:rPr>
              <a:t>est gérée au travers de groupe de sécurité synchronisés, à créer dans chacun des AD locaux de chaque entité.</a:t>
            </a:r>
          </a:p>
        </p:txBody>
      </p:sp>
      <p:sp>
        <p:nvSpPr>
          <p:cNvPr id="11" name="Google Shape;666;p44">
            <a:extLst>
              <a:ext uri="{FF2B5EF4-FFF2-40B4-BE49-F238E27FC236}">
                <a16:creationId xmlns:a16="http://schemas.microsoft.com/office/drawing/2014/main" id="{9ABEEFE5-2358-2E4A-6AA5-8285BD638A0B}"/>
              </a:ext>
            </a:extLst>
          </p:cNvPr>
          <p:cNvSpPr/>
          <p:nvPr/>
        </p:nvSpPr>
        <p:spPr>
          <a:xfrm>
            <a:off x="11419772" y="147807"/>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Image 11">
            <a:extLst>
              <a:ext uri="{FF2B5EF4-FFF2-40B4-BE49-F238E27FC236}">
                <a16:creationId xmlns:a16="http://schemas.microsoft.com/office/drawing/2014/main" id="{62CE0CBC-524E-BC13-23CF-A95BFE0D37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33402" y="264824"/>
            <a:ext cx="324142" cy="324143"/>
          </a:xfrm>
          <a:prstGeom prst="rect">
            <a:avLst/>
          </a:prstGeom>
          <a:solidFill>
            <a:srgbClr val="E5C9EF"/>
          </a:solidFill>
        </p:spPr>
      </p:pic>
      <p:graphicFrame>
        <p:nvGraphicFramePr>
          <p:cNvPr id="15" name="Tableau 15">
            <a:extLst>
              <a:ext uri="{FF2B5EF4-FFF2-40B4-BE49-F238E27FC236}">
                <a16:creationId xmlns:a16="http://schemas.microsoft.com/office/drawing/2014/main" id="{DEFAA5A9-1531-0EC9-6CC3-912D28B6D33D}"/>
              </a:ext>
            </a:extLst>
          </p:cNvPr>
          <p:cNvGraphicFramePr>
            <a:graphicFrameLocks noGrp="1"/>
          </p:cNvGraphicFramePr>
          <p:nvPr>
            <p:extLst>
              <p:ext uri="{D42A27DB-BD31-4B8C-83A1-F6EECF244321}">
                <p14:modId xmlns:p14="http://schemas.microsoft.com/office/powerpoint/2010/main" val="3823281430"/>
              </p:ext>
            </p:extLst>
          </p:nvPr>
        </p:nvGraphicFramePr>
        <p:xfrm>
          <a:off x="216814" y="2172139"/>
          <a:ext cx="11478660" cy="3458294"/>
        </p:xfrm>
        <a:graphic>
          <a:graphicData uri="http://schemas.openxmlformats.org/drawingml/2006/table">
            <a:tbl>
              <a:tblPr firstRow="1" bandRow="1">
                <a:tableStyleId>{5C22544A-7EE6-4342-B048-85BDC9FD1C3A}</a:tableStyleId>
              </a:tblPr>
              <a:tblGrid>
                <a:gridCol w="2295732">
                  <a:extLst>
                    <a:ext uri="{9D8B030D-6E8A-4147-A177-3AD203B41FA5}">
                      <a16:colId xmlns:a16="http://schemas.microsoft.com/office/drawing/2014/main" val="3225278077"/>
                    </a:ext>
                  </a:extLst>
                </a:gridCol>
                <a:gridCol w="2295732">
                  <a:extLst>
                    <a:ext uri="{9D8B030D-6E8A-4147-A177-3AD203B41FA5}">
                      <a16:colId xmlns:a16="http://schemas.microsoft.com/office/drawing/2014/main" val="1609831772"/>
                    </a:ext>
                  </a:extLst>
                </a:gridCol>
                <a:gridCol w="2295732">
                  <a:extLst>
                    <a:ext uri="{9D8B030D-6E8A-4147-A177-3AD203B41FA5}">
                      <a16:colId xmlns:a16="http://schemas.microsoft.com/office/drawing/2014/main" val="3654237175"/>
                    </a:ext>
                  </a:extLst>
                </a:gridCol>
                <a:gridCol w="2295732">
                  <a:extLst>
                    <a:ext uri="{9D8B030D-6E8A-4147-A177-3AD203B41FA5}">
                      <a16:colId xmlns:a16="http://schemas.microsoft.com/office/drawing/2014/main" val="60421106"/>
                    </a:ext>
                  </a:extLst>
                </a:gridCol>
                <a:gridCol w="2295732">
                  <a:extLst>
                    <a:ext uri="{9D8B030D-6E8A-4147-A177-3AD203B41FA5}">
                      <a16:colId xmlns:a16="http://schemas.microsoft.com/office/drawing/2014/main" val="3211499129"/>
                    </a:ext>
                  </a:extLst>
                </a:gridCol>
              </a:tblGrid>
              <a:tr h="467680">
                <a:tc>
                  <a:txBody>
                    <a:bodyPr/>
                    <a:lstStyle/>
                    <a:p>
                      <a:pPr marL="0" algn="ctr" defTabSz="914400" rtl="0" eaLnBrk="1" latinLnBrk="0" hangingPunct="1"/>
                      <a:r>
                        <a:rPr lang="fr-FR" sz="1000" kern="1200">
                          <a:solidFill>
                            <a:schemeClr val="bg1"/>
                          </a:solidFill>
                          <a:latin typeface="+mn-lt"/>
                          <a:ea typeface="+mn-ea"/>
                          <a:cs typeface="+mn-cs"/>
                        </a:rPr>
                        <a:t>Nom du groupe</a:t>
                      </a:r>
                    </a:p>
                  </a:txBody>
                  <a:tcPr anchor="ctr">
                    <a:lnB w="38100" cmpd="sng">
                      <a:noFill/>
                    </a:lnB>
                    <a:solidFill>
                      <a:schemeClr val="bg2"/>
                    </a:solidFill>
                  </a:tcPr>
                </a:tc>
                <a:tc>
                  <a:txBody>
                    <a:bodyPr/>
                    <a:lstStyle/>
                    <a:p>
                      <a:pPr marL="0" algn="ctr" defTabSz="914400" rtl="0" eaLnBrk="1" latinLnBrk="0" hangingPunct="1"/>
                      <a:r>
                        <a:rPr lang="fr-FR" sz="1000" kern="1200">
                          <a:solidFill>
                            <a:schemeClr val="bg1"/>
                          </a:solidFill>
                          <a:latin typeface="+mn-lt"/>
                          <a:ea typeface="+mn-ea"/>
                          <a:cs typeface="+mn-cs"/>
                        </a:rPr>
                        <a:t>Droits associés</a:t>
                      </a:r>
                    </a:p>
                  </a:txBody>
                  <a:tcPr anchor="ctr">
                    <a:lnB w="38100" cmpd="sng">
                      <a:noFill/>
                    </a:lnB>
                    <a:solidFill>
                      <a:schemeClr val="bg2"/>
                    </a:solidFill>
                  </a:tcPr>
                </a:tc>
                <a:tc>
                  <a:txBody>
                    <a:bodyPr/>
                    <a:lstStyle/>
                    <a:p>
                      <a:pPr marL="0" algn="ctr" defTabSz="914400" rtl="0" eaLnBrk="1" latinLnBrk="0" hangingPunct="1"/>
                      <a:r>
                        <a:rPr lang="fr-FR" sz="1000" kern="1200">
                          <a:solidFill>
                            <a:schemeClr val="bg1"/>
                          </a:solidFill>
                          <a:latin typeface="+mn-lt"/>
                          <a:ea typeface="+mn-ea"/>
                          <a:cs typeface="+mn-cs"/>
                        </a:rPr>
                        <a:t>Nom du groupe associé</a:t>
                      </a:r>
                    </a:p>
                  </a:txBody>
                  <a:tcPr anchor="ctr">
                    <a:lnB w="38100" cmpd="sng">
                      <a:noFill/>
                    </a:lnB>
                    <a:solidFill>
                      <a:schemeClr val="bg2"/>
                    </a:solidFill>
                  </a:tcPr>
                </a:tc>
                <a:tc>
                  <a:txBody>
                    <a:bodyPr/>
                    <a:lstStyle/>
                    <a:p>
                      <a:pPr marL="0" algn="ctr" defTabSz="914400" rtl="0" eaLnBrk="1" latinLnBrk="0" hangingPunct="1"/>
                      <a:r>
                        <a:rPr lang="fr-FR" sz="1000" kern="1200">
                          <a:solidFill>
                            <a:schemeClr val="bg1"/>
                          </a:solidFill>
                          <a:latin typeface="+mn-lt"/>
                          <a:ea typeface="+mn-ea"/>
                          <a:cs typeface="+mn-cs"/>
                        </a:rPr>
                        <a:t>Création </a:t>
                      </a:r>
                    </a:p>
                  </a:txBody>
                  <a:tcPr anchor="ctr">
                    <a:lnB w="38100" cmpd="sng">
                      <a:noFill/>
                    </a:lnB>
                    <a:solidFill>
                      <a:schemeClr val="bg2"/>
                    </a:solidFill>
                  </a:tcPr>
                </a:tc>
                <a:tc>
                  <a:txBody>
                    <a:bodyPr/>
                    <a:lstStyle/>
                    <a:p>
                      <a:pPr marL="0" algn="ctr" defTabSz="914400" rtl="0" eaLnBrk="1" latinLnBrk="0" hangingPunct="1"/>
                      <a:r>
                        <a:rPr lang="fr-FR" sz="1000" kern="1200">
                          <a:solidFill>
                            <a:schemeClr val="bg1"/>
                          </a:solidFill>
                          <a:latin typeface="+mn-lt"/>
                          <a:ea typeface="+mn-ea"/>
                          <a:cs typeface="+mn-cs"/>
                        </a:rPr>
                        <a:t>Gestion</a:t>
                      </a:r>
                    </a:p>
                  </a:txBody>
                  <a:tcPr anchor="ctr">
                    <a:lnB w="38100" cmpd="sng">
                      <a:noFill/>
                    </a:lnB>
                    <a:solidFill>
                      <a:schemeClr val="bg2"/>
                    </a:solidFill>
                  </a:tcPr>
                </a:tc>
                <a:extLst>
                  <a:ext uri="{0D108BD9-81ED-4DB2-BD59-A6C34878D82A}">
                    <a16:rowId xmlns:a16="http://schemas.microsoft.com/office/drawing/2014/main" val="3455565945"/>
                  </a:ext>
                </a:extLst>
              </a:tr>
              <a:tr h="630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a:solidFill>
                            <a:schemeClr val="tx1"/>
                          </a:solidFill>
                          <a:latin typeface="+mn-lt"/>
                          <a:ea typeface="+mn-ea"/>
                          <a:cs typeface="+mn-cs"/>
                        </a:rPr>
                        <a:t>All User</a:t>
                      </a:r>
                    </a:p>
                  </a:txBody>
                  <a:tcPr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rowSpan="2">
                  <a:txBody>
                    <a:bodyPr/>
                    <a:lstStyle/>
                    <a:p>
                      <a:r>
                        <a:rPr lang="fr-FR" sz="1000" kern="1200">
                          <a:solidFill>
                            <a:schemeClr val="dk1"/>
                          </a:solidFill>
                          <a:latin typeface="+mn-lt"/>
                          <a:ea typeface="+mn-ea"/>
                          <a:cs typeface="+mn-cs"/>
                        </a:rPr>
                        <a:t>Un groupe qui contient l’</a:t>
                      </a:r>
                      <a:r>
                        <a:rPr lang="fr-FR" sz="1000" b="1" kern="1200">
                          <a:solidFill>
                            <a:schemeClr val="dk1"/>
                          </a:solidFill>
                          <a:latin typeface="+mn-lt"/>
                          <a:ea typeface="+mn-ea"/>
                          <a:cs typeface="+mn-cs"/>
                        </a:rPr>
                        <a:t>ensemble des utilisateurs </a:t>
                      </a:r>
                      <a:r>
                        <a:rPr lang="fr-FR" sz="1000" kern="1200">
                          <a:solidFill>
                            <a:schemeClr val="dk1"/>
                          </a:solidFill>
                          <a:latin typeface="+mn-lt"/>
                          <a:ea typeface="+mn-ea"/>
                          <a:cs typeface="+mn-cs"/>
                        </a:rPr>
                        <a:t>de l’entit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rowSpan="2">
                  <a:txBody>
                    <a:bodyPr/>
                    <a:lstStyle/>
                    <a:p>
                      <a:r>
                        <a:rPr lang="fr-FR" sz="1000" kern="1200">
                          <a:solidFill>
                            <a:schemeClr val="dk1"/>
                          </a:solidFill>
                          <a:latin typeface="+mn-lt"/>
                          <a:ea typeface="+mn-ea"/>
                          <a:cs typeface="+mn-cs"/>
                        </a:rPr>
                        <a:t>GS_A_[DOMAINE]_[ENTITE]_</a:t>
                      </a:r>
                      <a:r>
                        <a:rPr lang="fr-FR" sz="1000" kern="1200" err="1">
                          <a:solidFill>
                            <a:schemeClr val="dk1"/>
                          </a:solidFill>
                          <a:latin typeface="+mn-lt"/>
                          <a:ea typeface="+mn-ea"/>
                          <a:cs typeface="+mn-cs"/>
                        </a:rPr>
                        <a:t>AllUsers</a:t>
                      </a:r>
                      <a:r>
                        <a:rPr lang="fr-FR" sz="1000" kern="1200">
                          <a:solidFill>
                            <a:schemeClr val="dk1"/>
                          </a:solidFill>
                          <a:latin typeface="+mn-lt"/>
                          <a:ea typeface="+mn-ea"/>
                          <a:cs typeface="+mn-cs"/>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rowSpan="5">
                  <a:txBody>
                    <a:bodyPr/>
                    <a:lstStyle/>
                    <a:p>
                      <a:pPr algn="ctr"/>
                      <a:r>
                        <a:rPr lang="fr-FR" sz="1400" kern="1200">
                          <a:solidFill>
                            <a:schemeClr val="dk1"/>
                          </a:solidFill>
                          <a:latin typeface="+mn-lt"/>
                          <a:ea typeface="+mn-ea"/>
                          <a:cs typeface="+mn-cs"/>
                        </a:rPr>
                        <a:t>Chaque entité crée ses groupes de sécurités avant la demande de création de l’environn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rowSpan="5">
                  <a:txBody>
                    <a:bodyPr/>
                    <a:lstStyle/>
                    <a:p>
                      <a:pPr marL="0" algn="ctr" defTabSz="914400" rtl="0" eaLnBrk="1" latinLnBrk="0" hangingPunct="1"/>
                      <a:r>
                        <a:rPr lang="fr-FR" sz="1400" kern="1200">
                          <a:solidFill>
                            <a:schemeClr val="dk1"/>
                          </a:solidFill>
                          <a:latin typeface="+mn-lt"/>
                          <a:ea typeface="+mn-ea"/>
                          <a:cs typeface="+mn-cs"/>
                        </a:rPr>
                        <a:t>Chaque entité gère la gestion de ses utilisateurs dans les groupes de sécurités </a:t>
                      </a:r>
                      <a:r>
                        <a:rPr lang="fr-FR" sz="1400" i="1" kern="1200">
                          <a:solidFill>
                            <a:schemeClr val="dk1"/>
                          </a:solidFill>
                          <a:latin typeface="+mn-lt"/>
                          <a:ea typeface="+mn-ea"/>
                          <a:cs typeface="+mn-cs"/>
                        </a:rPr>
                        <a:t>(ajout/suppression d’un utilisateur)</a:t>
                      </a:r>
                    </a:p>
                  </a:txBody>
                  <a:tcPr anchor="ct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3990976"/>
                  </a:ext>
                </a:extLst>
              </a:tr>
              <a:tr h="17513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a:solidFill>
                            <a:schemeClr val="tx1"/>
                          </a:solidFill>
                          <a:latin typeface="+mn-lt"/>
                          <a:ea typeface="+mn-ea"/>
                          <a:cs typeface="+mn-cs"/>
                        </a:rPr>
                        <a:t>Power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a:solidFill>
                            <a:schemeClr val="tx1"/>
                          </a:solidFill>
                          <a:latin typeface="+mn-lt"/>
                          <a:ea typeface="+mn-ea"/>
                          <a:cs typeface="+mn-cs"/>
                        </a:rPr>
                        <a:t> E3|E5</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pPr marL="171450" indent="-171450" algn="l">
                        <a:buFont typeface="Arial" panose="020B0604020202020204" pitchFamily="34" charset="0"/>
                        <a:buChar char="•"/>
                      </a:pPr>
                      <a:r>
                        <a:rPr lang="fr-FR" sz="1000" b="1" kern="1200">
                          <a:solidFill>
                            <a:schemeClr val="dk1"/>
                          </a:solidFill>
                          <a:latin typeface="+mn-lt"/>
                          <a:ea typeface="+mn-ea"/>
                          <a:cs typeface="+mn-cs"/>
                        </a:rPr>
                        <a:t>Active le service </a:t>
                      </a:r>
                      <a:r>
                        <a:rPr lang="fr-FR" sz="1000" kern="1200">
                          <a:solidFill>
                            <a:schemeClr val="dk1"/>
                          </a:solidFill>
                          <a:latin typeface="+mn-lt"/>
                          <a:ea typeface="+mn-ea"/>
                          <a:cs typeface="+mn-cs"/>
                        </a:rPr>
                        <a:t>de Power apps, Power Automate, Power Virtual Agent. </a:t>
                      </a:r>
                    </a:p>
                    <a:p>
                      <a:pPr marL="171450" indent="-171450" algn="l">
                        <a:buFont typeface="Arial" panose="020B0604020202020204" pitchFamily="34" charset="0"/>
                        <a:buChar char="•"/>
                      </a:pPr>
                      <a:r>
                        <a:rPr lang="fr-FR" sz="1000" b="1" kern="1200">
                          <a:solidFill>
                            <a:schemeClr val="dk1"/>
                          </a:solidFill>
                          <a:latin typeface="+mn-lt"/>
                          <a:ea typeface="+mn-ea"/>
                          <a:cs typeface="+mn-cs"/>
                        </a:rPr>
                        <a:t>Utilise les solutions </a:t>
                      </a:r>
                      <a:r>
                        <a:rPr lang="fr-FR" sz="1000" kern="1200">
                          <a:solidFill>
                            <a:schemeClr val="dk1"/>
                          </a:solidFill>
                          <a:latin typeface="+mn-lt"/>
                          <a:ea typeface="+mn-ea"/>
                          <a:cs typeface="+mn-cs"/>
                        </a:rPr>
                        <a:t>crées par les </a:t>
                      </a:r>
                      <a:r>
                        <a:rPr lang="fr-FR" sz="1000" kern="1200" err="1">
                          <a:solidFill>
                            <a:schemeClr val="dk1"/>
                          </a:solidFill>
                          <a:latin typeface="+mn-lt"/>
                          <a:ea typeface="+mn-ea"/>
                          <a:cs typeface="+mn-cs"/>
                        </a:rPr>
                        <a:t>makers</a:t>
                      </a:r>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fr-FR"/>
                    </a:p>
                  </a:txBody>
                  <a:tcPr/>
                </a:tc>
                <a:tc v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r>
                        <a:rPr lang="fr-FR"/>
                        <a:t>Chaque entité </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5178228"/>
                  </a:ext>
                </a:extLst>
              </a:tr>
              <a:tr h="805636">
                <a:tc vMerge="1">
                  <a:txBody>
                    <a:bodyPr/>
                    <a:lstStyle/>
                    <a:p>
                      <a:endParaRPr lang="fr-FR"/>
                    </a:p>
                  </a:txBody>
                  <a:tcPr/>
                </a:tc>
                <a:tc>
                  <a:txBody>
                    <a:bodyPr/>
                    <a:lstStyle/>
                    <a:p>
                      <a:pPr marL="171450" indent="-171450" algn="l">
                        <a:buFont typeface="Arial" panose="020B0604020202020204" pitchFamily="34" charset="0"/>
                        <a:buChar char="•"/>
                      </a:pPr>
                      <a:r>
                        <a:rPr lang="fr-FR" sz="1000" b="1" kern="1200">
                          <a:solidFill>
                            <a:schemeClr val="dk1"/>
                          </a:solidFill>
                          <a:latin typeface="+mn-lt"/>
                          <a:ea typeface="+mn-ea"/>
                          <a:cs typeface="+mn-cs"/>
                        </a:rPr>
                        <a:t>Active le service </a:t>
                      </a:r>
                      <a:r>
                        <a:rPr lang="fr-FR" sz="1000" kern="1200">
                          <a:solidFill>
                            <a:schemeClr val="dk1"/>
                          </a:solidFill>
                          <a:latin typeface="+mn-lt"/>
                          <a:ea typeface="+mn-ea"/>
                          <a:cs typeface="+mn-cs"/>
                        </a:rPr>
                        <a:t>Power apps, Power Automate et Power Virtual Agent. </a:t>
                      </a:r>
                    </a:p>
                    <a:p>
                      <a:pPr marL="171450" indent="-171450" algn="l">
                        <a:buFont typeface="Arial" panose="020B0604020202020204" pitchFamily="34" charset="0"/>
                        <a:buChar char="•"/>
                      </a:pPr>
                      <a:r>
                        <a:rPr lang="fr-FR" sz="1000" b="1" kern="1200">
                          <a:solidFill>
                            <a:schemeClr val="dk1"/>
                          </a:solidFill>
                          <a:latin typeface="+mn-lt"/>
                          <a:ea typeface="+mn-ea"/>
                          <a:cs typeface="+mn-cs"/>
                        </a:rPr>
                        <a:t>Utilise les solutions </a:t>
                      </a:r>
                      <a:r>
                        <a:rPr lang="fr-FR" sz="1000" kern="1200">
                          <a:solidFill>
                            <a:schemeClr val="dk1"/>
                          </a:solidFill>
                          <a:latin typeface="+mn-lt"/>
                          <a:ea typeface="+mn-ea"/>
                          <a:cs typeface="+mn-cs"/>
                        </a:rPr>
                        <a:t>créées par les </a:t>
                      </a:r>
                      <a:r>
                        <a:rPr lang="fr-FR" sz="1000" kern="1200" err="1">
                          <a:solidFill>
                            <a:schemeClr val="dk1"/>
                          </a:solidFill>
                          <a:latin typeface="+mn-lt"/>
                          <a:ea typeface="+mn-ea"/>
                          <a:cs typeface="+mn-cs"/>
                        </a:rPr>
                        <a:t>makers</a:t>
                      </a:r>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fr-FR" sz="1000" kern="1200">
                          <a:solidFill>
                            <a:schemeClr val="dk1"/>
                          </a:solidFill>
                          <a:latin typeface="+mn-lt"/>
                          <a:ea typeface="+mn-ea"/>
                          <a:cs typeface="+mn-cs"/>
                        </a:rPr>
                        <a:t>GS_A_[DOMAINE]_[ENTITE]_</a:t>
                      </a:r>
                      <a:r>
                        <a:rPr lang="fr-FR" sz="1000" kern="1200" err="1">
                          <a:solidFill>
                            <a:schemeClr val="dk1"/>
                          </a:solidFill>
                          <a:latin typeface="+mn-lt"/>
                          <a:ea typeface="+mn-ea"/>
                          <a:cs typeface="+mn-cs"/>
                        </a:rPr>
                        <a:t>PowerPlatform_E</a:t>
                      </a:r>
                      <a:r>
                        <a:rPr lang="fr-FR" sz="1000" kern="1200">
                          <a:solidFill>
                            <a:schemeClr val="dk1"/>
                          </a:solidFill>
                          <a:latin typeface="+mn-lt"/>
                          <a:ea typeface="+mn-ea"/>
                          <a:cs typeface="+mn-cs"/>
                        </a:rPr>
                        <a:t>[3|5] </a:t>
                      </a:r>
                    </a:p>
                    <a:p>
                      <a:pPr marL="0" indent="0" algn="l">
                        <a:buFont typeface="Arial" panose="020B0604020202020204" pitchFamily="34" charset="0"/>
                        <a:buNone/>
                      </a:pPr>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899859192"/>
                  </a:ext>
                </a:extLst>
              </a:tr>
              <a:tr h="630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a:solidFill>
                            <a:schemeClr val="tx1"/>
                          </a:solidFill>
                          <a:latin typeface="+mn-lt"/>
                          <a:ea typeface="+mn-ea"/>
                          <a:cs typeface="+mn-cs"/>
                        </a:rPr>
                        <a:t>Maker</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r>
                        <a:rPr lang="fr-FR" sz="1000" b="1" kern="1200">
                          <a:solidFill>
                            <a:schemeClr val="dk1"/>
                          </a:solidFill>
                          <a:latin typeface="+mn-lt"/>
                          <a:ea typeface="+mn-ea"/>
                          <a:cs typeface="+mn-cs"/>
                        </a:rPr>
                        <a:t>Crée et développe </a:t>
                      </a:r>
                      <a:r>
                        <a:rPr lang="fr-FR" sz="1000" kern="1200">
                          <a:solidFill>
                            <a:schemeClr val="dk1"/>
                          </a:solidFill>
                          <a:latin typeface="+mn-lt"/>
                          <a:ea typeface="+mn-ea"/>
                          <a:cs typeface="+mn-cs"/>
                        </a:rPr>
                        <a:t>des solutions au sein de Power Platfor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fr-FR" sz="1000" kern="1200">
                          <a:solidFill>
                            <a:schemeClr val="dk1"/>
                          </a:solidFill>
                          <a:latin typeface="+mn-lt"/>
                          <a:ea typeface="+mn-ea"/>
                          <a:cs typeface="+mn-cs"/>
                        </a:rPr>
                        <a:t>GS_A_[DOMAINE]_[ENTITE]_</a:t>
                      </a:r>
                      <a:r>
                        <a:rPr lang="fr-FR" sz="1000" kern="1200" err="1">
                          <a:solidFill>
                            <a:schemeClr val="dk1"/>
                          </a:solidFill>
                          <a:latin typeface="+mn-lt"/>
                          <a:ea typeface="+mn-ea"/>
                          <a:cs typeface="+mn-cs"/>
                        </a:rPr>
                        <a:t>PowerPlatform</a:t>
                      </a:r>
                      <a:r>
                        <a:rPr lang="fr-FR" sz="1000" kern="1200">
                          <a:solidFill>
                            <a:schemeClr val="dk1"/>
                          </a:solidFill>
                          <a:latin typeface="+mn-lt"/>
                          <a:ea typeface="+mn-ea"/>
                          <a:cs typeface="+mn-cs"/>
                        </a:rPr>
                        <a:t>_[ENVIRONNEMENT]_Maker</a:t>
                      </a:r>
                    </a:p>
                    <a:p>
                      <a:pPr marL="0" indent="0" algn="l" defTabSz="914400" rtl="0" eaLnBrk="1" latinLnBrk="0" hangingPunct="1">
                        <a:buFont typeface="Arial" panose="020B0604020202020204" pitchFamily="34" charset="0"/>
                        <a:buNone/>
                      </a:pPr>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fr-F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2898931"/>
                  </a:ext>
                </a:extLst>
              </a:tr>
              <a:tr h="630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a:solidFill>
                            <a:schemeClr val="tx1"/>
                          </a:solidFill>
                          <a:latin typeface="+mn-lt"/>
                          <a:ea typeface="+mn-ea"/>
                          <a:cs typeface="+mn-cs"/>
                        </a:rPr>
                        <a:t>Environnemen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a:solidFill>
                            <a:schemeClr val="tx1"/>
                          </a:solidFill>
                          <a:latin typeface="+mn-lt"/>
                          <a:ea typeface="+mn-ea"/>
                          <a:cs typeface="+mn-cs"/>
                        </a:rPr>
                        <a:t>admin</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r>
                        <a:rPr lang="fr-FR" sz="1000" b="1" kern="1200">
                          <a:solidFill>
                            <a:schemeClr val="dk1"/>
                          </a:solidFill>
                          <a:latin typeface="+mn-lt"/>
                          <a:ea typeface="+mn-ea"/>
                          <a:cs typeface="+mn-cs"/>
                        </a:rPr>
                        <a:t>Droits de maker </a:t>
                      </a:r>
                      <a:r>
                        <a:rPr lang="fr-FR" sz="1000" kern="1200">
                          <a:solidFill>
                            <a:schemeClr val="dk1"/>
                          </a:solidFill>
                          <a:latin typeface="+mn-lt"/>
                          <a:ea typeface="+mn-ea"/>
                          <a:cs typeface="+mn-cs"/>
                        </a:rPr>
                        <a:t>+ accès au </a:t>
                      </a:r>
                      <a:r>
                        <a:rPr lang="fr-FR" sz="1000" kern="1200" err="1">
                          <a:solidFill>
                            <a:schemeClr val="dk1"/>
                          </a:solidFill>
                          <a:latin typeface="+mn-lt"/>
                          <a:ea typeface="+mn-ea"/>
                          <a:cs typeface="+mn-cs"/>
                        </a:rPr>
                        <a:t>reporting</a:t>
                      </a:r>
                      <a:r>
                        <a:rPr lang="fr-FR" sz="1000" kern="1200">
                          <a:solidFill>
                            <a:schemeClr val="dk1"/>
                          </a:solidFill>
                          <a:latin typeface="+mn-lt"/>
                          <a:ea typeface="+mn-ea"/>
                          <a:cs typeface="+mn-cs"/>
                        </a:rPr>
                        <a:t>, gestion de droi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dk1"/>
                          </a:solidFill>
                          <a:latin typeface="+mn-lt"/>
                          <a:ea typeface="+mn-ea"/>
                          <a:cs typeface="+mn-cs"/>
                        </a:rPr>
                        <a:t>GS_A_[DOMAINE]_[ENTITE]_</a:t>
                      </a:r>
                      <a:r>
                        <a:rPr lang="fr-FR" sz="1000" kern="1200" err="1">
                          <a:solidFill>
                            <a:schemeClr val="dk1"/>
                          </a:solidFill>
                          <a:latin typeface="+mn-lt"/>
                          <a:ea typeface="+mn-ea"/>
                          <a:cs typeface="+mn-cs"/>
                        </a:rPr>
                        <a:t>PowerPlatform_EnvironmentAdmin</a:t>
                      </a:r>
                      <a:endParaRPr lang="fr-FR" sz="1000" kern="1200">
                        <a:solidFill>
                          <a:schemeClr val="dk1"/>
                        </a:solidFill>
                        <a:latin typeface="+mn-lt"/>
                        <a:ea typeface="+mn-ea"/>
                        <a:cs typeface="+mn-cs"/>
                      </a:endParaRPr>
                    </a:p>
                    <a:p>
                      <a:pPr algn="l"/>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fr-F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vMerge="1">
                  <a:txBody>
                    <a:bodyPr/>
                    <a:lstStyle/>
                    <a:p>
                      <a:endParaRPr lang="fr-F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33230247"/>
                  </a:ext>
                </a:extLst>
              </a:tr>
            </a:tbl>
          </a:graphicData>
        </a:graphic>
      </p:graphicFrame>
      <p:pic>
        <p:nvPicPr>
          <p:cNvPr id="16" name="Image 15" descr="Une image contenant dessin humoristique, clipart, habits, art&#10;&#10;Description générée automatiquement">
            <a:extLst>
              <a:ext uri="{FF2B5EF4-FFF2-40B4-BE49-F238E27FC236}">
                <a16:creationId xmlns:a16="http://schemas.microsoft.com/office/drawing/2014/main" id="{DB450D37-60D5-264E-8C50-A8A71D0B79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1930" y="5208495"/>
            <a:ext cx="470017" cy="470017"/>
          </a:xfrm>
          <a:prstGeom prst="rect">
            <a:avLst/>
          </a:prstGeom>
        </p:spPr>
      </p:pic>
      <p:pic>
        <p:nvPicPr>
          <p:cNvPr id="17" name="Image 16" descr="Une image contenant dessin humoristique, clipart, Graphique, conception&#10;&#10;Description générée automatiquement">
            <a:extLst>
              <a:ext uri="{FF2B5EF4-FFF2-40B4-BE49-F238E27FC236}">
                <a16:creationId xmlns:a16="http://schemas.microsoft.com/office/drawing/2014/main" id="{F6783654-345D-8572-72ED-E9F0035D03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1930" y="4358600"/>
            <a:ext cx="493800" cy="493800"/>
          </a:xfrm>
          <a:prstGeom prst="rect">
            <a:avLst/>
          </a:prstGeom>
        </p:spPr>
      </p:pic>
      <p:pic>
        <p:nvPicPr>
          <p:cNvPr id="18" name="Image 17" descr="Une image contenant clipart, dessin humoristique, Dessin animé, illustration&#10;&#10;Description générée automatiquement">
            <a:extLst>
              <a:ext uri="{FF2B5EF4-FFF2-40B4-BE49-F238E27FC236}">
                <a16:creationId xmlns:a16="http://schemas.microsoft.com/office/drawing/2014/main" id="{5A4A3CEF-FA1A-FE6F-15BE-128BE3F8F1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46779" y="3564136"/>
            <a:ext cx="438951" cy="438951"/>
          </a:xfrm>
          <a:prstGeom prst="rect">
            <a:avLst/>
          </a:prstGeom>
        </p:spPr>
      </p:pic>
      <p:pic>
        <p:nvPicPr>
          <p:cNvPr id="7" name="Image 6" descr="Une image contenant clipart, dessin humoristique&#10;&#10;Description générée automatiquement">
            <a:extLst>
              <a:ext uri="{FF2B5EF4-FFF2-40B4-BE49-F238E27FC236}">
                <a16:creationId xmlns:a16="http://schemas.microsoft.com/office/drawing/2014/main" id="{A399E83C-A73E-40CB-74B2-E1D6002CF2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25301" y="2726715"/>
            <a:ext cx="481908" cy="481908"/>
          </a:xfrm>
          <a:prstGeom prst="rect">
            <a:avLst/>
          </a:prstGeom>
        </p:spPr>
      </p:pic>
    </p:spTree>
    <p:extLst>
      <p:ext uri="{BB962C8B-B14F-4D97-AF65-F5344CB8AC3E}">
        <p14:creationId xmlns:p14="http://schemas.microsoft.com/office/powerpoint/2010/main" val="2984941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E96E2E-3416-B7AF-69BC-1F4BC5A5D72A}"/>
              </a:ext>
            </a:extLst>
          </p:cNvPr>
          <p:cNvSpPr>
            <a:spLocks noGrp="1"/>
          </p:cNvSpPr>
          <p:nvPr>
            <p:ph type="title"/>
          </p:nvPr>
        </p:nvSpPr>
        <p:spPr>
          <a:xfrm>
            <a:off x="0" y="111122"/>
            <a:ext cx="12060624" cy="816564"/>
          </a:xfrm>
        </p:spPr>
        <p:txBody>
          <a:bodyPr/>
          <a:lstStyle/>
          <a:p>
            <a:r>
              <a:rPr lang="fr-FR"/>
              <a:t>FOCUS les DLP et les connecteurs </a:t>
            </a:r>
          </a:p>
        </p:txBody>
      </p:sp>
      <p:sp>
        <p:nvSpPr>
          <p:cNvPr id="3" name="Espace réservé du numéro de diapositive 2">
            <a:extLst>
              <a:ext uri="{FF2B5EF4-FFF2-40B4-BE49-F238E27FC236}">
                <a16:creationId xmlns:a16="http://schemas.microsoft.com/office/drawing/2014/main" id="{36CF9F0F-A16F-C2C4-7492-7DAF9D2024F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47675477-69D1-972E-D931-380330647B43}"/>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7" name="Rectangle 6">
            <a:extLst>
              <a:ext uri="{FF2B5EF4-FFF2-40B4-BE49-F238E27FC236}">
                <a16:creationId xmlns:a16="http://schemas.microsoft.com/office/drawing/2014/main" id="{A080FF84-2F40-9EF8-7A5C-73985C4D81A5}"/>
              </a:ext>
            </a:extLst>
          </p:cNvPr>
          <p:cNvSpPr/>
          <p:nvPr/>
        </p:nvSpPr>
        <p:spPr>
          <a:xfrm>
            <a:off x="343342" y="1218564"/>
            <a:ext cx="3845124" cy="138771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DLP (data loss prevention)</a:t>
            </a:r>
            <a:r>
              <a:rPr lang="fr-FR"/>
              <a:t> est un paramétrage spécifique positionné sur chaque environnement qui autorise ou non l’utilisation des connecteurs </a:t>
            </a:r>
          </a:p>
        </p:txBody>
      </p:sp>
      <p:sp>
        <p:nvSpPr>
          <p:cNvPr id="8" name="Rectangle 7">
            <a:extLst>
              <a:ext uri="{FF2B5EF4-FFF2-40B4-BE49-F238E27FC236}">
                <a16:creationId xmlns:a16="http://schemas.microsoft.com/office/drawing/2014/main" id="{A2A9DAD0-E6F1-7E0B-FE63-397FFAA7AC16}"/>
              </a:ext>
            </a:extLst>
          </p:cNvPr>
          <p:cNvSpPr/>
          <p:nvPr/>
        </p:nvSpPr>
        <p:spPr>
          <a:xfrm>
            <a:off x="319251" y="3236030"/>
            <a:ext cx="3845124" cy="1387714"/>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a:t>Connecteur </a:t>
            </a:r>
            <a:r>
              <a:rPr lang="fr-FR"/>
              <a:t>est un intermédiaire qui permet à Power Apps, Power Automate et Power Virtual Agent d’interagir et se connecter aux services externes</a:t>
            </a:r>
          </a:p>
        </p:txBody>
      </p:sp>
      <p:sp>
        <p:nvSpPr>
          <p:cNvPr id="9" name="ZoneTexte 8">
            <a:extLst>
              <a:ext uri="{FF2B5EF4-FFF2-40B4-BE49-F238E27FC236}">
                <a16:creationId xmlns:a16="http://schemas.microsoft.com/office/drawing/2014/main" id="{8B82EE82-1B00-94DA-942E-DD1FD4FEB7F5}"/>
              </a:ext>
            </a:extLst>
          </p:cNvPr>
          <p:cNvSpPr txBox="1"/>
          <p:nvPr/>
        </p:nvSpPr>
        <p:spPr>
          <a:xfrm>
            <a:off x="296617" y="5387826"/>
            <a:ext cx="11598765" cy="892552"/>
          </a:xfrm>
          <a:prstGeom prst="rect">
            <a:avLst/>
          </a:prstGeom>
          <a:noFill/>
        </p:spPr>
        <p:txBody>
          <a:bodyPr wrap="square" rtlCol="0">
            <a:spAutoFit/>
          </a:bodyPr>
          <a:lstStyle/>
          <a:p>
            <a:r>
              <a:rPr lang="fr-FR" sz="1200">
                <a:solidFill>
                  <a:schemeClr val="tx1">
                    <a:lumMod val="50000"/>
                  </a:schemeClr>
                </a:solidFill>
                <a:latin typeface="Arial"/>
              </a:rPr>
              <a:t>La liste des </a:t>
            </a:r>
            <a:r>
              <a:rPr lang="fr-FR" sz="1200" b="1">
                <a:solidFill>
                  <a:schemeClr val="bg2"/>
                </a:solidFill>
                <a:latin typeface="Arial"/>
              </a:rPr>
              <a:t>connecteurs autorisés par défaut </a:t>
            </a:r>
            <a:r>
              <a:rPr lang="fr-FR" sz="1200">
                <a:solidFill>
                  <a:schemeClr val="tx1">
                    <a:lumMod val="50000"/>
                  </a:schemeClr>
                </a:solidFill>
                <a:latin typeface="Arial"/>
              </a:rPr>
              <a:t>dans le cadre de la stratégie de sécurité de l’offre Power Platform chez Crédit Agricole. Il est possible d’appliquer une DLP différente sur chaque environnement. Pour voir le processus de demande d’ajout d’un connecteur, merci de vous consulter le document </a:t>
            </a:r>
            <a:r>
              <a:rPr lang="fr-FR" sz="1200" i="1">
                <a:solidFill>
                  <a:schemeClr val="tx1">
                    <a:lumMod val="50000"/>
                  </a:schemeClr>
                </a:solidFill>
                <a:latin typeface="Arial"/>
              </a:rPr>
              <a:t>« 202309 - Power Platform - Formalisation des processus »  </a:t>
            </a:r>
          </a:p>
          <a:p>
            <a:pPr algn="ctr"/>
            <a:r>
              <a:rPr lang="fr-FR" sz="1600">
                <a:solidFill>
                  <a:schemeClr val="tx1">
                    <a:lumMod val="50000"/>
                  </a:schemeClr>
                </a:solidFill>
                <a:latin typeface="Arial"/>
              </a:rPr>
              <a:t>   </a:t>
            </a:r>
          </a:p>
        </p:txBody>
      </p:sp>
      <p:graphicFrame>
        <p:nvGraphicFramePr>
          <p:cNvPr id="11" name="Tableau 10">
            <a:extLst>
              <a:ext uri="{FF2B5EF4-FFF2-40B4-BE49-F238E27FC236}">
                <a16:creationId xmlns:a16="http://schemas.microsoft.com/office/drawing/2014/main" id="{30717E25-03CB-437E-249D-6F99111B9FA4}"/>
              </a:ext>
            </a:extLst>
          </p:cNvPr>
          <p:cNvGraphicFramePr>
            <a:graphicFrameLocks noGrp="1"/>
          </p:cNvGraphicFramePr>
          <p:nvPr>
            <p:extLst>
              <p:ext uri="{D42A27DB-BD31-4B8C-83A1-F6EECF244321}">
                <p14:modId xmlns:p14="http://schemas.microsoft.com/office/powerpoint/2010/main" val="3894503340"/>
              </p:ext>
            </p:extLst>
          </p:nvPr>
        </p:nvGraphicFramePr>
        <p:xfrm>
          <a:off x="4651329" y="747724"/>
          <a:ext cx="2045985" cy="4500920"/>
        </p:xfrm>
        <a:graphic>
          <a:graphicData uri="http://schemas.openxmlformats.org/drawingml/2006/table">
            <a:tbl>
              <a:tblPr/>
              <a:tblGrid>
                <a:gridCol w="2045985">
                  <a:extLst>
                    <a:ext uri="{9D8B030D-6E8A-4147-A177-3AD203B41FA5}">
                      <a16:colId xmlns:a16="http://schemas.microsoft.com/office/drawing/2014/main" val="229421542"/>
                    </a:ext>
                  </a:extLst>
                </a:gridCol>
              </a:tblGrid>
              <a:tr h="238802">
                <a:tc>
                  <a:txBody>
                    <a:bodyPr/>
                    <a:lstStyle/>
                    <a:p>
                      <a:pPr algn="l" fontAlgn="base"/>
                      <a:r>
                        <a:rPr lang="fr-FR" sz="1200" b="0" i="0" err="1">
                          <a:solidFill>
                            <a:srgbClr val="707173"/>
                          </a:solidFill>
                          <a:effectLst/>
                          <a:latin typeface="Arial" panose="020B0604020202020204" pitchFamily="34" charset="0"/>
                        </a:rPr>
                        <a:t>Approvals</a:t>
                      </a:r>
                      <a:r>
                        <a:rPr lang="fr-FR" sz="1200" b="0" i="0">
                          <a:solidFill>
                            <a:srgbClr val="707173"/>
                          </a:solidFill>
                          <a:effectLst/>
                          <a:latin typeface="Arial" panose="020B0604020202020204" pitchFamily="34" charset="0"/>
                        </a:rPr>
                        <a:t>​</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737708"/>
                  </a:ext>
                </a:extLst>
              </a:tr>
              <a:tr h="238802">
                <a:tc>
                  <a:txBody>
                    <a:bodyPr/>
                    <a:lstStyle/>
                    <a:p>
                      <a:pPr algn="l" fontAlgn="base"/>
                      <a:r>
                        <a:rPr lang="fr-FR" sz="1200" b="0" i="0">
                          <a:solidFill>
                            <a:srgbClr val="707173"/>
                          </a:solidFill>
                          <a:effectLst/>
                          <a:latin typeface="Arial" panose="020B0604020202020204" pitchFamily="34" charset="0"/>
                        </a:rPr>
                        <a:t>Azure AD​</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07132"/>
                  </a:ext>
                </a:extLst>
              </a:tr>
              <a:tr h="396364">
                <a:tc>
                  <a:txBody>
                    <a:bodyPr/>
                    <a:lstStyle/>
                    <a:p>
                      <a:pPr algn="l" fontAlgn="base"/>
                      <a:r>
                        <a:rPr lang="fr-FR" sz="1200" b="0" i="0" err="1">
                          <a:solidFill>
                            <a:srgbClr val="707173"/>
                          </a:solidFill>
                          <a:effectLst/>
                          <a:latin typeface="Arial" panose="020B0604020202020204" pitchFamily="34" charset="0"/>
                        </a:rPr>
                        <a:t>Cards</a:t>
                      </a:r>
                      <a:r>
                        <a:rPr lang="fr-FR" sz="1200" b="0" i="0">
                          <a:solidFill>
                            <a:srgbClr val="707173"/>
                          </a:solidFill>
                          <a:effectLst/>
                          <a:latin typeface="Arial" panose="020B0604020202020204" pitchFamily="34" charset="0"/>
                        </a:rPr>
                        <a:t> for Power Apps​</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7128885"/>
                  </a:ext>
                </a:extLst>
              </a:tr>
              <a:tr h="238802">
                <a:tc>
                  <a:txBody>
                    <a:bodyPr/>
                    <a:lstStyle/>
                    <a:p>
                      <a:pPr algn="l" fontAlgn="base"/>
                      <a:r>
                        <a:rPr lang="fr-FR" sz="1200" b="0" i="0">
                          <a:solidFill>
                            <a:srgbClr val="707173"/>
                          </a:solidFill>
                          <a:effectLst/>
                          <a:latin typeface="Arial" panose="020B0604020202020204" pitchFamily="34" charset="0"/>
                        </a:rPr>
                        <a:t>Defender for Cloud Apps​</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6452241"/>
                  </a:ext>
                </a:extLst>
              </a:tr>
              <a:tr h="398461">
                <a:tc>
                  <a:txBody>
                    <a:bodyPr/>
                    <a:lstStyle/>
                    <a:p>
                      <a:pPr algn="l" fontAlgn="base"/>
                      <a:r>
                        <a:rPr lang="fr-FR" sz="1200" b="0" i="0">
                          <a:solidFill>
                            <a:srgbClr val="707173"/>
                          </a:solidFill>
                          <a:effectLst/>
                          <a:latin typeface="Arial" panose="020B0604020202020204" pitchFamily="34" charset="0"/>
                        </a:rPr>
                        <a:t>Dynamics 365 Customer Voice​</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3430737"/>
                  </a:ext>
                </a:extLst>
              </a:tr>
              <a:tr h="238802">
                <a:tc>
                  <a:txBody>
                    <a:bodyPr/>
                    <a:lstStyle/>
                    <a:p>
                      <a:pPr algn="l" fontAlgn="base"/>
                      <a:r>
                        <a:rPr lang="fr-FR" sz="1200" b="0" i="0">
                          <a:solidFill>
                            <a:srgbClr val="707173"/>
                          </a:solidFill>
                          <a:effectLst/>
                          <a:latin typeface="Arial" panose="020B0604020202020204" pitchFamily="34" charset="0"/>
                        </a:rPr>
                        <a:t>Excel​</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3091727"/>
                  </a:ext>
                </a:extLst>
              </a:tr>
              <a:tr h="238802">
                <a:tc>
                  <a:txBody>
                    <a:bodyPr/>
                    <a:lstStyle/>
                    <a:p>
                      <a:pPr algn="l" fontAlgn="base"/>
                      <a:r>
                        <a:rPr lang="fr-FR" sz="1200" b="0" i="0">
                          <a:solidFill>
                            <a:srgbClr val="707173"/>
                          </a:solidFill>
                          <a:effectLst/>
                          <a:latin typeface="Arial" panose="020B0604020202020204" pitchFamily="34" charset="0"/>
                        </a:rPr>
                        <a:t>Excel Online (Business)​</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8319065"/>
                  </a:ext>
                </a:extLst>
              </a:tr>
              <a:tr h="238802">
                <a:tc>
                  <a:txBody>
                    <a:bodyPr/>
                    <a:lstStyle/>
                    <a:p>
                      <a:pPr algn="l" fontAlgn="base"/>
                      <a:r>
                        <a:rPr lang="fr-FR" sz="1200" b="0" i="0">
                          <a:solidFill>
                            <a:srgbClr val="707173"/>
                          </a:solidFill>
                          <a:effectLst/>
                          <a:latin typeface="Arial" panose="020B0604020202020204" pitchFamily="34" charset="0"/>
                        </a:rPr>
                        <a:t>Excel Online (OneDrive)​</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8827448"/>
                  </a:ext>
                </a:extLst>
              </a:tr>
              <a:tr h="238802">
                <a:tc>
                  <a:txBody>
                    <a:bodyPr/>
                    <a:lstStyle/>
                    <a:p>
                      <a:pPr algn="l" fontAlgn="base"/>
                      <a:r>
                        <a:rPr lang="fr-FR" sz="1200" b="0" i="0" err="1">
                          <a:solidFill>
                            <a:srgbClr val="707173"/>
                          </a:solidFill>
                          <a:effectLst/>
                          <a:latin typeface="Arial" panose="020B0604020202020204" pitchFamily="34" charset="0"/>
                        </a:rPr>
                        <a:t>Form</a:t>
                      </a:r>
                      <a:r>
                        <a:rPr lang="fr-FR" sz="1200" b="0" i="0">
                          <a:solidFill>
                            <a:srgbClr val="707173"/>
                          </a:solidFill>
                          <a:effectLst/>
                          <a:latin typeface="Arial" panose="020B0604020202020204" pitchFamily="34" charset="0"/>
                        </a:rPr>
                        <a:t> Recognizer​</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0064120"/>
                  </a:ext>
                </a:extLst>
              </a:tr>
              <a:tr h="398461">
                <a:tc>
                  <a:txBody>
                    <a:bodyPr/>
                    <a:lstStyle/>
                    <a:p>
                      <a:pPr algn="l" fontAlgn="base"/>
                      <a:r>
                        <a:rPr lang="fr-FR" sz="1200" b="0" i="0">
                          <a:solidFill>
                            <a:srgbClr val="707173"/>
                          </a:solidFill>
                          <a:effectLst/>
                          <a:latin typeface="Arial" panose="020B0604020202020204" pitchFamily="34" charset="0"/>
                        </a:rPr>
                        <a:t>Microsoft 365 message center​</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2178487"/>
                  </a:ext>
                </a:extLst>
              </a:tr>
              <a:tr h="238802">
                <a:tc>
                  <a:txBody>
                    <a:bodyPr/>
                    <a:lstStyle/>
                    <a:p>
                      <a:pPr algn="l" fontAlgn="base"/>
                      <a:r>
                        <a:rPr lang="fr-FR" sz="1200" b="0" i="0">
                          <a:solidFill>
                            <a:srgbClr val="707173"/>
                          </a:solidFill>
                          <a:effectLst/>
                          <a:latin typeface="Arial" panose="020B0604020202020204" pitchFamily="34" charset="0"/>
                        </a:rPr>
                        <a:t>Microsoft </a:t>
                      </a:r>
                      <a:r>
                        <a:rPr lang="fr-FR" sz="1200" b="0" i="0" err="1">
                          <a:solidFill>
                            <a:srgbClr val="707173"/>
                          </a:solidFill>
                          <a:effectLst/>
                          <a:latin typeface="Arial" panose="020B0604020202020204" pitchFamily="34" charset="0"/>
                        </a:rPr>
                        <a:t>Dataverse</a:t>
                      </a:r>
                      <a:r>
                        <a:rPr lang="fr-FR" sz="1200" b="0" i="0">
                          <a:solidFill>
                            <a:srgbClr val="707173"/>
                          </a:solidFill>
                          <a:effectLst/>
                          <a:latin typeface="Arial" panose="020B0604020202020204" pitchFamily="34" charset="0"/>
                        </a:rPr>
                        <a:t>​</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5597991"/>
                  </a:ext>
                </a:extLst>
              </a:tr>
              <a:tr h="398461">
                <a:tc>
                  <a:txBody>
                    <a:bodyPr/>
                    <a:lstStyle/>
                    <a:p>
                      <a:pPr algn="l" fontAlgn="base"/>
                      <a:r>
                        <a:rPr lang="fr-FR" sz="1200" b="0" i="0">
                          <a:solidFill>
                            <a:srgbClr val="707173"/>
                          </a:solidFill>
                          <a:effectLst/>
                          <a:latin typeface="Arial" panose="020B0604020202020204" pitchFamily="34" charset="0"/>
                        </a:rPr>
                        <a:t>Microsoft </a:t>
                      </a:r>
                      <a:r>
                        <a:rPr lang="fr-FR" sz="1200" b="0" i="0" err="1">
                          <a:solidFill>
                            <a:srgbClr val="707173"/>
                          </a:solidFill>
                          <a:effectLst/>
                          <a:latin typeface="Arial" panose="020B0604020202020204" pitchFamily="34" charset="0"/>
                        </a:rPr>
                        <a:t>Dataverse</a:t>
                      </a:r>
                      <a:r>
                        <a:rPr lang="fr-FR" sz="1200" b="0" i="0">
                          <a:solidFill>
                            <a:srgbClr val="707173"/>
                          </a:solidFill>
                          <a:effectLst/>
                          <a:latin typeface="Arial" panose="020B0604020202020204" pitchFamily="34" charset="0"/>
                        </a:rPr>
                        <a:t> (</a:t>
                      </a:r>
                      <a:r>
                        <a:rPr lang="fr-FR" sz="1200" b="0" i="0" err="1">
                          <a:solidFill>
                            <a:srgbClr val="707173"/>
                          </a:solidFill>
                          <a:effectLst/>
                          <a:latin typeface="Arial" panose="020B0604020202020204" pitchFamily="34" charset="0"/>
                        </a:rPr>
                        <a:t>legacy</a:t>
                      </a:r>
                      <a:r>
                        <a:rPr lang="fr-FR" sz="1200" b="0" i="0">
                          <a:solidFill>
                            <a:srgbClr val="707173"/>
                          </a:solidFill>
                          <a:effectLst/>
                          <a:latin typeface="Arial" panose="020B0604020202020204" pitchFamily="34" charset="0"/>
                        </a:rPr>
                        <a:t>)​</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2238920"/>
                  </a:ext>
                </a:extLst>
              </a:tr>
              <a:tr h="238802">
                <a:tc>
                  <a:txBody>
                    <a:bodyPr/>
                    <a:lstStyle/>
                    <a:p>
                      <a:pPr algn="l" fontAlgn="base"/>
                      <a:r>
                        <a:rPr lang="fr-FR" sz="1200" b="0" i="0">
                          <a:solidFill>
                            <a:srgbClr val="707173"/>
                          </a:solidFill>
                          <a:effectLst/>
                          <a:latin typeface="Arial" panose="020B0604020202020204" pitchFamily="34" charset="0"/>
                        </a:rPr>
                        <a:t>Microsoft Forms​</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79801"/>
                  </a:ext>
                </a:extLst>
              </a:tr>
              <a:tr h="238802">
                <a:tc>
                  <a:txBody>
                    <a:bodyPr/>
                    <a:lstStyle/>
                    <a:p>
                      <a:pPr algn="l" fontAlgn="base"/>
                      <a:r>
                        <a:rPr lang="fr-FR" sz="1200" b="0" i="0">
                          <a:solidFill>
                            <a:srgbClr val="707173"/>
                          </a:solidFill>
                          <a:effectLst/>
                          <a:latin typeface="Arial" panose="020B0604020202020204" pitchFamily="34" charset="0"/>
                        </a:rPr>
                        <a:t>Microsoft </a:t>
                      </a:r>
                      <a:r>
                        <a:rPr lang="fr-FR" sz="1200" b="0" i="0" err="1">
                          <a:solidFill>
                            <a:srgbClr val="707173"/>
                          </a:solidFill>
                          <a:effectLst/>
                          <a:latin typeface="Arial" panose="020B0604020202020204" pitchFamily="34" charset="0"/>
                        </a:rPr>
                        <a:t>StaffHub</a:t>
                      </a:r>
                      <a:r>
                        <a:rPr lang="fr-FR" sz="1200" b="0" i="0">
                          <a:solidFill>
                            <a:srgbClr val="707173"/>
                          </a:solidFill>
                          <a:effectLst/>
                          <a:latin typeface="Arial" panose="020B0604020202020204" pitchFamily="34" charset="0"/>
                        </a:rPr>
                        <a:t>​</a:t>
                      </a:r>
                      <a:endParaRPr lang="fr-FR" sz="1800" b="0" i="0">
                        <a:solidFill>
                          <a:srgbClr val="707173"/>
                        </a:solidFill>
                        <a:effectLst/>
                      </a:endParaRP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94301232"/>
                  </a:ext>
                </a:extLst>
              </a:tr>
            </a:tbl>
          </a:graphicData>
        </a:graphic>
      </p:graphicFrame>
      <p:sp>
        <p:nvSpPr>
          <p:cNvPr id="16" name="Rectangle 1">
            <a:extLst>
              <a:ext uri="{FF2B5EF4-FFF2-40B4-BE49-F238E27FC236}">
                <a16:creationId xmlns:a16="http://schemas.microsoft.com/office/drawing/2014/main" id="{2F7DD276-37B4-3317-BE2E-D05AE2C3CA22}"/>
              </a:ext>
            </a:extLst>
          </p:cNvPr>
          <p:cNvSpPr>
            <a:spLocks noChangeArrowheads="1"/>
          </p:cNvSpPr>
          <p:nvPr/>
        </p:nvSpPr>
        <p:spPr bwMode="auto">
          <a:xfrm>
            <a:off x="8111715" y="161784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fr-FR" altLang="fr-FR"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graphicFrame>
        <p:nvGraphicFramePr>
          <p:cNvPr id="18" name="Tableau 17">
            <a:extLst>
              <a:ext uri="{FF2B5EF4-FFF2-40B4-BE49-F238E27FC236}">
                <a16:creationId xmlns:a16="http://schemas.microsoft.com/office/drawing/2014/main" id="{554873E0-1956-B293-B516-1D252C996C8C}"/>
              </a:ext>
            </a:extLst>
          </p:cNvPr>
          <p:cNvGraphicFramePr>
            <a:graphicFrameLocks noGrp="1"/>
          </p:cNvGraphicFramePr>
          <p:nvPr>
            <p:extLst>
              <p:ext uri="{D42A27DB-BD31-4B8C-83A1-F6EECF244321}">
                <p14:modId xmlns:p14="http://schemas.microsoft.com/office/powerpoint/2010/main" val="3516275259"/>
              </p:ext>
            </p:extLst>
          </p:nvPr>
        </p:nvGraphicFramePr>
        <p:xfrm>
          <a:off x="6863367" y="747724"/>
          <a:ext cx="2047635" cy="3960160"/>
        </p:xfrm>
        <a:graphic>
          <a:graphicData uri="http://schemas.openxmlformats.org/drawingml/2006/table">
            <a:tbl>
              <a:tblPr/>
              <a:tblGrid>
                <a:gridCol w="2047635">
                  <a:extLst>
                    <a:ext uri="{9D8B030D-6E8A-4147-A177-3AD203B41FA5}">
                      <a16:colId xmlns:a16="http://schemas.microsoft.com/office/drawing/2014/main" val="229421542"/>
                    </a:ext>
                  </a:extLst>
                </a:gridCol>
              </a:tblGrid>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Microsoft Teams</a:t>
                      </a: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096924"/>
                  </a:ext>
                </a:extLst>
              </a:tr>
              <a:tr h="238802">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fr-FR" sz="1200" b="0" i="0" kern="1200">
                          <a:solidFill>
                            <a:srgbClr val="707173"/>
                          </a:solidFill>
                          <a:effectLst/>
                          <a:latin typeface="Arial" panose="020B0604020202020204" pitchFamily="34" charset="0"/>
                          <a:ea typeface="+mn-ea"/>
                          <a:cs typeface="+mn-cs"/>
                        </a:rPr>
                        <a:t>Microsoft To-Do (Business)</a:t>
                      </a: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8194891"/>
                  </a:ext>
                </a:extLst>
              </a:tr>
              <a:tr h="238802">
                <a:tc>
                  <a:txBody>
                    <a:bodyPr/>
                    <a:lstStyle/>
                    <a:p>
                      <a:pPr algn="l" fontAlgn="base"/>
                      <a:r>
                        <a:rPr lang="fr-FR" sz="1200" b="0" i="0" kern="1200">
                          <a:solidFill>
                            <a:srgbClr val="707173"/>
                          </a:solidFill>
                          <a:effectLst/>
                          <a:latin typeface="Arial" panose="020B0604020202020204" pitchFamily="34" charset="0"/>
                          <a:ea typeface="+mn-ea"/>
                          <a:cs typeface="+mn-cs"/>
                        </a:rPr>
                        <a:t>Notifications</a:t>
                      </a:r>
                    </a:p>
                  </a:txBody>
                  <a:tcPr marL="90653" marR="90653" marT="45326" marB="453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1345268"/>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ffice 365 Grou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7982317"/>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ffice 365 Groups Ma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8835907"/>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ffice 365 Outloo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9791393"/>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ffice 365 </a:t>
                      </a:r>
                      <a:r>
                        <a:rPr lang="fr-FR" sz="1200" b="0" i="0" kern="1200" err="1">
                          <a:solidFill>
                            <a:srgbClr val="707173"/>
                          </a:solidFill>
                          <a:effectLst/>
                          <a:latin typeface="Arial" panose="020B0604020202020204" pitchFamily="34" charset="0"/>
                          <a:ea typeface="+mn-ea"/>
                          <a:cs typeface="+mn-cs"/>
                        </a:rPr>
                        <a:t>Users</a:t>
                      </a:r>
                      <a:r>
                        <a:rPr lang="fr-FR" sz="1200" b="0" i="0" kern="1200">
                          <a:solidFill>
                            <a:srgbClr val="707173"/>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0629251"/>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ffice 365 </a:t>
                      </a:r>
                      <a:r>
                        <a:rPr lang="fr-FR" sz="1200" b="0" i="0" kern="1200" err="1">
                          <a:solidFill>
                            <a:srgbClr val="707173"/>
                          </a:solidFill>
                          <a:effectLst/>
                          <a:latin typeface="Arial" panose="020B0604020202020204" pitchFamily="34" charset="0"/>
                          <a:ea typeface="+mn-ea"/>
                          <a:cs typeface="+mn-cs"/>
                        </a:rPr>
                        <a:t>Video</a:t>
                      </a:r>
                      <a:r>
                        <a:rPr lang="fr-FR" sz="1200" b="0" i="0" kern="1200">
                          <a:solidFill>
                            <a:srgbClr val="707173"/>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1853172"/>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neDrive for Busi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5428951"/>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neNote (Busi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3760016"/>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Outlook </a:t>
                      </a:r>
                      <a:r>
                        <a:rPr lang="fr-FR" sz="1200" b="0" i="0" kern="1200" err="1">
                          <a:solidFill>
                            <a:srgbClr val="707173"/>
                          </a:solidFill>
                          <a:effectLst/>
                          <a:latin typeface="Arial" panose="020B0604020202020204" pitchFamily="34" charset="0"/>
                          <a:ea typeface="+mn-ea"/>
                          <a:cs typeface="+mn-cs"/>
                        </a:rPr>
                        <a:t>Tasks</a:t>
                      </a:r>
                      <a:r>
                        <a:rPr lang="fr-FR" sz="1200" b="0" i="0" kern="1200">
                          <a:solidFill>
                            <a:srgbClr val="707173"/>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4837935"/>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Plann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737708"/>
                  </a:ext>
                </a:extLst>
              </a:tr>
              <a:tr h="238802">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Power Apps for Admi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07132"/>
                  </a:ext>
                </a:extLst>
              </a:tr>
              <a:tr h="396364">
                <a:tc>
                  <a:txBody>
                    <a:bodyPr/>
                    <a:lstStyle/>
                    <a:p>
                      <a:pPr marL="0" algn="l" defTabSz="914400" rtl="0" eaLnBrk="1" fontAlgn="base" latinLnBrk="0" hangingPunct="1"/>
                      <a:r>
                        <a:rPr lang="fr-FR" sz="1200" b="0" i="0" kern="1200">
                          <a:solidFill>
                            <a:srgbClr val="707173"/>
                          </a:solidFill>
                          <a:effectLst/>
                          <a:latin typeface="Arial" panose="020B0604020202020204" pitchFamily="34" charset="0"/>
                          <a:ea typeface="+mn-ea"/>
                          <a:cs typeface="+mn-cs"/>
                        </a:rPr>
                        <a:t>Power Apps for </a:t>
                      </a:r>
                      <a:r>
                        <a:rPr lang="fr-FR" sz="1200" b="0" i="0" kern="1200" err="1">
                          <a:solidFill>
                            <a:srgbClr val="707173"/>
                          </a:solidFill>
                          <a:effectLst/>
                          <a:latin typeface="Arial" panose="020B0604020202020204" pitchFamily="34" charset="0"/>
                          <a:ea typeface="+mn-ea"/>
                          <a:cs typeface="+mn-cs"/>
                        </a:rPr>
                        <a:t>Makers</a:t>
                      </a:r>
                      <a:r>
                        <a:rPr lang="fr-FR" sz="1200" b="0" i="0" kern="1200">
                          <a:solidFill>
                            <a:srgbClr val="707173"/>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7128885"/>
                  </a:ext>
                </a:extLst>
              </a:tr>
            </a:tbl>
          </a:graphicData>
        </a:graphic>
      </p:graphicFrame>
      <p:graphicFrame>
        <p:nvGraphicFramePr>
          <p:cNvPr id="19" name="Tableau 18">
            <a:extLst>
              <a:ext uri="{FF2B5EF4-FFF2-40B4-BE49-F238E27FC236}">
                <a16:creationId xmlns:a16="http://schemas.microsoft.com/office/drawing/2014/main" id="{28818E17-57D2-AD36-7486-F4C9041136C8}"/>
              </a:ext>
            </a:extLst>
          </p:cNvPr>
          <p:cNvGraphicFramePr>
            <a:graphicFrameLocks noGrp="1"/>
          </p:cNvGraphicFramePr>
          <p:nvPr>
            <p:extLst>
              <p:ext uri="{D42A27DB-BD31-4B8C-83A1-F6EECF244321}">
                <p14:modId xmlns:p14="http://schemas.microsoft.com/office/powerpoint/2010/main" val="2995928821"/>
              </p:ext>
            </p:extLst>
          </p:nvPr>
        </p:nvGraphicFramePr>
        <p:xfrm>
          <a:off x="9077055" y="741514"/>
          <a:ext cx="2047635" cy="4297680"/>
        </p:xfrm>
        <a:graphic>
          <a:graphicData uri="http://schemas.openxmlformats.org/drawingml/2006/table">
            <a:tbl>
              <a:tblPr/>
              <a:tblGrid>
                <a:gridCol w="2047635">
                  <a:extLst>
                    <a:ext uri="{9D8B030D-6E8A-4147-A177-3AD203B41FA5}">
                      <a16:colId xmlns:a16="http://schemas.microsoft.com/office/drawing/2014/main" val="229421542"/>
                    </a:ext>
                  </a:extLst>
                </a:gridCol>
              </a:tblGrid>
              <a:tr h="238802">
                <a:tc>
                  <a:txBody>
                    <a:bodyPr/>
                    <a:lstStyle/>
                    <a:p>
                      <a:pPr algn="l" fontAlgn="base"/>
                      <a:r>
                        <a:rPr lang="fr-FR" sz="1200" b="0" i="0" dirty="0">
                          <a:solidFill>
                            <a:srgbClr val="707173"/>
                          </a:solidFill>
                          <a:effectLst/>
                          <a:latin typeface="Arial"/>
                        </a:rPr>
                        <a:t>Power Apps Notification​</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8096924"/>
                  </a:ext>
                </a:extLst>
              </a:tr>
              <a:tr h="238802">
                <a:tc>
                  <a:txBody>
                    <a:bodyPr/>
                    <a:lstStyle/>
                    <a:p>
                      <a:pPr algn="l" fontAlgn="base"/>
                      <a:r>
                        <a:rPr lang="fr-FR" sz="1200" b="0" i="0" dirty="0">
                          <a:solidFill>
                            <a:srgbClr val="707173"/>
                          </a:solidFill>
                          <a:effectLst/>
                          <a:latin typeface="Arial"/>
                        </a:rPr>
                        <a:t>Power Apps Notification V2​</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8194891"/>
                  </a:ext>
                </a:extLst>
              </a:tr>
              <a:tr h="238802">
                <a:tc>
                  <a:txBody>
                    <a:bodyPr/>
                    <a:lstStyle/>
                    <a:p>
                      <a:pPr algn="l" fontAlgn="base"/>
                      <a:r>
                        <a:rPr lang="fr-FR" sz="1200" b="0" i="0" dirty="0">
                          <a:solidFill>
                            <a:srgbClr val="707173"/>
                          </a:solidFill>
                          <a:effectLst/>
                          <a:latin typeface="Arial"/>
                        </a:rPr>
                        <a:t>Power Automate for Admins​</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1345268"/>
                  </a:ext>
                </a:extLst>
              </a:tr>
              <a:tr h="238802">
                <a:tc>
                  <a:txBody>
                    <a:bodyPr/>
                    <a:lstStyle/>
                    <a:p>
                      <a:pPr algn="l" fontAlgn="base"/>
                      <a:r>
                        <a:rPr lang="fr-FR" sz="1200" b="0" i="0" dirty="0">
                          <a:solidFill>
                            <a:srgbClr val="707173"/>
                          </a:solidFill>
                          <a:effectLst/>
                          <a:latin typeface="Arial"/>
                        </a:rPr>
                        <a:t>Power Automate Management​</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7982317"/>
                  </a:ext>
                </a:extLst>
              </a:tr>
              <a:tr h="238802">
                <a:tc>
                  <a:txBody>
                    <a:bodyPr/>
                    <a:lstStyle/>
                    <a:p>
                      <a:pPr algn="l" fontAlgn="base"/>
                      <a:r>
                        <a:rPr lang="fr-FR" sz="1200" b="0" i="0" dirty="0">
                          <a:solidFill>
                            <a:srgbClr val="707173"/>
                          </a:solidFill>
                          <a:effectLst/>
                          <a:latin typeface="Arial"/>
                        </a:rPr>
                        <a:t>Power BI​</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8835907"/>
                  </a:ext>
                </a:extLst>
              </a:tr>
              <a:tr h="238802">
                <a:tc>
                  <a:txBody>
                    <a:bodyPr/>
                    <a:lstStyle/>
                    <a:p>
                      <a:pPr algn="l" fontAlgn="base"/>
                      <a:r>
                        <a:rPr lang="fr-FR" sz="1200" b="0" i="0" dirty="0">
                          <a:solidFill>
                            <a:srgbClr val="707173"/>
                          </a:solidFill>
                          <a:effectLst/>
                          <a:latin typeface="Arial"/>
                        </a:rPr>
                        <a:t>Power Platform for Admins​</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9791393"/>
                  </a:ext>
                </a:extLst>
              </a:tr>
              <a:tr h="246749">
                <a:tc>
                  <a:txBody>
                    <a:bodyPr/>
                    <a:lstStyle/>
                    <a:p>
                      <a:pPr algn="l" fontAlgn="base"/>
                      <a:r>
                        <a:rPr lang="fr-FR" sz="1200" b="0" i="0" dirty="0">
                          <a:solidFill>
                            <a:srgbClr val="707173"/>
                          </a:solidFill>
                          <a:effectLst/>
                          <a:latin typeface="Arial"/>
                        </a:rPr>
                        <a:t>Power </a:t>
                      </a:r>
                      <a:r>
                        <a:rPr lang="fr-FR" sz="1200" b="0" i="0" dirty="0" err="1">
                          <a:solidFill>
                            <a:srgbClr val="707173"/>
                          </a:solidFill>
                          <a:effectLst/>
                          <a:latin typeface="Arial"/>
                        </a:rPr>
                        <a:t>Query</a:t>
                      </a:r>
                      <a:r>
                        <a:rPr lang="fr-FR" sz="1200" b="0" i="0" dirty="0">
                          <a:solidFill>
                            <a:srgbClr val="707173"/>
                          </a:solidFill>
                          <a:effectLst/>
                          <a:latin typeface="Arial"/>
                        </a:rPr>
                        <a:t> </a:t>
                      </a:r>
                      <a:r>
                        <a:rPr lang="fr-FR" sz="1200" b="0" i="0" dirty="0" err="1">
                          <a:solidFill>
                            <a:srgbClr val="707173"/>
                          </a:solidFill>
                          <a:effectLst/>
                          <a:latin typeface="Arial"/>
                        </a:rPr>
                        <a:t>Dataflows</a:t>
                      </a:r>
                      <a:r>
                        <a:rPr lang="fr-FR" sz="1200" b="0" i="0" dirty="0">
                          <a:solidFill>
                            <a:srgbClr val="707173"/>
                          </a:solidFill>
                          <a:effectLst/>
                          <a:latin typeface="Arial"/>
                        </a:rPr>
                        <a:t>​</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0629251"/>
                  </a:ext>
                </a:extLst>
              </a:tr>
              <a:tr h="238802">
                <a:tc>
                  <a:txBody>
                    <a:bodyPr/>
                    <a:lstStyle/>
                    <a:p>
                      <a:pPr algn="l" fontAlgn="base"/>
                      <a:r>
                        <a:rPr lang="fr-FR" sz="1200" b="0" i="0" dirty="0">
                          <a:solidFill>
                            <a:srgbClr val="707173"/>
                          </a:solidFill>
                          <a:effectLst/>
                          <a:latin typeface="Arial"/>
                        </a:rPr>
                        <a:t>Project Online​</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1853172"/>
                  </a:ext>
                </a:extLst>
              </a:tr>
              <a:tr h="238802">
                <a:tc>
                  <a:txBody>
                    <a:bodyPr/>
                    <a:lstStyle/>
                    <a:p>
                      <a:pPr algn="l" fontAlgn="base"/>
                      <a:r>
                        <a:rPr lang="fr-FR" sz="1200" b="0" i="0" dirty="0">
                          <a:solidFill>
                            <a:srgbClr val="707173"/>
                          </a:solidFill>
                          <a:effectLst/>
                          <a:latin typeface="Arial"/>
                        </a:rPr>
                        <a:t>SharePoint​</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5428951"/>
                  </a:ext>
                </a:extLst>
              </a:tr>
              <a:tr h="238802">
                <a:tc>
                  <a:txBody>
                    <a:bodyPr/>
                    <a:lstStyle/>
                    <a:p>
                      <a:pPr algn="l" fontAlgn="base"/>
                      <a:r>
                        <a:rPr lang="fr-FR" sz="1200" b="0" i="0" dirty="0">
                          <a:solidFill>
                            <a:srgbClr val="707173"/>
                          </a:solidFill>
                          <a:effectLst/>
                          <a:latin typeface="Arial"/>
                        </a:rPr>
                        <a:t>Shifts for Microsoft Teams​</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3760016"/>
                  </a:ext>
                </a:extLst>
              </a:tr>
              <a:tr h="238802">
                <a:tc>
                  <a:txBody>
                    <a:bodyPr/>
                    <a:lstStyle/>
                    <a:p>
                      <a:pPr algn="l" fontAlgn="base"/>
                      <a:r>
                        <a:rPr lang="fr-FR" sz="1200" b="0" i="0" dirty="0">
                          <a:solidFill>
                            <a:srgbClr val="707173"/>
                          </a:solidFill>
                          <a:effectLst/>
                          <a:latin typeface="Arial"/>
                        </a:rPr>
                        <a:t>Skype for Business Online​</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4837935"/>
                  </a:ext>
                </a:extLst>
              </a:tr>
              <a:tr h="238802">
                <a:tc>
                  <a:txBody>
                    <a:bodyPr/>
                    <a:lstStyle/>
                    <a:p>
                      <a:pPr algn="l" fontAlgn="base"/>
                      <a:r>
                        <a:rPr lang="fr-FR" sz="1200" b="0" i="0" dirty="0">
                          <a:solidFill>
                            <a:srgbClr val="707173"/>
                          </a:solidFill>
                          <a:effectLst/>
                          <a:latin typeface="Arial"/>
                        </a:rPr>
                        <a:t>Yammer​</a:t>
                      </a:r>
                      <a:endParaRPr lang="fr-FR"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737708"/>
                  </a:ext>
                </a:extLst>
              </a:tr>
              <a:tr h="238802">
                <a:tc>
                  <a:txBody>
                    <a:bodyPr/>
                    <a:lstStyle/>
                    <a:p>
                      <a:pPr algn="l" fontAlgn="base"/>
                      <a:r>
                        <a:rPr lang="en-US" sz="1200" b="0" i="0" dirty="0">
                          <a:solidFill>
                            <a:srgbClr val="707173"/>
                          </a:solidFill>
                          <a:effectLst/>
                          <a:latin typeface="Arial"/>
                        </a:rPr>
                        <a:t>Microsoft Teams channel in Power Virtual Agents (preview)​</a:t>
                      </a:r>
                      <a:endParaRPr lang="en-US" b="0" i="0" dirty="0">
                        <a:solidFill>
                          <a:srgbClr val="707173"/>
                        </a:solidFill>
                        <a:effectLst/>
                        <a:latin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07132"/>
                  </a:ext>
                </a:extLst>
              </a:tr>
            </a:tbl>
          </a:graphicData>
        </a:graphic>
      </p:graphicFrame>
      <p:sp>
        <p:nvSpPr>
          <p:cNvPr id="10" name="Google Shape;666;p44">
            <a:extLst>
              <a:ext uri="{FF2B5EF4-FFF2-40B4-BE49-F238E27FC236}">
                <a16:creationId xmlns:a16="http://schemas.microsoft.com/office/drawing/2014/main" id="{B021AD25-61B3-8968-E8C6-9E7E2D11A78C}"/>
              </a:ext>
            </a:extLst>
          </p:cNvPr>
          <p:cNvSpPr/>
          <p:nvPr/>
        </p:nvSpPr>
        <p:spPr>
          <a:xfrm>
            <a:off x="11419772" y="147807"/>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Image 11">
            <a:extLst>
              <a:ext uri="{FF2B5EF4-FFF2-40B4-BE49-F238E27FC236}">
                <a16:creationId xmlns:a16="http://schemas.microsoft.com/office/drawing/2014/main" id="{17C183C1-C79A-2A25-00D8-37FBB7AAC9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3402" y="264824"/>
            <a:ext cx="324142" cy="324143"/>
          </a:xfrm>
          <a:prstGeom prst="rect">
            <a:avLst/>
          </a:prstGeom>
          <a:solidFill>
            <a:srgbClr val="E5C9EF"/>
          </a:solidFill>
        </p:spPr>
      </p:pic>
    </p:spTree>
    <p:extLst>
      <p:ext uri="{BB962C8B-B14F-4D97-AF65-F5344CB8AC3E}">
        <p14:creationId xmlns:p14="http://schemas.microsoft.com/office/powerpoint/2010/main" val="278627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8EC8312-638B-CA48-65FA-1B01FD16A496}"/>
              </a:ext>
            </a:extLst>
          </p:cNvPr>
          <p:cNvSpPr>
            <a:spLocks noGrp="1"/>
          </p:cNvSpPr>
          <p:nvPr>
            <p:ph type="title"/>
          </p:nvPr>
        </p:nvSpPr>
        <p:spPr>
          <a:xfrm>
            <a:off x="323905" y="186179"/>
            <a:ext cx="10800000" cy="900000"/>
          </a:xfrm>
        </p:spPr>
        <p:txBody>
          <a:bodyPr/>
          <a:lstStyle/>
          <a:p>
            <a:r>
              <a:rPr lang="fr-FR"/>
              <a:t>Focus sur le contrôle de sécurité des connecteurs</a:t>
            </a:r>
          </a:p>
        </p:txBody>
      </p:sp>
      <p:sp>
        <p:nvSpPr>
          <p:cNvPr id="3" name="Espace réservé du numéro de diapositive 2">
            <a:extLst>
              <a:ext uri="{FF2B5EF4-FFF2-40B4-BE49-F238E27FC236}">
                <a16:creationId xmlns:a16="http://schemas.microsoft.com/office/drawing/2014/main" id="{E975101F-4F60-7342-7D27-B902D006D1D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92351F68-BF4B-A281-C8C5-B7BECE69FA0D}"/>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graphicFrame>
        <p:nvGraphicFramePr>
          <p:cNvPr id="5" name="Tableau 15">
            <a:extLst>
              <a:ext uri="{FF2B5EF4-FFF2-40B4-BE49-F238E27FC236}">
                <a16:creationId xmlns:a16="http://schemas.microsoft.com/office/drawing/2014/main" id="{DEFD7BDA-5FD8-A35F-D38E-69D5DCFD4664}"/>
              </a:ext>
            </a:extLst>
          </p:cNvPr>
          <p:cNvGraphicFramePr>
            <a:graphicFrameLocks noGrp="1"/>
          </p:cNvGraphicFramePr>
          <p:nvPr>
            <p:extLst>
              <p:ext uri="{D42A27DB-BD31-4B8C-83A1-F6EECF244321}">
                <p14:modId xmlns:p14="http://schemas.microsoft.com/office/powerpoint/2010/main" val="409282605"/>
              </p:ext>
            </p:extLst>
          </p:nvPr>
        </p:nvGraphicFramePr>
        <p:xfrm>
          <a:off x="1730140" y="1635161"/>
          <a:ext cx="7987530" cy="3284996"/>
        </p:xfrm>
        <a:graphic>
          <a:graphicData uri="http://schemas.openxmlformats.org/drawingml/2006/table">
            <a:tbl>
              <a:tblPr firstRow="1" bandRow="1">
                <a:tableStyleId>{5C22544A-7EE6-4342-B048-85BDC9FD1C3A}</a:tableStyleId>
              </a:tblPr>
              <a:tblGrid>
                <a:gridCol w="2662510">
                  <a:extLst>
                    <a:ext uri="{9D8B030D-6E8A-4147-A177-3AD203B41FA5}">
                      <a16:colId xmlns:a16="http://schemas.microsoft.com/office/drawing/2014/main" val="1609831772"/>
                    </a:ext>
                  </a:extLst>
                </a:gridCol>
                <a:gridCol w="2662510">
                  <a:extLst>
                    <a:ext uri="{9D8B030D-6E8A-4147-A177-3AD203B41FA5}">
                      <a16:colId xmlns:a16="http://schemas.microsoft.com/office/drawing/2014/main" val="3654237175"/>
                    </a:ext>
                  </a:extLst>
                </a:gridCol>
                <a:gridCol w="2662510">
                  <a:extLst>
                    <a:ext uri="{9D8B030D-6E8A-4147-A177-3AD203B41FA5}">
                      <a16:colId xmlns:a16="http://schemas.microsoft.com/office/drawing/2014/main" val="60421106"/>
                    </a:ext>
                  </a:extLst>
                </a:gridCol>
              </a:tblGrid>
              <a:tr h="467680">
                <a:tc>
                  <a:txBody>
                    <a:bodyPr/>
                    <a:lstStyle/>
                    <a:p>
                      <a:pPr marL="0" algn="ctr" defTabSz="914400" rtl="0" eaLnBrk="1" latinLnBrk="0" hangingPunct="1"/>
                      <a:r>
                        <a:rPr lang="fr-FR" sz="1000" kern="1200">
                          <a:solidFill>
                            <a:schemeClr val="bg1"/>
                          </a:solidFill>
                          <a:latin typeface="+mn-lt"/>
                          <a:ea typeface="+mn-ea"/>
                          <a:cs typeface="+mn-cs"/>
                        </a:rPr>
                        <a:t>Types de connecteurs</a:t>
                      </a:r>
                    </a:p>
                  </a:txBody>
                  <a:tcPr anchor="ctr">
                    <a:lnB w="38100" cmpd="sng">
                      <a:noFill/>
                    </a:lnB>
                    <a:solidFill>
                      <a:schemeClr val="bg2"/>
                    </a:solidFill>
                  </a:tcPr>
                </a:tc>
                <a:tc>
                  <a:txBody>
                    <a:bodyPr/>
                    <a:lstStyle/>
                    <a:p>
                      <a:pPr marL="0" algn="ctr" defTabSz="914400" rtl="0" eaLnBrk="1" latinLnBrk="0" hangingPunct="1"/>
                      <a:r>
                        <a:rPr lang="fr-FR" sz="1000" kern="1200">
                          <a:solidFill>
                            <a:schemeClr val="bg1"/>
                          </a:solidFill>
                          <a:latin typeface="+mn-lt"/>
                          <a:ea typeface="+mn-ea"/>
                          <a:cs typeface="+mn-cs"/>
                        </a:rPr>
                        <a:t>Contrôle effectué</a:t>
                      </a:r>
                    </a:p>
                  </a:txBody>
                  <a:tcPr anchor="ctr">
                    <a:lnB w="38100" cmpd="sng">
                      <a:noFill/>
                    </a:lnB>
                    <a:solidFill>
                      <a:schemeClr val="bg2"/>
                    </a:solidFill>
                  </a:tcPr>
                </a:tc>
                <a:tc>
                  <a:txBody>
                    <a:bodyPr/>
                    <a:lstStyle/>
                    <a:p>
                      <a:pPr marL="0" algn="ctr" defTabSz="914400" rtl="0" eaLnBrk="1" latinLnBrk="0" hangingPunct="1"/>
                      <a:r>
                        <a:rPr lang="fr-FR" sz="1000" kern="1200">
                          <a:solidFill>
                            <a:schemeClr val="bg1"/>
                          </a:solidFill>
                          <a:latin typeface="+mn-lt"/>
                          <a:ea typeface="+mn-ea"/>
                          <a:cs typeface="+mn-cs"/>
                        </a:rPr>
                        <a:t>Exemple</a:t>
                      </a:r>
                    </a:p>
                  </a:txBody>
                  <a:tcPr anchor="ctr">
                    <a:lnB w="38100" cmpd="sng">
                      <a:noFill/>
                    </a:lnB>
                    <a:solidFill>
                      <a:schemeClr val="bg2"/>
                    </a:solidFill>
                  </a:tcPr>
                </a:tc>
                <a:extLst>
                  <a:ext uri="{0D108BD9-81ED-4DB2-BD59-A6C34878D82A}">
                    <a16:rowId xmlns:a16="http://schemas.microsoft.com/office/drawing/2014/main" val="3455565945"/>
                  </a:ext>
                </a:extLst>
              </a:tr>
              <a:tr h="805636">
                <a:tc>
                  <a:txBody>
                    <a:bodyPr/>
                    <a:lstStyle/>
                    <a:p>
                      <a:r>
                        <a:rPr lang="fr-FR" sz="1100" b="1" kern="1200">
                          <a:solidFill>
                            <a:schemeClr val="dk1"/>
                          </a:solidFill>
                          <a:latin typeface="+mn-lt"/>
                          <a:ea typeface="+mn-ea"/>
                          <a:cs typeface="+mn-cs"/>
                        </a:rPr>
                        <a:t>Intern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fr-FR" sz="1000" kern="1200">
                          <a:solidFill>
                            <a:schemeClr val="dk1"/>
                          </a:solidFill>
                          <a:latin typeface="+mn-lt"/>
                          <a:ea typeface="+mn-ea"/>
                          <a:cs typeface="+mn-cs"/>
                        </a:rPr>
                        <a:t>Microsoft assure toutes les validations de sécurités pour la protection de donné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fr-FR" sz="1400" kern="1200" err="1">
                          <a:solidFill>
                            <a:schemeClr val="dk1"/>
                          </a:solidFill>
                          <a:latin typeface="+mn-lt"/>
                          <a:ea typeface="+mn-ea"/>
                          <a:cs typeface="+mn-cs"/>
                        </a:rPr>
                        <a:t>Sharepoint</a:t>
                      </a:r>
                      <a:r>
                        <a:rPr lang="fr-FR" sz="1400" kern="1200">
                          <a:solidFill>
                            <a:schemeClr val="dk1"/>
                          </a:solidFill>
                          <a:latin typeface="+mn-lt"/>
                          <a:ea typeface="+mn-ea"/>
                          <a:cs typeface="+mn-cs"/>
                        </a:rPr>
                        <a:t>, Ex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3990976"/>
                  </a:ext>
                </a:extLst>
              </a:tr>
              <a:tr h="805636">
                <a:tc>
                  <a:txBody>
                    <a:bodyPr/>
                    <a:lstStyle/>
                    <a:p>
                      <a:pPr marL="0" indent="0" algn="l">
                        <a:buFont typeface="Arial" panose="020B0604020202020204" pitchFamily="34" charset="0"/>
                        <a:buNone/>
                      </a:pPr>
                      <a:r>
                        <a:rPr lang="fr-FR" sz="1100" b="1" kern="1200">
                          <a:solidFill>
                            <a:schemeClr val="dk1"/>
                          </a:solidFill>
                          <a:latin typeface="+mn-lt"/>
                          <a:ea typeface="+mn-ea"/>
                          <a:cs typeface="+mn-cs"/>
                        </a:rPr>
                        <a:t>Extern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fr-FR" sz="1000" kern="1200">
                          <a:solidFill>
                            <a:schemeClr val="dk1"/>
                          </a:solidFill>
                          <a:latin typeface="+mn-lt"/>
                          <a:ea typeface="+mn-ea"/>
                          <a:cs typeface="+mn-cs"/>
                        </a:rPr>
                        <a:t>Vérifie les ENDPOINT (le point de terminaison)</a:t>
                      </a:r>
                    </a:p>
                    <a:p>
                      <a:pPr marL="0" indent="0" algn="l">
                        <a:buFont typeface="Arial" panose="020B0604020202020204" pitchFamily="34" charset="0"/>
                        <a:buNone/>
                      </a:pPr>
                      <a:r>
                        <a:rPr lang="fr-FR" sz="1000" kern="1200">
                          <a:solidFill>
                            <a:schemeClr val="dk1"/>
                          </a:solidFill>
                          <a:latin typeface="+mn-lt"/>
                          <a:ea typeface="+mn-ea"/>
                          <a:cs typeface="+mn-cs"/>
                        </a:rPr>
                        <a:t>Validation </a:t>
                      </a:r>
                      <a:r>
                        <a:rPr lang="fr-FR" sz="1000" kern="1200" err="1">
                          <a:solidFill>
                            <a:schemeClr val="dk1"/>
                          </a:solidFill>
                          <a:latin typeface="+mn-lt"/>
                          <a:ea typeface="+mn-ea"/>
                          <a:cs typeface="+mn-cs"/>
                        </a:rPr>
                        <a:t>swagger</a:t>
                      </a:r>
                      <a:r>
                        <a:rPr lang="fr-FR" sz="1000" kern="1200">
                          <a:solidFill>
                            <a:schemeClr val="dk1"/>
                          </a:solidFill>
                          <a:latin typeface="+mn-lt"/>
                          <a:ea typeface="+mn-ea"/>
                          <a:cs typeface="+mn-cs"/>
                        </a:rPr>
                        <a:t> </a:t>
                      </a:r>
                    </a:p>
                    <a:p>
                      <a:pPr marL="0" indent="0" algn="l">
                        <a:buFont typeface="Arial" panose="020B0604020202020204" pitchFamily="34" charset="0"/>
                        <a:buNone/>
                      </a:pPr>
                      <a:r>
                        <a:rPr lang="fr-FR" sz="1000" kern="1200">
                          <a:solidFill>
                            <a:schemeClr val="dk1"/>
                          </a:solidFill>
                          <a:latin typeface="+mn-lt"/>
                          <a:ea typeface="+mn-ea"/>
                          <a:cs typeface="+mn-cs"/>
                        </a:rPr>
                        <a:t>Validation des changements cassants</a:t>
                      </a:r>
                    </a:p>
                    <a:p>
                      <a:pPr marL="0" indent="0" algn="l">
                        <a:buFont typeface="Arial" panose="020B0604020202020204" pitchFamily="34" charset="0"/>
                        <a:buNone/>
                      </a:pPr>
                      <a:r>
                        <a:rPr lang="fr-FR" sz="1000" kern="1200">
                          <a:solidFill>
                            <a:schemeClr val="dk1"/>
                          </a:solidFill>
                          <a:latin typeface="+mn-lt"/>
                          <a:ea typeface="+mn-ea"/>
                          <a:cs typeface="+mn-cs"/>
                        </a:rPr>
                        <a:t>Contrôles de qualité et de vérification</a:t>
                      </a:r>
                    </a:p>
                    <a:p>
                      <a:pPr marL="0" indent="0" algn="l">
                        <a:buFont typeface="Arial" panose="020B0604020202020204" pitchFamily="34" charset="0"/>
                        <a:buNone/>
                      </a:pPr>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fr-FR" sz="1400" kern="1200">
                          <a:solidFill>
                            <a:schemeClr val="dk1"/>
                          </a:solidFill>
                          <a:latin typeface="+mn-lt"/>
                          <a:ea typeface="+mn-ea"/>
                          <a:cs typeface="+mn-cs"/>
                        </a:rPr>
                        <a:t>Salesfor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9859192"/>
                  </a:ext>
                </a:extLst>
              </a:tr>
              <a:tr h="805636">
                <a:tc>
                  <a:txBody>
                    <a:bodyPr/>
                    <a:lstStyle/>
                    <a:p>
                      <a:pPr marL="0" indent="0" algn="l">
                        <a:buFont typeface="Arial" panose="020B0604020202020204" pitchFamily="34" charset="0"/>
                        <a:buNone/>
                      </a:pPr>
                      <a:r>
                        <a:rPr lang="fr-FR" sz="1100" b="1" kern="1200">
                          <a:solidFill>
                            <a:schemeClr val="dk1"/>
                          </a:solidFill>
                          <a:latin typeface="+mn-lt"/>
                          <a:ea typeface="+mn-ea"/>
                          <a:cs typeface="+mn-cs"/>
                          <a:hlinkClick r:id="rId2"/>
                        </a:rPr>
                        <a:t>Vérifié</a:t>
                      </a:r>
                      <a:r>
                        <a:rPr lang="fr-FR" sz="1100" b="1" kern="1200">
                          <a:solidFill>
                            <a:schemeClr val="dk1"/>
                          </a:solidFill>
                          <a:latin typeface="+mn-lt"/>
                          <a:ea typeface="+mn-ea"/>
                          <a:cs typeface="+mn-cs"/>
                        </a:rPr>
                        <a:t> (non-partenaires de Microsof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fr-FR" sz="1000" kern="1200">
                          <a:solidFill>
                            <a:schemeClr val="dk1"/>
                          </a:solidFill>
                          <a:latin typeface="+mn-lt"/>
                          <a:ea typeface="+mn-ea"/>
                          <a:cs typeface="+mn-cs"/>
                        </a:rPr>
                        <a:t>Vérifie les ENDPOINT (le point de terminaison)</a:t>
                      </a:r>
                    </a:p>
                    <a:p>
                      <a:pPr marL="0" indent="0" algn="l">
                        <a:buFont typeface="Arial" panose="020B0604020202020204" pitchFamily="34" charset="0"/>
                        <a:buNone/>
                      </a:pPr>
                      <a:r>
                        <a:rPr lang="fr-FR" sz="1000" kern="1200">
                          <a:solidFill>
                            <a:schemeClr val="dk1"/>
                          </a:solidFill>
                          <a:latin typeface="+mn-lt"/>
                          <a:ea typeface="+mn-ea"/>
                          <a:cs typeface="+mn-cs"/>
                        </a:rPr>
                        <a:t>Validation </a:t>
                      </a:r>
                      <a:r>
                        <a:rPr lang="fr-FR" sz="1000" kern="1200" err="1">
                          <a:solidFill>
                            <a:schemeClr val="dk1"/>
                          </a:solidFill>
                          <a:latin typeface="+mn-lt"/>
                          <a:ea typeface="+mn-ea"/>
                          <a:cs typeface="+mn-cs"/>
                        </a:rPr>
                        <a:t>swagger</a:t>
                      </a:r>
                      <a:r>
                        <a:rPr lang="fr-FR" sz="1000" kern="1200">
                          <a:solidFill>
                            <a:schemeClr val="dk1"/>
                          </a:solidFill>
                          <a:latin typeface="+mn-lt"/>
                          <a:ea typeface="+mn-ea"/>
                          <a:cs typeface="+mn-cs"/>
                        </a:rPr>
                        <a:t> </a:t>
                      </a:r>
                    </a:p>
                    <a:p>
                      <a:pPr marL="0" indent="0" algn="l">
                        <a:buFont typeface="Arial" panose="020B0604020202020204" pitchFamily="34" charset="0"/>
                        <a:buNone/>
                      </a:pPr>
                      <a:r>
                        <a:rPr lang="fr-FR" sz="1000" kern="1200">
                          <a:solidFill>
                            <a:schemeClr val="dk1"/>
                          </a:solidFill>
                          <a:latin typeface="+mn-lt"/>
                          <a:ea typeface="+mn-ea"/>
                          <a:cs typeface="+mn-cs"/>
                        </a:rPr>
                        <a:t>Validation des changements cassants</a:t>
                      </a:r>
                    </a:p>
                    <a:p>
                      <a:pPr marL="0" indent="0" algn="l">
                        <a:buFont typeface="Arial" panose="020B0604020202020204" pitchFamily="34" charset="0"/>
                        <a:buNone/>
                      </a:pPr>
                      <a:r>
                        <a:rPr lang="fr-FR" sz="1000" kern="1200">
                          <a:solidFill>
                            <a:schemeClr val="dk1"/>
                          </a:solidFill>
                          <a:latin typeface="+mn-lt"/>
                          <a:ea typeface="+mn-ea"/>
                          <a:cs typeface="+mn-cs"/>
                        </a:rPr>
                        <a:t>Contrôles de qualité et de vérification</a:t>
                      </a:r>
                    </a:p>
                    <a:p>
                      <a:pPr marL="0" indent="0" algn="l">
                        <a:buFont typeface="Arial" panose="020B0604020202020204" pitchFamily="34" charset="0"/>
                        <a:buNone/>
                      </a:pPr>
                      <a:endParaRPr lang="fr-FR"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fr-FR" sz="1400" kern="1200">
                          <a:solidFill>
                            <a:schemeClr val="dk1"/>
                          </a:solidFill>
                          <a:latin typeface="+mn-lt"/>
                          <a:ea typeface="+mn-ea"/>
                          <a:cs typeface="+mn-cs"/>
                        </a:rPr>
                        <a:t>Adobe Creative Clou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76404"/>
                  </a:ext>
                </a:extLst>
              </a:tr>
            </a:tbl>
          </a:graphicData>
        </a:graphic>
      </p:graphicFrame>
      <p:sp>
        <p:nvSpPr>
          <p:cNvPr id="6" name="ZoneTexte 5">
            <a:extLst>
              <a:ext uri="{FF2B5EF4-FFF2-40B4-BE49-F238E27FC236}">
                <a16:creationId xmlns:a16="http://schemas.microsoft.com/office/drawing/2014/main" id="{9CD435BA-1163-B1E8-D2CF-1401DD056452}"/>
              </a:ext>
            </a:extLst>
          </p:cNvPr>
          <p:cNvSpPr txBox="1"/>
          <p:nvPr/>
        </p:nvSpPr>
        <p:spPr>
          <a:xfrm>
            <a:off x="705996" y="5301986"/>
            <a:ext cx="10987790" cy="461665"/>
          </a:xfrm>
          <a:prstGeom prst="rect">
            <a:avLst/>
          </a:prstGeom>
          <a:noFill/>
        </p:spPr>
        <p:txBody>
          <a:bodyPr wrap="square" rtlCol="0">
            <a:spAutoFit/>
          </a:bodyPr>
          <a:lstStyle/>
          <a:p>
            <a:pPr algn="ctr"/>
            <a:r>
              <a:rPr lang="fr-FR" sz="1200">
                <a:solidFill>
                  <a:schemeClr val="tx1">
                    <a:lumMod val="50000"/>
                  </a:schemeClr>
                </a:solidFill>
                <a:latin typeface="Arial"/>
              </a:rPr>
              <a:t>Chaque fois qu’un connecteur quitte l’infrastructure Microsoft, Microsoft exécute une série de contrôles de validation pour assurer la protection des données. Cependant, une fois que les données sont transférées à un service externe, c'est le fournisseur externe qui en est responsable</a:t>
            </a:r>
          </a:p>
        </p:txBody>
      </p:sp>
      <p:sp>
        <p:nvSpPr>
          <p:cNvPr id="7" name="ZoneTexte 6">
            <a:extLst>
              <a:ext uri="{FF2B5EF4-FFF2-40B4-BE49-F238E27FC236}">
                <a16:creationId xmlns:a16="http://schemas.microsoft.com/office/drawing/2014/main" id="{00C76ED9-6F6B-AF51-1F52-3662579EDE5E}"/>
              </a:ext>
            </a:extLst>
          </p:cNvPr>
          <p:cNvSpPr txBox="1"/>
          <p:nvPr/>
        </p:nvSpPr>
        <p:spPr>
          <a:xfrm>
            <a:off x="164177" y="1107816"/>
            <a:ext cx="11598765" cy="338554"/>
          </a:xfrm>
          <a:prstGeom prst="rect">
            <a:avLst/>
          </a:prstGeom>
          <a:noFill/>
        </p:spPr>
        <p:txBody>
          <a:bodyPr wrap="square" rtlCol="0">
            <a:spAutoFit/>
          </a:bodyPr>
          <a:lstStyle/>
          <a:p>
            <a:pPr algn="ctr"/>
            <a:r>
              <a:rPr lang="fr-FR" sz="1600" b="1">
                <a:solidFill>
                  <a:schemeClr val="bg2"/>
                </a:solidFill>
                <a:latin typeface="Arial"/>
              </a:rPr>
              <a:t>En fonction du type de connecteurs</a:t>
            </a:r>
            <a:r>
              <a:rPr lang="fr-FR" sz="1600">
                <a:solidFill>
                  <a:schemeClr val="tx1">
                    <a:lumMod val="50000"/>
                  </a:schemeClr>
                </a:solidFill>
                <a:latin typeface="Arial"/>
              </a:rPr>
              <a:t>, Microsoft applique une stratégie de la sécurité différente.  </a:t>
            </a:r>
          </a:p>
        </p:txBody>
      </p:sp>
      <p:sp>
        <p:nvSpPr>
          <p:cNvPr id="8" name="Google Shape;666;p44">
            <a:extLst>
              <a:ext uri="{FF2B5EF4-FFF2-40B4-BE49-F238E27FC236}">
                <a16:creationId xmlns:a16="http://schemas.microsoft.com/office/drawing/2014/main" id="{A1B67923-7732-4F04-A962-2E008ED4CFA2}"/>
              </a:ext>
            </a:extLst>
          </p:cNvPr>
          <p:cNvSpPr/>
          <p:nvPr/>
        </p:nvSpPr>
        <p:spPr>
          <a:xfrm>
            <a:off x="11419772" y="147807"/>
            <a:ext cx="551400" cy="551400"/>
          </a:xfrm>
          <a:prstGeom prst="ellipse">
            <a:avLst/>
          </a:prstGeom>
          <a:solidFill>
            <a:srgbClr val="E5C9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9" name="Image 8">
            <a:extLst>
              <a:ext uri="{FF2B5EF4-FFF2-40B4-BE49-F238E27FC236}">
                <a16:creationId xmlns:a16="http://schemas.microsoft.com/office/drawing/2014/main" id="{0D38A49F-66C2-4648-12E1-16D7C9A7CF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3402" y="264824"/>
            <a:ext cx="324142" cy="324143"/>
          </a:xfrm>
          <a:prstGeom prst="rect">
            <a:avLst/>
          </a:prstGeom>
          <a:solidFill>
            <a:srgbClr val="E5C9EF"/>
          </a:solidFill>
        </p:spPr>
      </p:pic>
    </p:spTree>
    <p:extLst>
      <p:ext uri="{BB962C8B-B14F-4D97-AF65-F5344CB8AC3E}">
        <p14:creationId xmlns:p14="http://schemas.microsoft.com/office/powerpoint/2010/main" val="4680258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4571"/>
            <a:ext cx="10800000" cy="420833"/>
          </a:xfrm>
        </p:spPr>
        <p:txBody>
          <a:bodyPr lIns="91440" tIns="45720" rIns="91440" bIns="45720" anchor="t"/>
          <a:lstStyle/>
          <a:p>
            <a:r>
              <a:rPr lang="fr-FR"/>
              <a:t>Focus sur les applications et les flux</a:t>
            </a:r>
            <a:endParaRPr lang="en-US"/>
          </a:p>
        </p:txBody>
      </p:sp>
      <p:sp>
        <p:nvSpPr>
          <p:cNvPr id="8" name="Google Shape;652;p44">
            <a:extLst>
              <a:ext uri="{FF2B5EF4-FFF2-40B4-BE49-F238E27FC236}">
                <a16:creationId xmlns:a16="http://schemas.microsoft.com/office/drawing/2014/main" id="{27B9D1CD-B86C-2555-9A19-5D342F4B3CB6}"/>
              </a:ext>
            </a:extLst>
          </p:cNvPr>
          <p:cNvSpPr txBox="1"/>
          <p:nvPr/>
        </p:nvSpPr>
        <p:spPr>
          <a:xfrm>
            <a:off x="123450" y="5935775"/>
            <a:ext cx="1797900" cy="707846"/>
          </a:xfrm>
          <a:prstGeom prst="rect">
            <a:avLst/>
          </a:prstGeom>
          <a:noFill/>
          <a:ln>
            <a:noFill/>
          </a:ln>
        </p:spPr>
        <p:txBody>
          <a:bodyPr spcFirstLastPara="1" wrap="square" lIns="87750" tIns="45700" rIns="87750" bIns="45700" anchor="t" anchorCtr="0">
            <a:spAutoFit/>
          </a:bodyPr>
          <a:lstStyle/>
          <a:p>
            <a:pPr marL="0" marR="0" lvl="0" indent="0" algn="ctr" rtl="0">
              <a:lnSpc>
                <a:spcPct val="100000"/>
              </a:lnSpc>
              <a:spcBef>
                <a:spcPts val="0"/>
              </a:spcBef>
              <a:spcAft>
                <a:spcPts val="0"/>
              </a:spcAft>
              <a:buNone/>
            </a:pPr>
            <a:r>
              <a:rPr lang="fr-FR" sz="2000" b="1">
                <a:solidFill>
                  <a:schemeClr val="bg1"/>
                </a:solidFill>
                <a:latin typeface="Arial Rounded MT Bold" panose="020F0704030504030204" pitchFamily="34" charset="0"/>
                <a:ea typeface="Caveat"/>
                <a:cs typeface="Caveat"/>
                <a:sym typeface="Caveat"/>
              </a:rPr>
              <a:t>Offre Power Platform v1</a:t>
            </a:r>
            <a:endParaRPr sz="1400" b="0" i="0" u="none" strike="noStrike" cap="none">
              <a:solidFill>
                <a:schemeClr val="bg1"/>
              </a:solidFill>
              <a:latin typeface="Arial Rounded MT Bold" panose="020F0704030504030204" pitchFamily="34" charset="0"/>
              <a:ea typeface="Arial"/>
              <a:cs typeface="Arial"/>
              <a:sym typeface="Arial"/>
            </a:endParaRPr>
          </a:p>
        </p:txBody>
      </p:sp>
      <p:sp>
        <p:nvSpPr>
          <p:cNvPr id="11" name="Google Shape;660;p44">
            <a:extLst>
              <a:ext uri="{FF2B5EF4-FFF2-40B4-BE49-F238E27FC236}">
                <a16:creationId xmlns:a16="http://schemas.microsoft.com/office/drawing/2014/main" id="{B69BAFFC-B747-7DCF-5670-06E7ACA18FC6}"/>
              </a:ext>
            </a:extLst>
          </p:cNvPr>
          <p:cNvSpPr/>
          <p:nvPr/>
        </p:nvSpPr>
        <p:spPr>
          <a:xfrm>
            <a:off x="103756" y="2065175"/>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Rectangle 36">
            <a:extLst>
              <a:ext uri="{FF2B5EF4-FFF2-40B4-BE49-F238E27FC236}">
                <a16:creationId xmlns:a16="http://schemas.microsoft.com/office/drawing/2014/main" id="{C716353E-43BB-682A-73E0-5F444E59F4B4}"/>
              </a:ext>
            </a:extLst>
          </p:cNvPr>
          <p:cNvSpPr/>
          <p:nvPr/>
        </p:nvSpPr>
        <p:spPr>
          <a:xfrm>
            <a:off x="370193" y="735495"/>
            <a:ext cx="11048956" cy="5200280"/>
          </a:xfrm>
          <a:prstGeom prst="rect">
            <a:avLst/>
          </a:prstGeom>
          <a:solidFill>
            <a:schemeClr val="bg1">
              <a:lumMod val="95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39" name="Google Shape;660;p44">
            <a:extLst>
              <a:ext uri="{FF2B5EF4-FFF2-40B4-BE49-F238E27FC236}">
                <a16:creationId xmlns:a16="http://schemas.microsoft.com/office/drawing/2014/main" id="{9BD7B936-29A7-E2F4-7B2B-0F74CED0A1FF}"/>
              </a:ext>
            </a:extLst>
          </p:cNvPr>
          <p:cNvSpPr/>
          <p:nvPr/>
        </p:nvSpPr>
        <p:spPr>
          <a:xfrm>
            <a:off x="577593" y="1000766"/>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0" name="Picture 2" descr="Power Platform 2021 in der Übersicht">
            <a:extLst>
              <a:ext uri="{FF2B5EF4-FFF2-40B4-BE49-F238E27FC236}">
                <a16:creationId xmlns:a16="http://schemas.microsoft.com/office/drawing/2014/main" id="{12CC8892-4D86-82C7-E442-DC2D7BACD8A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37700" r="39294" b="71270"/>
          <a:stretch/>
        </p:blipFill>
        <p:spPr bwMode="auto">
          <a:xfrm>
            <a:off x="674380" y="1073892"/>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B34F7715-4E58-245D-3A28-21CCB673C293}"/>
              </a:ext>
            </a:extLst>
          </p:cNvPr>
          <p:cNvSpPr txBox="1"/>
          <p:nvPr/>
        </p:nvSpPr>
        <p:spPr>
          <a:xfrm>
            <a:off x="1290627" y="1087470"/>
            <a:ext cx="10073592" cy="369332"/>
          </a:xfrm>
          <a:prstGeom prst="rect">
            <a:avLst/>
          </a:prstGeom>
          <a:noFill/>
        </p:spPr>
        <p:txBody>
          <a:bodyPr wrap="none" rtlCol="0">
            <a:spAutoFit/>
          </a:bodyPr>
          <a:lstStyle/>
          <a:p>
            <a:r>
              <a:rPr lang="fr-FR" b="1">
                <a:latin typeface="Arial Rounded MT Bold" panose="020F0704030504030204" pitchFamily="34" charset="0"/>
              </a:rPr>
              <a:t>Une plateforme unique &amp; commune pour l’ensemble du tenant Office 365 Crédit Agricole</a:t>
            </a:r>
          </a:p>
        </p:txBody>
      </p:sp>
      <p:sp>
        <p:nvSpPr>
          <p:cNvPr id="42" name="Rectangle 41">
            <a:extLst>
              <a:ext uri="{FF2B5EF4-FFF2-40B4-BE49-F238E27FC236}">
                <a16:creationId xmlns:a16="http://schemas.microsoft.com/office/drawing/2014/main" id="{C1966E60-9923-8926-9349-5D935F131371}"/>
              </a:ext>
            </a:extLst>
          </p:cNvPr>
          <p:cNvSpPr/>
          <p:nvPr/>
        </p:nvSpPr>
        <p:spPr>
          <a:xfrm>
            <a:off x="632348" y="1859485"/>
            <a:ext cx="10618679" cy="3699272"/>
          </a:xfrm>
          <a:prstGeom prst="rect">
            <a:avLst/>
          </a:prstGeom>
          <a:solidFill>
            <a:schemeClr val="bg1">
              <a:lumMod val="85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3" name="Google Shape;666;p44">
            <a:extLst>
              <a:ext uri="{FF2B5EF4-FFF2-40B4-BE49-F238E27FC236}">
                <a16:creationId xmlns:a16="http://schemas.microsoft.com/office/drawing/2014/main" id="{5C48A492-DDB2-15F7-4BF7-D2E8FFB3F004}"/>
              </a:ext>
            </a:extLst>
          </p:cNvPr>
          <p:cNvSpPr/>
          <p:nvPr/>
        </p:nvSpPr>
        <p:spPr>
          <a:xfrm>
            <a:off x="889426" y="2359343"/>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4" name="Image 43">
            <a:extLst>
              <a:ext uri="{FF2B5EF4-FFF2-40B4-BE49-F238E27FC236}">
                <a16:creationId xmlns:a16="http://schemas.microsoft.com/office/drawing/2014/main" id="{7E4C4D0B-313F-255E-500D-4628B49A6967}"/>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1003055" y="2486101"/>
            <a:ext cx="324143" cy="324143"/>
          </a:xfrm>
          <a:prstGeom prst="rect">
            <a:avLst/>
          </a:prstGeom>
        </p:spPr>
      </p:pic>
      <p:sp>
        <p:nvSpPr>
          <p:cNvPr id="45" name="ZoneTexte 44">
            <a:extLst>
              <a:ext uri="{FF2B5EF4-FFF2-40B4-BE49-F238E27FC236}">
                <a16:creationId xmlns:a16="http://schemas.microsoft.com/office/drawing/2014/main" id="{1EEDFF83-950D-E48F-3A50-EC8335D8C3DB}"/>
              </a:ext>
            </a:extLst>
          </p:cNvPr>
          <p:cNvSpPr txBox="1"/>
          <p:nvPr/>
        </p:nvSpPr>
        <p:spPr>
          <a:xfrm>
            <a:off x="1498841" y="2307789"/>
            <a:ext cx="8637759" cy="646331"/>
          </a:xfrm>
          <a:prstGeom prst="rect">
            <a:avLst/>
          </a:prstGeom>
          <a:noFill/>
        </p:spPr>
        <p:txBody>
          <a:bodyPr wrap="square" rtlCol="0">
            <a:spAutoFit/>
          </a:bodyPr>
          <a:lstStyle/>
          <a:p>
            <a:r>
              <a:rPr lang="fr-FR" b="1">
                <a:solidFill>
                  <a:schemeClr val="bg1">
                    <a:lumMod val="75000"/>
                  </a:schemeClr>
                </a:solidFill>
                <a:latin typeface="Arial Rounded MT Bold" panose="020F0704030504030204" pitchFamily="34" charset="0"/>
              </a:rPr>
              <a:t>Qui contient un ou plusieurs environnement(s) dédié à chaque entité consommant l’Offre Power Platform</a:t>
            </a:r>
          </a:p>
        </p:txBody>
      </p:sp>
      <p:sp>
        <p:nvSpPr>
          <p:cNvPr id="46" name="Rectangle 45">
            <a:extLst>
              <a:ext uri="{FF2B5EF4-FFF2-40B4-BE49-F238E27FC236}">
                <a16:creationId xmlns:a16="http://schemas.microsoft.com/office/drawing/2014/main" id="{8C15BC74-F783-417F-BD0F-352DA5128998}"/>
              </a:ext>
            </a:extLst>
          </p:cNvPr>
          <p:cNvSpPr/>
          <p:nvPr/>
        </p:nvSpPr>
        <p:spPr>
          <a:xfrm>
            <a:off x="906558" y="3498040"/>
            <a:ext cx="9782161" cy="1744923"/>
          </a:xfrm>
          <a:prstGeom prst="rect">
            <a:avLst/>
          </a:prstGeom>
          <a:solidFill>
            <a:srgbClr val="B7FEFF"/>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7" name="Google Shape;674;p44">
            <a:extLst>
              <a:ext uri="{FF2B5EF4-FFF2-40B4-BE49-F238E27FC236}">
                <a16:creationId xmlns:a16="http://schemas.microsoft.com/office/drawing/2014/main" id="{98FB7D55-D995-885C-75FB-95A935A18093}"/>
              </a:ext>
            </a:extLst>
          </p:cNvPr>
          <p:cNvSpPr/>
          <p:nvPr/>
        </p:nvSpPr>
        <p:spPr>
          <a:xfrm>
            <a:off x="1223448" y="4094801"/>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9" name="Image 48">
            <a:extLst>
              <a:ext uri="{FF2B5EF4-FFF2-40B4-BE49-F238E27FC236}">
                <a16:creationId xmlns:a16="http://schemas.microsoft.com/office/drawing/2014/main" id="{ED73C1F1-6D29-07FE-E7A5-F1EC2117A0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37148" y="4208501"/>
            <a:ext cx="324000" cy="324000"/>
          </a:xfrm>
          <a:prstGeom prst="rect">
            <a:avLst/>
          </a:prstGeom>
        </p:spPr>
      </p:pic>
      <p:sp>
        <p:nvSpPr>
          <p:cNvPr id="2" name="ZoneTexte 1">
            <a:extLst>
              <a:ext uri="{FF2B5EF4-FFF2-40B4-BE49-F238E27FC236}">
                <a16:creationId xmlns:a16="http://schemas.microsoft.com/office/drawing/2014/main" id="{D1EE6376-4F6B-22F4-4FAE-12E8722AAE09}"/>
              </a:ext>
            </a:extLst>
          </p:cNvPr>
          <p:cNvSpPr txBox="1"/>
          <p:nvPr/>
        </p:nvSpPr>
        <p:spPr>
          <a:xfrm>
            <a:off x="1803101" y="4185835"/>
            <a:ext cx="8885618" cy="369332"/>
          </a:xfrm>
          <a:prstGeom prst="rect">
            <a:avLst/>
          </a:prstGeom>
          <a:noFill/>
        </p:spPr>
        <p:txBody>
          <a:bodyPr wrap="square" rtlCol="0">
            <a:spAutoFit/>
          </a:bodyPr>
          <a:lstStyle/>
          <a:p>
            <a:r>
              <a:rPr lang="fr-FR" b="1">
                <a:latin typeface="Arial Rounded MT Bold" panose="020F0704030504030204" pitchFamily="34" charset="0"/>
              </a:rPr>
              <a:t>Hébergeant des applications, des flux et des utilisateurs</a:t>
            </a:r>
            <a:endParaRPr lang="fr-FR" b="1">
              <a:solidFill>
                <a:schemeClr val="bg1">
                  <a:lumMod val="75000"/>
                </a:schemeClr>
              </a:solidFill>
              <a:latin typeface="Arial Rounded MT Bold" panose="020F0704030504030204" pitchFamily="34" charset="0"/>
            </a:endParaRPr>
          </a:p>
        </p:txBody>
      </p:sp>
    </p:spTree>
    <p:extLst>
      <p:ext uri="{BB962C8B-B14F-4D97-AF65-F5344CB8AC3E}">
        <p14:creationId xmlns:p14="http://schemas.microsoft.com/office/powerpoint/2010/main" val="1425240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82937"/>
            <a:ext cx="10941055" cy="788029"/>
          </a:xfrm>
        </p:spPr>
        <p:txBody>
          <a:bodyPr lIns="91440" tIns="45720" rIns="91440" bIns="45720" anchor="t"/>
          <a:lstStyle/>
          <a:p>
            <a:r>
              <a:rPr lang="fr-FR"/>
              <a:t>Comment et avec quel outil exploiter au mieux power platform ? </a:t>
            </a:r>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5" name="Rectangle : coins arrondis 4">
            <a:extLst>
              <a:ext uri="{FF2B5EF4-FFF2-40B4-BE49-F238E27FC236}">
                <a16:creationId xmlns:a16="http://schemas.microsoft.com/office/drawing/2014/main" id="{C840A121-B67A-1A13-2217-D8CDCFD6595C}"/>
              </a:ext>
            </a:extLst>
          </p:cNvPr>
          <p:cNvSpPr/>
          <p:nvPr/>
        </p:nvSpPr>
        <p:spPr>
          <a:xfrm>
            <a:off x="9253106" y="1091589"/>
            <a:ext cx="2232000" cy="5480484"/>
          </a:xfrm>
          <a:prstGeom prst="roundRect">
            <a:avLst/>
          </a:prstGeom>
          <a:solidFill>
            <a:schemeClr val="bg1">
              <a:lumMod val="95000"/>
            </a:schemeClr>
          </a:solidFill>
          <a:ln>
            <a:solidFill>
              <a:srgbClr val="0F6B8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 coins arrondis 7">
            <a:extLst>
              <a:ext uri="{FF2B5EF4-FFF2-40B4-BE49-F238E27FC236}">
                <a16:creationId xmlns:a16="http://schemas.microsoft.com/office/drawing/2014/main" id="{C4063F59-D299-D399-D087-7D00D9045A6E}"/>
              </a:ext>
            </a:extLst>
          </p:cNvPr>
          <p:cNvSpPr/>
          <p:nvPr/>
        </p:nvSpPr>
        <p:spPr>
          <a:xfrm>
            <a:off x="7054861" y="1091589"/>
            <a:ext cx="2198245" cy="5480484"/>
          </a:xfrm>
          <a:prstGeom prst="roundRect">
            <a:avLst/>
          </a:prstGeom>
          <a:solidFill>
            <a:schemeClr val="bg1">
              <a:lumMod val="95000"/>
            </a:schemeClr>
          </a:solidFill>
          <a:ln>
            <a:solidFill>
              <a:srgbClr val="104BC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 coins arrondis 9">
            <a:extLst>
              <a:ext uri="{FF2B5EF4-FFF2-40B4-BE49-F238E27FC236}">
                <a16:creationId xmlns:a16="http://schemas.microsoft.com/office/drawing/2014/main" id="{4FFCED35-CD6C-5FAE-5B4E-CF808609D3C8}"/>
              </a:ext>
            </a:extLst>
          </p:cNvPr>
          <p:cNvSpPr/>
          <p:nvPr/>
        </p:nvSpPr>
        <p:spPr>
          <a:xfrm>
            <a:off x="4837920" y="1091589"/>
            <a:ext cx="2216940" cy="5480484"/>
          </a:xfrm>
          <a:prstGeom prst="roundRect">
            <a:avLst/>
          </a:prstGeom>
          <a:solidFill>
            <a:schemeClr val="bg1">
              <a:lumMod val="95000"/>
            </a:schemeClr>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1" name="Tableau 10">
            <a:extLst>
              <a:ext uri="{FF2B5EF4-FFF2-40B4-BE49-F238E27FC236}">
                <a16:creationId xmlns:a16="http://schemas.microsoft.com/office/drawing/2014/main" id="{CA62CBE0-8FCE-629E-D95A-33155605D4B8}"/>
              </a:ext>
            </a:extLst>
          </p:cNvPr>
          <p:cNvGraphicFramePr>
            <a:graphicFrameLocks noGrp="1"/>
          </p:cNvGraphicFramePr>
          <p:nvPr>
            <p:extLst>
              <p:ext uri="{D42A27DB-BD31-4B8C-83A1-F6EECF244321}">
                <p14:modId xmlns:p14="http://schemas.microsoft.com/office/powerpoint/2010/main" val="2121061391"/>
              </p:ext>
            </p:extLst>
          </p:nvPr>
        </p:nvGraphicFramePr>
        <p:xfrm>
          <a:off x="403059" y="1990764"/>
          <a:ext cx="11043837" cy="4439826"/>
        </p:xfrm>
        <a:graphic>
          <a:graphicData uri="http://schemas.openxmlformats.org/drawingml/2006/table">
            <a:tbl>
              <a:tblPr bandRow="1">
                <a:tableStyleId>{5C22544A-7EE6-4342-B048-85BDC9FD1C3A}</a:tableStyleId>
              </a:tblPr>
              <a:tblGrid>
                <a:gridCol w="2295849">
                  <a:extLst>
                    <a:ext uri="{9D8B030D-6E8A-4147-A177-3AD203B41FA5}">
                      <a16:colId xmlns:a16="http://schemas.microsoft.com/office/drawing/2014/main" val="3066992687"/>
                    </a:ext>
                  </a:extLst>
                </a:gridCol>
                <a:gridCol w="2073790">
                  <a:extLst>
                    <a:ext uri="{9D8B030D-6E8A-4147-A177-3AD203B41FA5}">
                      <a16:colId xmlns:a16="http://schemas.microsoft.com/office/drawing/2014/main" val="81411314"/>
                    </a:ext>
                  </a:extLst>
                </a:gridCol>
                <a:gridCol w="598783">
                  <a:extLst>
                    <a:ext uri="{9D8B030D-6E8A-4147-A177-3AD203B41FA5}">
                      <a16:colId xmlns:a16="http://schemas.microsoft.com/office/drawing/2014/main" val="1535574515"/>
                    </a:ext>
                  </a:extLst>
                </a:gridCol>
                <a:gridCol w="1676990">
                  <a:extLst>
                    <a:ext uri="{9D8B030D-6E8A-4147-A177-3AD203B41FA5}">
                      <a16:colId xmlns:a16="http://schemas.microsoft.com/office/drawing/2014/main" val="4252566732"/>
                    </a:ext>
                  </a:extLst>
                </a:gridCol>
                <a:gridCol w="498182">
                  <a:extLst>
                    <a:ext uri="{9D8B030D-6E8A-4147-A177-3AD203B41FA5}">
                      <a16:colId xmlns:a16="http://schemas.microsoft.com/office/drawing/2014/main" val="344903278"/>
                    </a:ext>
                  </a:extLst>
                </a:gridCol>
                <a:gridCol w="1721491">
                  <a:extLst>
                    <a:ext uri="{9D8B030D-6E8A-4147-A177-3AD203B41FA5}">
                      <a16:colId xmlns:a16="http://schemas.microsoft.com/office/drawing/2014/main" val="3416506903"/>
                    </a:ext>
                  </a:extLst>
                </a:gridCol>
                <a:gridCol w="525476">
                  <a:extLst>
                    <a:ext uri="{9D8B030D-6E8A-4147-A177-3AD203B41FA5}">
                      <a16:colId xmlns:a16="http://schemas.microsoft.com/office/drawing/2014/main" val="1335030892"/>
                    </a:ext>
                  </a:extLst>
                </a:gridCol>
                <a:gridCol w="1653276">
                  <a:extLst>
                    <a:ext uri="{9D8B030D-6E8A-4147-A177-3AD203B41FA5}">
                      <a16:colId xmlns:a16="http://schemas.microsoft.com/office/drawing/2014/main" val="2302976137"/>
                    </a:ext>
                  </a:extLst>
                </a:gridCol>
              </a:tblGrid>
              <a:tr h="406954">
                <a:tc rowSpan="5">
                  <a:txBody>
                    <a:bodyPr/>
                    <a:lstStyle/>
                    <a:p>
                      <a:pPr marL="0" algn="ctr" defTabSz="914400" rtl="0" eaLnBrk="1" latinLnBrk="0" hangingPunct="1"/>
                      <a:r>
                        <a:rPr lang="fr-FR" sz="1200" b="1" kern="1200">
                          <a:solidFill>
                            <a:schemeClr val="bg1"/>
                          </a:solidFill>
                          <a:latin typeface="Arial Rounded MT Bold" panose="020F0704030504030204" pitchFamily="34" charset="0"/>
                          <a:ea typeface="+mn-ea"/>
                          <a:cs typeface="+mn-cs"/>
                        </a:rPr>
                        <a:t>Ou créer &amp; initier ?</a:t>
                      </a:r>
                    </a:p>
                    <a:p>
                      <a:pPr marL="0" algn="ctr" defTabSz="914400" rtl="0" eaLnBrk="1" latinLnBrk="0" hangingPunct="1"/>
                      <a:endParaRPr lang="fr-FR" sz="1200" b="1" kern="1200">
                        <a:solidFill>
                          <a:schemeClr val="bg1"/>
                        </a:solidFill>
                        <a:latin typeface="Arial Rounded MT Bold" panose="020F0704030504030204" pitchFamily="34" charset="0"/>
                        <a:ea typeface="+mn-ea"/>
                        <a:cs typeface="+mn-cs"/>
                      </a:endParaRPr>
                    </a:p>
                    <a:p>
                      <a:pPr marL="0" algn="ctr" defTabSz="914400" rtl="0" eaLnBrk="1" latinLnBrk="0" hangingPunct="1"/>
                      <a:r>
                        <a:rPr lang="fr-FR" sz="1200" b="1" kern="1200">
                          <a:solidFill>
                            <a:schemeClr val="bg1"/>
                          </a:solidFill>
                          <a:latin typeface="Arial Rounded MT Bold" panose="020F0704030504030204" pitchFamily="34" charset="0"/>
                          <a:ea typeface="+mn-ea"/>
                          <a:cs typeface="+mn-cs"/>
                        </a:rPr>
                        <a:t>« Les maker »</a:t>
                      </a:r>
                    </a:p>
                  </a:txBody>
                  <a:tcPr anchor="ctr">
                    <a:solidFill>
                      <a:schemeClr val="accent3"/>
                    </a:solidFill>
                  </a:tcPr>
                </a:tc>
                <a:tc>
                  <a:txBody>
                    <a:bodyPr/>
                    <a:lstStyle/>
                    <a:p>
                      <a:pPr marL="269875" indent="0" algn="l"/>
                      <a:r>
                        <a:rPr lang="fr-FR" sz="900">
                          <a:solidFill>
                            <a:schemeClr val="tx1"/>
                          </a:solidFill>
                          <a:latin typeface="+mn-lt"/>
                        </a:rPr>
                        <a:t>Depuis l’interface web </a:t>
                      </a:r>
                      <a:r>
                        <a:rPr lang="fr-FR" sz="900" b="1" u="sng" err="1">
                          <a:solidFill>
                            <a:schemeClr val="tx1"/>
                          </a:solidFill>
                          <a:latin typeface="+mn-lt"/>
                        </a:rPr>
                        <a:t>make</a:t>
                      </a:r>
                      <a:endParaRPr lang="fr-FR" sz="900" b="1" u="sng">
                        <a:solidFill>
                          <a:schemeClr val="tx1"/>
                        </a:solidFill>
                        <a:latin typeface="+mn-lt"/>
                      </a:endParaRP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b="0">
                          <a:solidFill>
                            <a:schemeClr val="tx1"/>
                          </a:solidFill>
                          <a:latin typeface="+mn-lt"/>
                        </a:rPr>
                        <a:t>Accessible depuis : </a:t>
                      </a:r>
                      <a:r>
                        <a:rPr lang="fr-FR" sz="900" b="0">
                          <a:solidFill>
                            <a:schemeClr val="tx1"/>
                          </a:solidFill>
                          <a:latin typeface="+mn-lt"/>
                          <a:hlinkClick r:id="rId3"/>
                        </a:rPr>
                        <a:t>make.powerapps.com</a:t>
                      </a:r>
                      <a:endParaRPr lang="fr-FR" sz="900" b="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Accessible depuis : make.powerautomate.com </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endParaRPr lang="fr-F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Accessible depuis : web.powerwa.microsoft.com </a:t>
                      </a: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259191128"/>
                  </a:ext>
                </a:extLst>
              </a:tr>
              <a:tr h="406954">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marL="269875" indent="0" algn="l"/>
                      <a:r>
                        <a:rPr lang="fr-FR" sz="900">
                          <a:solidFill>
                            <a:schemeClr val="tx1"/>
                          </a:solidFill>
                          <a:latin typeface="+mn-lt"/>
                        </a:rPr>
                        <a:t>Depuis le </a:t>
                      </a:r>
                      <a:r>
                        <a:rPr lang="fr-FR" sz="900" b="1" u="sng">
                          <a:solidFill>
                            <a:schemeClr val="tx1"/>
                          </a:solidFill>
                          <a:latin typeface="+mn-lt"/>
                        </a:rPr>
                        <a:t>catalogue d’application Microsoft Teams</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900" b="0" kern="1200">
                          <a:solidFill>
                            <a:schemeClr val="tx1"/>
                          </a:solidFill>
                          <a:latin typeface="+mn-lt"/>
                          <a:ea typeface="+mn-ea"/>
                          <a:cs typeface="+mn-cs"/>
                        </a:rPr>
                        <a:t>Non autorisé dans l’App Permission Policy</a:t>
                      </a:r>
                    </a:p>
                    <a:p>
                      <a:pPr marL="0" marR="0" lvl="0" indent="0" algn="r" defTabSz="914400" rtl="0" eaLnBrk="1" fontAlgn="auto" latinLnBrk="0" hangingPunct="1">
                        <a:lnSpc>
                          <a:spcPct val="100000"/>
                        </a:lnSpc>
                        <a:spcBef>
                          <a:spcPts val="0"/>
                        </a:spcBef>
                        <a:spcAft>
                          <a:spcPts val="0"/>
                        </a:spcAft>
                        <a:buClrTx/>
                        <a:buSzTx/>
                        <a:buFontTx/>
                        <a:buNone/>
                        <a:tabLst/>
                        <a:defRPr/>
                      </a:pPr>
                      <a:r>
                        <a:rPr lang="fr-FR" sz="900" b="0" kern="1200">
                          <a:solidFill>
                            <a:schemeClr val="tx1"/>
                          </a:solidFill>
                          <a:latin typeface="+mn-lt"/>
                          <a:ea typeface="+mn-ea"/>
                          <a:cs typeface="+mn-cs"/>
                        </a:rPr>
                        <a:t>A noter : possibilité alternative à découvrir slide 14</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900" b="0">
                          <a:solidFill>
                            <a:schemeClr val="tx1"/>
                          </a:solidFill>
                          <a:latin typeface="+mn-lt"/>
                        </a:rPr>
                        <a:t>Non autorisé dans l’App Permission Policy</a:t>
                      </a:r>
                    </a:p>
                    <a:p>
                      <a:pPr marL="0" marR="0" lvl="0" indent="0" algn="r" defTabSz="914400" rtl="0" eaLnBrk="1" fontAlgn="auto" latinLnBrk="0" hangingPunct="1">
                        <a:lnSpc>
                          <a:spcPct val="100000"/>
                        </a:lnSpc>
                        <a:spcBef>
                          <a:spcPts val="0"/>
                        </a:spcBef>
                        <a:spcAft>
                          <a:spcPts val="0"/>
                        </a:spcAft>
                        <a:buClrTx/>
                        <a:buSzTx/>
                        <a:buFontTx/>
                        <a:buNone/>
                        <a:tabLst/>
                        <a:defRPr/>
                      </a:pPr>
                      <a:r>
                        <a:rPr lang="fr-FR" sz="900" b="0">
                          <a:solidFill>
                            <a:schemeClr val="tx1"/>
                          </a:solidFill>
                          <a:latin typeface="+mn-lt"/>
                        </a:rPr>
                        <a:t>A noter : possibilité alternative à découvrir </a:t>
                      </a:r>
                      <a:r>
                        <a:rPr lang="fr-FR" sz="900" b="0" i="1">
                          <a:solidFill>
                            <a:schemeClr val="tx1"/>
                          </a:solidFill>
                          <a:latin typeface="+mn-lt"/>
                        </a:rPr>
                        <a:t>slide 14</a:t>
                      </a:r>
                      <a:endParaRPr lang="fr-FR" sz="900" i="1">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endParaRPr lang="fr-F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900" b="0">
                          <a:solidFill>
                            <a:schemeClr val="tx1"/>
                          </a:solidFill>
                          <a:latin typeface="+mn-lt"/>
                        </a:rPr>
                        <a:t>Non autorisé dans l’App Permission Policy</a:t>
                      </a:r>
                    </a:p>
                    <a:p>
                      <a:pPr marL="0" marR="0" lvl="0" indent="0" algn="r" defTabSz="914400" rtl="0" eaLnBrk="1" fontAlgn="auto" latinLnBrk="0" hangingPunct="1">
                        <a:lnSpc>
                          <a:spcPct val="100000"/>
                        </a:lnSpc>
                        <a:spcBef>
                          <a:spcPts val="0"/>
                        </a:spcBef>
                        <a:spcAft>
                          <a:spcPts val="0"/>
                        </a:spcAft>
                        <a:buClrTx/>
                        <a:buSzTx/>
                        <a:buFontTx/>
                        <a:buNone/>
                        <a:tabLst/>
                        <a:defRPr/>
                      </a:pPr>
                      <a:r>
                        <a:rPr lang="fr-FR" sz="900" b="0">
                          <a:solidFill>
                            <a:schemeClr val="tx1"/>
                          </a:solidFill>
                          <a:latin typeface="+mn-lt"/>
                        </a:rPr>
                        <a:t>A noter : possibilité alternative à découvrir </a:t>
                      </a:r>
                      <a:r>
                        <a:rPr lang="fr-FR" sz="900" b="0" i="1">
                          <a:solidFill>
                            <a:schemeClr val="tx1"/>
                          </a:solidFill>
                          <a:latin typeface="+mn-lt"/>
                        </a:rPr>
                        <a:t>slide 14</a:t>
                      </a:r>
                      <a:endParaRPr lang="fr-FR" sz="900" i="1">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3217471761"/>
                  </a:ext>
                </a:extLst>
              </a:tr>
              <a:tr h="406954">
                <a:tc vMerge="1">
                  <a:txBody>
                    <a:bodyPr/>
                    <a:lstStyle/>
                    <a:p>
                      <a:r>
                        <a:rPr lang="fr-FR" sz="900" b="1">
                          <a:solidFill>
                            <a:schemeClr val="tx1"/>
                          </a:solidFill>
                          <a:latin typeface="+mn-lt"/>
                        </a:rPr>
                        <a:t>2</a:t>
                      </a:r>
                      <a:br>
                        <a:rPr lang="fr-FR" sz="900">
                          <a:solidFill>
                            <a:schemeClr val="tx1"/>
                          </a:solidFill>
                          <a:latin typeface="+mn-lt"/>
                        </a:rPr>
                      </a:br>
                      <a:r>
                        <a:rPr lang="fr-FR" sz="900">
                          <a:solidFill>
                            <a:schemeClr val="tx1"/>
                          </a:solidFill>
                          <a:latin typeface="+mn-lt"/>
                        </a:rPr>
                        <a:t>Les utilisateurs actifs cibles</a:t>
                      </a:r>
                    </a:p>
                  </a:txBody>
                  <a:tcPr anchor="ctr">
                    <a:solidFill>
                      <a:schemeClr val="bg1">
                        <a:lumMod val="95000"/>
                      </a:schemeClr>
                    </a:solidFill>
                  </a:tcPr>
                </a:tc>
                <a:tc>
                  <a:txBody>
                    <a:bodyPr/>
                    <a:lstStyle/>
                    <a:p>
                      <a:pPr marL="269875" indent="0" algn="l"/>
                      <a:r>
                        <a:rPr lang="fr-FR" sz="900">
                          <a:solidFill>
                            <a:schemeClr val="tx1"/>
                          </a:solidFill>
                          <a:latin typeface="+mn-lt"/>
                        </a:rPr>
                        <a:t>Depuis </a:t>
                      </a:r>
                      <a:r>
                        <a:rPr lang="fr-FR" sz="900" u="sng">
                          <a:solidFill>
                            <a:schemeClr val="tx1"/>
                          </a:solidFill>
                          <a:latin typeface="+mn-lt"/>
                        </a:rPr>
                        <a:t>l’application bureautique</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b="0">
                          <a:solidFill>
                            <a:schemeClr val="tx1"/>
                          </a:solidFill>
                          <a:latin typeface="+mn-lt"/>
                        </a:rPr>
                        <a:t>Non existant</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Non autorisé car soumis à licence Premium</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endParaRPr lang="fr-F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Non existant</a:t>
                      </a: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743927541"/>
                  </a:ext>
                </a:extLst>
              </a:tr>
              <a:tr h="406954">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marL="269875" indent="0" algn="l"/>
                      <a:r>
                        <a:rPr lang="fr-FR" sz="900">
                          <a:solidFill>
                            <a:schemeClr val="tx1"/>
                          </a:solidFill>
                          <a:latin typeface="+mn-lt"/>
                        </a:rPr>
                        <a:t>Depuis </a:t>
                      </a:r>
                      <a:r>
                        <a:rPr lang="fr-FR" sz="900" u="sng">
                          <a:solidFill>
                            <a:schemeClr val="tx1"/>
                          </a:solidFill>
                          <a:latin typeface="+mn-lt"/>
                        </a:rPr>
                        <a:t>un site SharePoint</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b="0">
                          <a:solidFill>
                            <a:schemeClr val="tx1"/>
                          </a:solidFill>
                          <a:latin typeface="+mn-lt"/>
                        </a:rPr>
                        <a:t>Pour créer des formulaires personnalisés</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Pour automatiser le remplissage des listes</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endParaRPr lang="fr-F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Non autorisé</a:t>
                      </a: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3110431930"/>
                  </a:ext>
                </a:extLst>
              </a:tr>
              <a:tr h="406954">
                <a:tc vMerge="1">
                  <a:txBody>
                    <a:bodyPr/>
                    <a:lstStyle/>
                    <a:p>
                      <a:endParaRPr lang="fr-FR" sz="900">
                        <a:solidFill>
                          <a:schemeClr val="tx1"/>
                        </a:solidFill>
                        <a:latin typeface="+mn-lt"/>
                      </a:endParaRPr>
                    </a:p>
                  </a:txBody>
                  <a:tcPr anchor="ctr">
                    <a:solidFill>
                      <a:schemeClr val="bg1">
                        <a:lumMod val="95000"/>
                      </a:schemeClr>
                    </a:solidFill>
                  </a:tcPr>
                </a:tc>
                <a:tc>
                  <a:txBody>
                    <a:bodyPr/>
                    <a:lstStyle/>
                    <a:p>
                      <a:pPr marL="269875" indent="0" algn="l"/>
                      <a:r>
                        <a:rPr lang="fr-FR" sz="900">
                          <a:solidFill>
                            <a:schemeClr val="tx1"/>
                          </a:solidFill>
                          <a:latin typeface="+mn-lt"/>
                        </a:rPr>
                        <a:t>Depuis un rapport </a:t>
                      </a:r>
                      <a:r>
                        <a:rPr lang="fr-FR" sz="900" u="sng">
                          <a:solidFill>
                            <a:schemeClr val="tx1"/>
                          </a:solidFill>
                          <a:latin typeface="+mn-lt"/>
                        </a:rPr>
                        <a:t>Power BI</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Non autorisé</a:t>
                      </a: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Mise à jour des </a:t>
                      </a:r>
                      <a:r>
                        <a:rPr lang="fr-FR" sz="900" err="1">
                          <a:solidFill>
                            <a:schemeClr val="tx1"/>
                          </a:solidFill>
                          <a:latin typeface="+mn-lt"/>
                        </a:rPr>
                        <a:t>reporting</a:t>
                      </a: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endParaRPr lang="fr-FR"/>
                    </a:p>
                  </a:txBody>
                  <a:tcPr anchor="ctr">
                    <a:lnL w="6350" cap="flat" cmpd="sng" algn="ctr">
                      <a:solidFill>
                        <a:srgbClr val="AAB8B9"/>
                      </a:solid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solidFill>
                            <a:schemeClr val="tx1"/>
                          </a:solidFill>
                          <a:latin typeface="+mn-lt"/>
                        </a:rPr>
                        <a:t>Non autorisé</a:t>
                      </a: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4144808479"/>
                  </a:ext>
                </a:extLst>
              </a:tr>
              <a:tr h="406954">
                <a:tc rowSpan="5">
                  <a:txBody>
                    <a:bodyPr/>
                    <a:lstStyle/>
                    <a:p>
                      <a:pPr marL="0" algn="ctr" defTabSz="914400" rtl="0" eaLnBrk="1" latinLnBrk="0" hangingPunct="1"/>
                      <a:r>
                        <a:rPr lang="fr-FR" sz="1200" b="1" kern="1200">
                          <a:solidFill>
                            <a:schemeClr val="bg1"/>
                          </a:solidFill>
                          <a:latin typeface="Arial Rounded MT Bold" panose="020F0704030504030204" pitchFamily="34" charset="0"/>
                          <a:ea typeface="+mn-ea"/>
                          <a:cs typeface="+mn-cs"/>
                        </a:rPr>
                        <a:t>Avec qui partager &amp; comment utiliser ?</a:t>
                      </a:r>
                    </a:p>
                    <a:p>
                      <a:pPr marL="0" algn="ctr" defTabSz="914400" rtl="0" eaLnBrk="1" latinLnBrk="0" hangingPunct="1"/>
                      <a:endParaRPr lang="fr-FR" sz="1200" b="1" kern="1200">
                        <a:solidFill>
                          <a:schemeClr val="bg1"/>
                        </a:solidFill>
                        <a:latin typeface="Arial Rounded MT Bold" panose="020F0704030504030204" pitchFamily="34" charset="0"/>
                        <a:ea typeface="+mn-ea"/>
                        <a:cs typeface="+mn-cs"/>
                      </a:endParaRPr>
                    </a:p>
                    <a:p>
                      <a:pPr marL="0" algn="ctr" defTabSz="914400" rtl="0" eaLnBrk="1" latinLnBrk="0" hangingPunct="1"/>
                      <a:r>
                        <a:rPr lang="fr-FR" sz="1200" b="1" kern="1200">
                          <a:solidFill>
                            <a:schemeClr val="bg1"/>
                          </a:solidFill>
                          <a:latin typeface="Arial Rounded MT Bold" panose="020F0704030504030204" pitchFamily="34" charset="0"/>
                          <a:ea typeface="+mn-ea"/>
                          <a:cs typeface="+mn-cs"/>
                        </a:rPr>
                        <a:t>« Les </a:t>
                      </a:r>
                      <a:r>
                        <a:rPr lang="fr-FR" sz="1200" b="1" kern="1200" err="1">
                          <a:solidFill>
                            <a:schemeClr val="bg1"/>
                          </a:solidFill>
                          <a:latin typeface="Arial Rounded MT Bold" panose="020F0704030504030204" pitchFamily="34" charset="0"/>
                          <a:ea typeface="+mn-ea"/>
                          <a:cs typeface="+mn-cs"/>
                        </a:rPr>
                        <a:t>users</a:t>
                      </a:r>
                      <a:r>
                        <a:rPr lang="fr-FR" sz="1200" b="1" kern="1200">
                          <a:solidFill>
                            <a:schemeClr val="bg1"/>
                          </a:solidFill>
                          <a:latin typeface="Arial Rounded MT Bold" panose="020F0704030504030204" pitchFamily="34" charset="0"/>
                          <a:ea typeface="+mn-ea"/>
                          <a:cs typeface="+mn-cs"/>
                        </a:rPr>
                        <a:t> »</a:t>
                      </a:r>
                    </a:p>
                    <a:p>
                      <a:endParaRPr lang="fr-FR" sz="900">
                        <a:solidFill>
                          <a:schemeClr val="tx1"/>
                        </a:solidFill>
                        <a:latin typeface="+mn-lt"/>
                      </a:endParaRPr>
                    </a:p>
                  </a:txBody>
                  <a:tcPr anchor="ctr">
                    <a:solidFill>
                      <a:schemeClr val="accent3"/>
                    </a:solidFill>
                  </a:tcPr>
                </a:tc>
                <a:tc>
                  <a:txBody>
                    <a:bodyPr/>
                    <a:lstStyle/>
                    <a:p>
                      <a:pPr marL="269875" indent="0" algn="l"/>
                      <a:r>
                        <a:rPr lang="fr-FR" sz="900" u="none">
                          <a:solidFill>
                            <a:schemeClr val="tx1"/>
                          </a:solidFill>
                          <a:latin typeface="+mn-lt"/>
                        </a:rPr>
                        <a:t>Utilisateur </a:t>
                      </a:r>
                      <a:r>
                        <a:rPr lang="fr-FR" sz="900" b="1" u="none">
                          <a:solidFill>
                            <a:schemeClr val="tx1"/>
                          </a:solidFill>
                          <a:latin typeface="+mn-lt"/>
                        </a:rPr>
                        <a:t>interne</a:t>
                      </a:r>
                    </a:p>
                  </a:txBody>
                  <a:tcPr anchor="ctr">
                    <a:solidFill>
                      <a:schemeClr val="bg1">
                        <a:lumMod val="95000"/>
                      </a:schemeClr>
                    </a:solidFill>
                  </a:tcPr>
                </a:tc>
                <a:tc gridSpan="2">
                  <a:txBody>
                    <a:bodyPr/>
                    <a:lstStyle/>
                    <a:p>
                      <a:pPr algn="ctr"/>
                      <a:endParaRPr lang="fr-FR" sz="900">
                        <a:solidFill>
                          <a:schemeClr val="tx1"/>
                        </a:solidFill>
                        <a:latin typeface="+mn-lt"/>
                      </a:endParaRPr>
                    </a:p>
                  </a:txBody>
                  <a:tcPr anchor="ctr">
                    <a:lnR w="6350" cap="flat" cmpd="sng" algn="ctr">
                      <a:no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hMerge="1">
                  <a:txBody>
                    <a:bodyPr/>
                    <a:lstStyle/>
                    <a:p>
                      <a:endParaRPr lang="fr-FR"/>
                    </a:p>
                  </a:txBody>
                  <a:tcPr/>
                </a:tc>
                <a:tc gridSpan="4">
                  <a:txBody>
                    <a:bodyPr/>
                    <a:lstStyle/>
                    <a:p>
                      <a:pPr algn="ctr"/>
                      <a:endParaRPr lang="fr-FR" sz="900">
                        <a:solidFill>
                          <a:schemeClr val="tx1"/>
                        </a:solidFill>
                        <a:latin typeface="+mn-lt"/>
                      </a:endParaRPr>
                    </a:p>
                  </a:txBody>
                  <a:tcPr anchor="ctr">
                    <a:lnL>
                      <a:noFill/>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hMerge="1">
                  <a:txBody>
                    <a:bodyPr/>
                    <a:lstStyle/>
                    <a:p>
                      <a:pPr algn="ctr"/>
                      <a:endParaRPr lang="fr-FR" sz="900">
                        <a:solidFill>
                          <a:schemeClr val="tx1"/>
                        </a:solidFill>
                        <a:latin typeface="+mn-lt"/>
                      </a:endParaRPr>
                    </a:p>
                  </a:txBody>
                  <a:tcPr anchor="ctr">
                    <a:lnL w="6350" cap="flat" cmpd="sng" algn="ctr">
                      <a:noFill/>
                      <a:prstDash val="solid"/>
                      <a:round/>
                      <a:headEnd type="none" w="med" len="med"/>
                      <a:tailEnd type="none" w="med" len="med"/>
                    </a:lnL>
                    <a:lnR w="6350" cap="flat" cmpd="sng" algn="ctr">
                      <a:solidFill>
                        <a:srgbClr val="AAB8B9"/>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endParaRPr lang="fr-FR"/>
                    </a:p>
                  </a:txBody>
                  <a:tcPr>
                    <a:lnT w="6350" cap="flat" cmpd="sng" algn="ctr">
                      <a:solidFill>
                        <a:srgbClr val="AAB8B9"/>
                      </a:solidFill>
                      <a:prstDash val="solid"/>
                      <a:round/>
                      <a:headEnd type="none" w="med" len="med"/>
                      <a:tailEnd type="none" w="med" len="med"/>
                    </a:lnT>
                  </a:tcPr>
                </a:tc>
                <a:tc hMerge="1">
                  <a:txBody>
                    <a:bodyPr/>
                    <a:lstStyle/>
                    <a:p>
                      <a:pPr algn="ctr"/>
                      <a:endParaRPr lang="fr-FR" sz="900">
                        <a:solidFill>
                          <a:schemeClr val="tx1"/>
                        </a:solidFill>
                        <a:latin typeface="+mn-lt"/>
                      </a:endParaRPr>
                    </a:p>
                  </a:txBody>
                  <a:tcPr anchor="ctr">
                    <a:lnL w="6350" cap="flat" cmpd="sng" algn="ctr">
                      <a:solidFill>
                        <a:srgbClr val="AAB8B9"/>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272076151"/>
                  </a:ext>
                </a:extLst>
              </a:tr>
              <a:tr h="406954">
                <a:tc vMerge="1">
                  <a:txBody>
                    <a:bodyPr/>
                    <a:lstStyle/>
                    <a:p>
                      <a:endParaRPr lang="fr-FR" sz="900">
                        <a:solidFill>
                          <a:schemeClr val="tx1"/>
                        </a:solidFill>
                        <a:latin typeface="+mn-lt"/>
                      </a:endParaRPr>
                    </a:p>
                  </a:txBody>
                  <a:tcPr anchor="ctr">
                    <a:solidFill>
                      <a:schemeClr val="accent3"/>
                    </a:solidFill>
                  </a:tcPr>
                </a:tc>
                <a:tc>
                  <a:txBody>
                    <a:bodyPr/>
                    <a:lstStyle/>
                    <a:p>
                      <a:pPr marL="269875" indent="0" algn="l"/>
                      <a:r>
                        <a:rPr lang="fr-FR" sz="900" u="none">
                          <a:solidFill>
                            <a:schemeClr val="tx1"/>
                          </a:solidFill>
                          <a:latin typeface="+mn-lt"/>
                        </a:rPr>
                        <a:t>Utilisateur </a:t>
                      </a:r>
                      <a:r>
                        <a:rPr lang="fr-FR" sz="900" b="1" u="none">
                          <a:solidFill>
                            <a:schemeClr val="tx1"/>
                          </a:solidFill>
                          <a:latin typeface="+mn-lt"/>
                        </a:rPr>
                        <a:t>externe</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t>Non possible techniquement</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a:noFill/>
                    </a:lnL>
                    <a:lnR w="6350" cap="flat" cmpd="sng" algn="ctr">
                      <a:solidFill>
                        <a:schemeClr val="bg1">
                          <a:lumMod val="75000"/>
                        </a:schemeClr>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t>Non possible techniquement</a:t>
                      </a:r>
                    </a:p>
                  </a:txBody>
                  <a:tcPr anchor="ctr">
                    <a:lnL w="6350" cap="flat" cmpd="sng" algn="ctr">
                      <a:solidFill>
                        <a:schemeClr val="bg1">
                          <a:lumMod val="75000"/>
                        </a:schemeClr>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B w="6350" cap="flat" cmpd="sng" algn="ctr">
                      <a:solidFill>
                        <a:srgbClr val="AAB8B9"/>
                      </a:solidFill>
                      <a:prstDash val="solid"/>
                      <a:round/>
                      <a:headEnd type="none" w="med" len="med"/>
                      <a:tailEnd type="none" w="med" len="med"/>
                    </a:lnB>
                    <a:noFill/>
                  </a:tcPr>
                </a:tc>
                <a:tc>
                  <a:txBody>
                    <a:bodyPr/>
                    <a:lstStyle/>
                    <a:p>
                      <a:pPr algn="r"/>
                      <a:r>
                        <a:rPr lang="fr-FR" sz="900"/>
                        <a:t>Non possible techniquement</a:t>
                      </a:r>
                    </a:p>
                  </a:txBody>
                  <a:tcPr anchor="ctr">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4102905317"/>
                  </a:ext>
                </a:extLst>
              </a:tr>
              <a:tr h="406954">
                <a:tc vMerge="1">
                  <a:txBody>
                    <a:bodyPr/>
                    <a:lstStyle/>
                    <a:p>
                      <a:endParaRPr lang="fr-FR" sz="900">
                        <a:solidFill>
                          <a:schemeClr val="tx1"/>
                        </a:solidFill>
                        <a:latin typeface="+mn-lt"/>
                      </a:endParaRPr>
                    </a:p>
                  </a:txBody>
                  <a:tcPr anchor="ctr">
                    <a:solidFill>
                      <a:schemeClr val="accent3"/>
                    </a:solidFill>
                  </a:tcPr>
                </a:tc>
                <a:tc>
                  <a:txBody>
                    <a:bodyPr/>
                    <a:lstStyle/>
                    <a:p>
                      <a:pPr marL="269875" indent="0" algn="l"/>
                      <a:r>
                        <a:rPr lang="fr-FR" sz="900" u="none">
                          <a:solidFill>
                            <a:schemeClr val="tx1"/>
                          </a:solidFill>
                          <a:latin typeface="+mn-lt"/>
                        </a:rPr>
                        <a:t>Utilisateur </a:t>
                      </a:r>
                      <a:r>
                        <a:rPr lang="fr-FR" sz="900" b="1" u="none">
                          <a:solidFill>
                            <a:schemeClr val="tx1"/>
                          </a:solidFill>
                          <a:latin typeface="+mn-lt"/>
                        </a:rPr>
                        <a:t>invité</a:t>
                      </a:r>
                    </a:p>
                  </a:txBody>
                  <a:tcPr anchor="ctr">
                    <a:solidFill>
                      <a:schemeClr val="bg1">
                        <a:lumMod val="95000"/>
                      </a:schemeClr>
                    </a:solidFill>
                  </a:tcPr>
                </a:tc>
                <a:tc>
                  <a:txBody>
                    <a:bodyPr/>
                    <a:lstStyle/>
                    <a:p>
                      <a:pPr algn="ctr"/>
                      <a:endParaRPr lang="fr-FR" sz="900">
                        <a:solidFill>
                          <a:schemeClr val="tx1"/>
                        </a:solidFill>
                        <a:latin typeface="+mn-lt"/>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t>Fonctionnement identique à un utilisateur interne</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L>
                      <a:noFill/>
                    </a:lnL>
                    <a:lnR w="6350" cap="flat" cmpd="sng" algn="ctr">
                      <a:solidFill>
                        <a:schemeClr val="bg1">
                          <a:lumMod val="75000"/>
                        </a:schemeClr>
                      </a:solid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t>Fonctionnement identique à un utilisateur interne</a:t>
                      </a:r>
                    </a:p>
                  </a:txBody>
                  <a:tcPr anchor="ctr">
                    <a:lnL w="6350" cap="flat" cmpd="sng" algn="ctr">
                      <a:solidFill>
                        <a:schemeClr val="bg1">
                          <a:lumMod val="75000"/>
                        </a:schemeClr>
                      </a:solidFill>
                      <a:prstDash val="solid"/>
                      <a:round/>
                      <a:headEnd type="none" w="med" len="med"/>
                      <a:tailEnd type="none" w="med" len="med"/>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ctr"/>
                      <a:endParaRPr lang="fr-FR" sz="900">
                        <a:solidFill>
                          <a:schemeClr val="tx1"/>
                        </a:solidFill>
                        <a:latin typeface="+mn-lt"/>
                      </a:endParaRPr>
                    </a:p>
                  </a:txBody>
                  <a:tcPr anchor="ct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a:txBody>
                    <a:bodyPr/>
                    <a:lstStyle/>
                    <a:p>
                      <a:pPr algn="r"/>
                      <a:r>
                        <a:rPr lang="fr-FR" sz="900"/>
                        <a:t>Fonctionnement identique à un utilisateur interne</a:t>
                      </a:r>
                    </a:p>
                  </a:txBody>
                  <a:tcPr anchor="ct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extLst>
                  <a:ext uri="{0D108BD9-81ED-4DB2-BD59-A6C34878D82A}">
                    <a16:rowId xmlns:a16="http://schemas.microsoft.com/office/drawing/2014/main" val="952415943"/>
                  </a:ext>
                </a:extLst>
              </a:tr>
              <a:tr h="406954">
                <a:tc vMerge="1">
                  <a:txBody>
                    <a:bodyPr/>
                    <a:lstStyle/>
                    <a:p>
                      <a:endParaRPr lang="fr-FR" sz="900">
                        <a:solidFill>
                          <a:schemeClr val="tx1"/>
                        </a:solidFill>
                        <a:latin typeface="+mn-lt"/>
                      </a:endParaRPr>
                    </a:p>
                  </a:txBody>
                  <a:tcPr anchor="ctr">
                    <a:solidFill>
                      <a:schemeClr val="accent3"/>
                    </a:solidFill>
                  </a:tcPr>
                </a:tc>
                <a:tc>
                  <a:txBody>
                    <a:bodyPr/>
                    <a:lstStyle/>
                    <a:p>
                      <a:pPr marL="269875" indent="0" algn="l"/>
                      <a:r>
                        <a:rPr lang="fr-FR" sz="900" u="none">
                          <a:solidFill>
                            <a:schemeClr val="tx1"/>
                          </a:solidFill>
                          <a:latin typeface="+mn-lt"/>
                        </a:rPr>
                        <a:t>Depuis un smartphone</a:t>
                      </a:r>
                    </a:p>
                  </a:txBody>
                  <a:tcPr anchor="ctr">
                    <a:solidFill>
                      <a:schemeClr val="bg1">
                        <a:lumMod val="95000"/>
                      </a:schemeClr>
                    </a:solidFill>
                  </a:tcPr>
                </a:tc>
                <a:tc gridSpan="2">
                  <a:txBody>
                    <a:bodyPr/>
                    <a:lstStyle/>
                    <a:p>
                      <a:pPr algn="ctr"/>
                      <a:endParaRPr lang="fr-FR" sz="900">
                        <a:solidFill>
                          <a:schemeClr val="tx1"/>
                        </a:solidFill>
                        <a:latin typeface="+mn-lt"/>
                      </a:endParaRPr>
                    </a:p>
                  </a:txBody>
                  <a:tcPr anchor="ctr">
                    <a:lnR w="6350" cap="flat" cmpd="sng" algn="ctr">
                      <a:no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hMerge="1">
                  <a:txBody>
                    <a:bodyPr/>
                    <a:lstStyle/>
                    <a:p>
                      <a:endParaRPr lang="fr-FR"/>
                    </a:p>
                  </a:txBody>
                  <a:tcPr/>
                </a:tc>
                <a:tc gridSpan="4">
                  <a:txBody>
                    <a:bodyPr/>
                    <a:lstStyle/>
                    <a:p>
                      <a:pPr algn="ctr"/>
                      <a:endParaRPr lang="fr-FR" sz="900">
                        <a:solidFill>
                          <a:schemeClr val="tx1"/>
                        </a:solidFill>
                        <a:latin typeface="+mn-lt"/>
                      </a:endParaRPr>
                    </a:p>
                  </a:txBody>
                  <a:tcPr anchor="ctr">
                    <a:lnL w="12700" cmpd="sng">
                      <a:noFill/>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lnT w="6350" cap="flat" cmpd="sng" algn="ctr">
                      <a:solidFill>
                        <a:srgbClr val="AAB8B9"/>
                      </a:solidFill>
                      <a:prstDash val="solid"/>
                      <a:round/>
                      <a:headEnd type="none" w="med" len="med"/>
                      <a:tailEnd type="none" w="med" len="med"/>
                    </a:lnT>
                  </a:tcPr>
                </a:tc>
                <a:tc hMerge="1">
                  <a:txBody>
                    <a:bodyPr/>
                    <a:lstStyle/>
                    <a:p>
                      <a:endParaRPr lang="fr-FR"/>
                    </a:p>
                  </a:txBody>
                  <a:tcPr/>
                </a:tc>
                <a:extLst>
                  <a:ext uri="{0D108BD9-81ED-4DB2-BD59-A6C34878D82A}">
                    <a16:rowId xmlns:a16="http://schemas.microsoft.com/office/drawing/2014/main" val="2358766383"/>
                  </a:ext>
                </a:extLst>
              </a:tr>
              <a:tr h="406954">
                <a:tc vMerge="1">
                  <a:txBody>
                    <a:bodyPr/>
                    <a:lstStyle/>
                    <a:p>
                      <a:endParaRPr lang="fr-FR" sz="900">
                        <a:solidFill>
                          <a:schemeClr val="tx1"/>
                        </a:solidFill>
                        <a:latin typeface="+mn-lt"/>
                      </a:endParaRPr>
                    </a:p>
                  </a:txBody>
                  <a:tcPr anchor="ctr">
                    <a:solidFill>
                      <a:schemeClr val="accent3"/>
                    </a:solidFill>
                  </a:tcPr>
                </a:tc>
                <a:tc>
                  <a:txBody>
                    <a:bodyPr/>
                    <a:lstStyle/>
                    <a:p>
                      <a:pPr marL="269875" indent="0" algn="l"/>
                      <a:r>
                        <a:rPr lang="fr-FR" sz="900" u="none">
                          <a:solidFill>
                            <a:schemeClr val="tx1"/>
                          </a:solidFill>
                          <a:latin typeface="+mn-lt"/>
                        </a:rPr>
                        <a:t>Depuis le PC (Navigateur)</a:t>
                      </a:r>
                    </a:p>
                  </a:txBody>
                  <a:tcPr anchor="ctr">
                    <a:solidFill>
                      <a:schemeClr val="bg1">
                        <a:lumMod val="95000"/>
                      </a:schemeClr>
                    </a:solidFill>
                  </a:tcPr>
                </a:tc>
                <a:tc gridSpan="2">
                  <a:txBody>
                    <a:bodyPr/>
                    <a:lstStyle/>
                    <a:p>
                      <a:pPr algn="ctr"/>
                      <a:endParaRPr lang="fr-FR" sz="900">
                        <a:solidFill>
                          <a:schemeClr val="tx1"/>
                        </a:solidFill>
                        <a:latin typeface="+mn-lt"/>
                      </a:endParaRPr>
                    </a:p>
                  </a:txBody>
                  <a:tcPr anchor="ctr">
                    <a:lnR w="6350" cap="flat" cmpd="sng" algn="ctr">
                      <a:noFill/>
                      <a:prstDash val="solid"/>
                      <a:round/>
                      <a:headEnd type="none" w="med" len="med"/>
                      <a:tailEnd type="none" w="med" len="med"/>
                    </a:lnR>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hMerge="1">
                  <a:txBody>
                    <a:bodyPr/>
                    <a:lstStyle/>
                    <a:p>
                      <a:endParaRPr lang="fr-FR"/>
                    </a:p>
                  </a:txBody>
                  <a:tcPr/>
                </a:tc>
                <a:tc gridSpan="4">
                  <a:txBody>
                    <a:bodyPr/>
                    <a:lstStyle/>
                    <a:p>
                      <a:pPr algn="ctr"/>
                      <a:endParaRPr lang="fr-FR" sz="900">
                        <a:solidFill>
                          <a:schemeClr val="tx1"/>
                        </a:solidFill>
                        <a:latin typeface="+mn-lt"/>
                      </a:endParaRPr>
                    </a:p>
                  </a:txBody>
                  <a:tcPr anchor="ctr">
                    <a:lnL w="12700" cmpd="sng">
                      <a:noFill/>
                    </a:lnL>
                    <a:lnT w="6350" cap="flat" cmpd="sng" algn="ctr">
                      <a:solidFill>
                        <a:srgbClr val="AAB8B9"/>
                      </a:solidFill>
                      <a:prstDash val="solid"/>
                      <a:round/>
                      <a:headEnd type="none" w="med" len="med"/>
                      <a:tailEnd type="none" w="med" len="med"/>
                    </a:lnT>
                    <a:lnB w="6350" cap="flat" cmpd="sng" algn="ctr">
                      <a:solidFill>
                        <a:srgbClr val="AAB8B9"/>
                      </a:solidFill>
                      <a:prstDash val="solid"/>
                      <a:round/>
                      <a:headEnd type="none" w="med" len="med"/>
                      <a:tailEnd type="none" w="med" len="med"/>
                    </a:lnB>
                    <a:no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4263294353"/>
                  </a:ext>
                </a:extLst>
              </a:tr>
            </a:tbl>
          </a:graphicData>
        </a:graphic>
      </p:graphicFrame>
      <p:pic>
        <p:nvPicPr>
          <p:cNvPr id="7" name="Picture 2">
            <a:extLst>
              <a:ext uri="{FF2B5EF4-FFF2-40B4-BE49-F238E27FC236}">
                <a16:creationId xmlns:a16="http://schemas.microsoft.com/office/drawing/2014/main" id="{AC10F8AA-8EE2-B6FD-C8EC-AA00996443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5598" y="1162179"/>
            <a:ext cx="464929" cy="468114"/>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5EE4ACA1-276F-ACC8-514A-0328C5801498}"/>
              </a:ext>
            </a:extLst>
          </p:cNvPr>
          <p:cNvSpPr txBox="1"/>
          <p:nvPr/>
        </p:nvSpPr>
        <p:spPr>
          <a:xfrm>
            <a:off x="4927906" y="1234534"/>
            <a:ext cx="1990362" cy="369332"/>
          </a:xfrm>
          <a:prstGeom prst="rect">
            <a:avLst/>
          </a:prstGeom>
          <a:noFill/>
        </p:spPr>
        <p:txBody>
          <a:bodyPr wrap="square" rtlCol="0">
            <a:noAutofit/>
          </a:bodyPr>
          <a:lstStyle/>
          <a:p>
            <a:pPr algn="r"/>
            <a:r>
              <a:rPr lang="fr-FR" sz="1600" b="1">
                <a:solidFill>
                  <a:srgbClr val="942D8A"/>
                </a:solidFill>
                <a:latin typeface="Arial Rounded MT Bold" panose="020F0704030504030204" pitchFamily="34" charset="0"/>
              </a:rPr>
              <a:t>Power Apps</a:t>
            </a:r>
          </a:p>
        </p:txBody>
      </p:sp>
      <p:sp>
        <p:nvSpPr>
          <p:cNvPr id="15" name="ZoneTexte 14">
            <a:extLst>
              <a:ext uri="{FF2B5EF4-FFF2-40B4-BE49-F238E27FC236}">
                <a16:creationId xmlns:a16="http://schemas.microsoft.com/office/drawing/2014/main" id="{9BC56BBD-F652-A651-AD02-A42F0E344901}"/>
              </a:ext>
            </a:extLst>
          </p:cNvPr>
          <p:cNvSpPr txBox="1"/>
          <p:nvPr/>
        </p:nvSpPr>
        <p:spPr>
          <a:xfrm>
            <a:off x="6928985" y="1297909"/>
            <a:ext cx="2064659" cy="369332"/>
          </a:xfrm>
          <a:prstGeom prst="rect">
            <a:avLst/>
          </a:prstGeom>
          <a:noFill/>
        </p:spPr>
        <p:txBody>
          <a:bodyPr wrap="square" rtlCol="0" anchor="ctr">
            <a:noAutofit/>
          </a:bodyPr>
          <a:lstStyle/>
          <a:p>
            <a:pPr algn="r"/>
            <a:r>
              <a:rPr lang="fr-FR" sz="1600" b="1">
                <a:solidFill>
                  <a:srgbClr val="104ECD"/>
                </a:solidFill>
                <a:latin typeface="Arial Rounded MT Bold" panose="020F0704030504030204" pitchFamily="34" charset="0"/>
              </a:rPr>
              <a:t>Power </a:t>
            </a:r>
          </a:p>
          <a:p>
            <a:pPr algn="r"/>
            <a:r>
              <a:rPr lang="fr-FR" sz="1600" b="1">
                <a:solidFill>
                  <a:srgbClr val="104ECD"/>
                </a:solidFill>
                <a:latin typeface="Arial Rounded MT Bold" panose="020F0704030504030204" pitchFamily="34" charset="0"/>
              </a:rPr>
              <a:t>Automate</a:t>
            </a:r>
          </a:p>
        </p:txBody>
      </p:sp>
      <p:pic>
        <p:nvPicPr>
          <p:cNvPr id="16" name="Picture 3">
            <a:extLst>
              <a:ext uri="{FF2B5EF4-FFF2-40B4-BE49-F238E27FC236}">
                <a16:creationId xmlns:a16="http://schemas.microsoft.com/office/drawing/2014/main" id="{F27E78DE-BD67-A87E-051A-B2F6714E94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43348" y="1182756"/>
            <a:ext cx="497296" cy="497296"/>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25">
            <a:extLst>
              <a:ext uri="{FF2B5EF4-FFF2-40B4-BE49-F238E27FC236}">
                <a16:creationId xmlns:a16="http://schemas.microsoft.com/office/drawing/2014/main" id="{BBE66561-5B2D-4AFD-BA4A-20125352B4EE}"/>
              </a:ext>
            </a:extLst>
          </p:cNvPr>
          <p:cNvSpPr txBox="1"/>
          <p:nvPr/>
        </p:nvSpPr>
        <p:spPr>
          <a:xfrm>
            <a:off x="9185359" y="1275381"/>
            <a:ext cx="2064659" cy="369332"/>
          </a:xfrm>
          <a:prstGeom prst="rect">
            <a:avLst/>
          </a:prstGeom>
          <a:noFill/>
        </p:spPr>
        <p:txBody>
          <a:bodyPr wrap="square" rtlCol="0" anchor="ctr">
            <a:noAutofit/>
          </a:bodyPr>
          <a:lstStyle/>
          <a:p>
            <a:pPr algn="r"/>
            <a:r>
              <a:rPr lang="fr-FR" sz="1600" b="1">
                <a:solidFill>
                  <a:srgbClr val="0F6E87"/>
                </a:solidFill>
                <a:latin typeface="Arial Rounded MT Bold" panose="020F0704030504030204" pitchFamily="34" charset="0"/>
              </a:rPr>
              <a:t>Power  </a:t>
            </a:r>
          </a:p>
          <a:p>
            <a:pPr algn="r"/>
            <a:r>
              <a:rPr lang="fr-FR" sz="1600" b="1">
                <a:solidFill>
                  <a:srgbClr val="0F6E87"/>
                </a:solidFill>
                <a:latin typeface="Arial Rounded MT Bold" panose="020F0704030504030204" pitchFamily="34" charset="0"/>
              </a:rPr>
              <a:t>Virtual Agents</a:t>
            </a:r>
          </a:p>
        </p:txBody>
      </p:sp>
      <p:pic>
        <p:nvPicPr>
          <p:cNvPr id="27" name="Picture 4">
            <a:extLst>
              <a:ext uri="{FF2B5EF4-FFF2-40B4-BE49-F238E27FC236}">
                <a16:creationId xmlns:a16="http://schemas.microsoft.com/office/drawing/2014/main" id="{17F4B0D3-0443-6F93-B011-6B8B284AB0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14497" y="1182755"/>
            <a:ext cx="461668" cy="458527"/>
          </a:xfrm>
          <a:prstGeom prst="rect">
            <a:avLst/>
          </a:prstGeom>
          <a:noFill/>
          <a:extLst>
            <a:ext uri="{909E8E84-426E-40DD-AFC4-6F175D3DCCD1}">
              <a14:hiddenFill xmlns:a14="http://schemas.microsoft.com/office/drawing/2010/main">
                <a:solidFill>
                  <a:srgbClr val="FFFFFF"/>
                </a:solidFill>
              </a14:hiddenFill>
            </a:ext>
          </a:extLst>
        </p:spPr>
      </p:pic>
      <p:pic>
        <p:nvPicPr>
          <p:cNvPr id="47" name="Image 46" descr="Une image contenant cercle, Caractère coloré, Graphique, symbole&#10;&#10;Description générée automatiquement">
            <a:extLst>
              <a:ext uri="{FF2B5EF4-FFF2-40B4-BE49-F238E27FC236}">
                <a16:creationId xmlns:a16="http://schemas.microsoft.com/office/drawing/2014/main" id="{3C00872E-021D-9D3F-23E6-B8D95828EE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90203" y="2054139"/>
            <a:ext cx="243899" cy="243899"/>
          </a:xfrm>
          <a:prstGeom prst="rect">
            <a:avLst/>
          </a:prstGeom>
        </p:spPr>
      </p:pic>
      <p:pic>
        <p:nvPicPr>
          <p:cNvPr id="48" name="Image 47" descr="Une image contenant symbole, cercle, Caractère coloré, Graphique&#10;&#10;Description générée automatiquement">
            <a:extLst>
              <a:ext uri="{FF2B5EF4-FFF2-40B4-BE49-F238E27FC236}">
                <a16:creationId xmlns:a16="http://schemas.microsoft.com/office/drawing/2014/main" id="{F6336DA8-2E2D-0FEA-2893-E63B68274A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90203" y="2608750"/>
            <a:ext cx="244800" cy="244800"/>
          </a:xfrm>
          <a:prstGeom prst="rect">
            <a:avLst/>
          </a:prstGeom>
        </p:spPr>
      </p:pic>
      <p:sp>
        <p:nvSpPr>
          <p:cNvPr id="49" name="Ellipse 48">
            <a:extLst>
              <a:ext uri="{FF2B5EF4-FFF2-40B4-BE49-F238E27FC236}">
                <a16:creationId xmlns:a16="http://schemas.microsoft.com/office/drawing/2014/main" id="{8E28E1FD-96FF-71D3-6845-AC9B7D60E271}"/>
              </a:ext>
            </a:extLst>
          </p:cNvPr>
          <p:cNvSpPr/>
          <p:nvPr/>
        </p:nvSpPr>
        <p:spPr>
          <a:xfrm>
            <a:off x="4995015" y="3240448"/>
            <a:ext cx="239087" cy="239087"/>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0" name="Image 49" descr="Une image contenant cercle, Caractère coloré, Graphique, symbole&#10;&#10;Description générée automatiquement">
            <a:extLst>
              <a:ext uri="{FF2B5EF4-FFF2-40B4-BE49-F238E27FC236}">
                <a16:creationId xmlns:a16="http://schemas.microsoft.com/office/drawing/2014/main" id="{A858CFA5-53ED-0192-7529-9D279B151E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90203" y="3650929"/>
            <a:ext cx="243899" cy="243899"/>
          </a:xfrm>
          <a:prstGeom prst="rect">
            <a:avLst/>
          </a:prstGeom>
        </p:spPr>
      </p:pic>
      <p:pic>
        <p:nvPicPr>
          <p:cNvPr id="51" name="Image 50" descr="Une image contenant symbole, cercle, Caractère coloré, Graphique&#10;&#10;Description générée automatiquement">
            <a:extLst>
              <a:ext uri="{FF2B5EF4-FFF2-40B4-BE49-F238E27FC236}">
                <a16:creationId xmlns:a16="http://schemas.microsoft.com/office/drawing/2014/main" id="{55077861-F547-3536-F1CC-5A4D7843109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90203" y="4091163"/>
            <a:ext cx="244800" cy="244800"/>
          </a:xfrm>
          <a:prstGeom prst="rect">
            <a:avLst/>
          </a:prstGeom>
        </p:spPr>
      </p:pic>
      <p:pic>
        <p:nvPicPr>
          <p:cNvPr id="52" name="Image 51" descr="Une image contenant cercle, Caractère coloré, Graphique, symbole&#10;&#10;Description générée automatiquement">
            <a:extLst>
              <a:ext uri="{FF2B5EF4-FFF2-40B4-BE49-F238E27FC236}">
                <a16:creationId xmlns:a16="http://schemas.microsoft.com/office/drawing/2014/main" id="{4471D806-1ABF-1828-6B51-23D5F73578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58397" y="2054138"/>
            <a:ext cx="243899" cy="243899"/>
          </a:xfrm>
          <a:prstGeom prst="rect">
            <a:avLst/>
          </a:prstGeom>
        </p:spPr>
      </p:pic>
      <p:pic>
        <p:nvPicPr>
          <p:cNvPr id="53" name="Image 52" descr="Une image contenant symbole, cercle, Caractère coloré, Graphique&#10;&#10;Description générée automatiquement">
            <a:extLst>
              <a:ext uri="{FF2B5EF4-FFF2-40B4-BE49-F238E27FC236}">
                <a16:creationId xmlns:a16="http://schemas.microsoft.com/office/drawing/2014/main" id="{CF3DEC61-B077-61CB-EFAC-F63DE37B1D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63210" y="2608750"/>
            <a:ext cx="244800" cy="244800"/>
          </a:xfrm>
          <a:prstGeom prst="rect">
            <a:avLst/>
          </a:prstGeom>
        </p:spPr>
      </p:pic>
      <p:sp>
        <p:nvSpPr>
          <p:cNvPr id="55" name="Ellipse 54">
            <a:extLst>
              <a:ext uri="{FF2B5EF4-FFF2-40B4-BE49-F238E27FC236}">
                <a16:creationId xmlns:a16="http://schemas.microsoft.com/office/drawing/2014/main" id="{65C7B1B0-127D-7E63-2E72-ED7F85E4CBE6}"/>
              </a:ext>
            </a:extLst>
          </p:cNvPr>
          <p:cNvSpPr/>
          <p:nvPr/>
        </p:nvSpPr>
        <p:spPr>
          <a:xfrm>
            <a:off x="9425787" y="3240448"/>
            <a:ext cx="239087" cy="239087"/>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7" name="Image 56" descr="Une image contenant cercle, Caractère coloré, Graphique, symbole&#10;&#10;Description générée automatiquement">
            <a:extLst>
              <a:ext uri="{FF2B5EF4-FFF2-40B4-BE49-F238E27FC236}">
                <a16:creationId xmlns:a16="http://schemas.microsoft.com/office/drawing/2014/main" id="{1CFC80C1-7091-4CE6-1446-E22CB762BA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58398" y="4084947"/>
            <a:ext cx="243899" cy="243899"/>
          </a:xfrm>
          <a:prstGeom prst="rect">
            <a:avLst/>
          </a:prstGeom>
        </p:spPr>
      </p:pic>
      <p:pic>
        <p:nvPicPr>
          <p:cNvPr id="58" name="Image 57" descr="Une image contenant symbole, cercle, Caractère coloré, Graphique&#10;&#10;Description générée automatiquement">
            <a:extLst>
              <a:ext uri="{FF2B5EF4-FFF2-40B4-BE49-F238E27FC236}">
                <a16:creationId xmlns:a16="http://schemas.microsoft.com/office/drawing/2014/main" id="{C5C0F8B2-EC52-7395-B0C4-4F8BF540D9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5787" y="4081092"/>
            <a:ext cx="244800" cy="244800"/>
          </a:xfrm>
          <a:prstGeom prst="rect">
            <a:avLst/>
          </a:prstGeom>
        </p:spPr>
      </p:pic>
      <p:pic>
        <p:nvPicPr>
          <p:cNvPr id="59" name="Image 58" descr="Une image contenant cercle, Caractère coloré, Graphique, symbole&#10;&#10;Description générée automatiquement">
            <a:extLst>
              <a:ext uri="{FF2B5EF4-FFF2-40B4-BE49-F238E27FC236}">
                <a16:creationId xmlns:a16="http://schemas.microsoft.com/office/drawing/2014/main" id="{C2DDED8A-256D-236F-88C5-51CC199053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58397" y="3647599"/>
            <a:ext cx="243899" cy="243899"/>
          </a:xfrm>
          <a:prstGeom prst="rect">
            <a:avLst/>
          </a:prstGeom>
        </p:spPr>
      </p:pic>
      <p:pic>
        <p:nvPicPr>
          <p:cNvPr id="60" name="Image 59" descr="Une image contenant cercle, Caractère coloré, Graphique, symbole&#10;&#10;Description générée automatiquement">
            <a:extLst>
              <a:ext uri="{FF2B5EF4-FFF2-40B4-BE49-F238E27FC236}">
                <a16:creationId xmlns:a16="http://schemas.microsoft.com/office/drawing/2014/main" id="{448E501E-1313-2FAB-490E-8A8C456C2A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20975" y="2073335"/>
            <a:ext cx="243899" cy="243899"/>
          </a:xfrm>
          <a:prstGeom prst="rect">
            <a:avLst/>
          </a:prstGeom>
        </p:spPr>
      </p:pic>
      <p:pic>
        <p:nvPicPr>
          <p:cNvPr id="61" name="Image 60" descr="Une image contenant symbole, cercle, Caractère coloré, Graphique&#10;&#10;Description générée automatiquement">
            <a:extLst>
              <a:ext uri="{FF2B5EF4-FFF2-40B4-BE49-F238E27FC236}">
                <a16:creationId xmlns:a16="http://schemas.microsoft.com/office/drawing/2014/main" id="{227F44B3-973E-4CC1-117A-5E9425F534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074" y="2608750"/>
            <a:ext cx="244800" cy="244800"/>
          </a:xfrm>
          <a:prstGeom prst="rect">
            <a:avLst/>
          </a:prstGeom>
        </p:spPr>
      </p:pic>
      <p:pic>
        <p:nvPicPr>
          <p:cNvPr id="62" name="Image 61" descr="Une image contenant symbole, cercle, Caractère coloré, Graphique&#10;&#10;Description générée automatiquement">
            <a:extLst>
              <a:ext uri="{FF2B5EF4-FFF2-40B4-BE49-F238E27FC236}">
                <a16:creationId xmlns:a16="http://schemas.microsoft.com/office/drawing/2014/main" id="{E91EB6CE-12CC-81BC-5B42-187DEE6CEAD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074" y="3674531"/>
            <a:ext cx="244800" cy="244800"/>
          </a:xfrm>
          <a:prstGeom prst="rect">
            <a:avLst/>
          </a:prstGeom>
        </p:spPr>
      </p:pic>
      <p:pic>
        <p:nvPicPr>
          <p:cNvPr id="64" name="Image 63" descr="Une image contenant capture d’écran, Police, Graphique, logo&#10;&#10;Description générée automatiquement">
            <a:extLst>
              <a:ext uri="{FF2B5EF4-FFF2-40B4-BE49-F238E27FC236}">
                <a16:creationId xmlns:a16="http://schemas.microsoft.com/office/drawing/2014/main" id="{70D244CE-1652-E900-A6D9-75C2D95BF7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2770450" y="2054138"/>
            <a:ext cx="296474" cy="296474"/>
          </a:xfrm>
          <a:prstGeom prst="rect">
            <a:avLst/>
          </a:prstGeom>
        </p:spPr>
      </p:pic>
      <p:pic>
        <p:nvPicPr>
          <p:cNvPr id="66" name="Image 65" descr="Une image contenant capture d’écran, Caractère coloré, Rectangle, Graphique&#10;&#10;Description générée automatiquement">
            <a:extLst>
              <a:ext uri="{FF2B5EF4-FFF2-40B4-BE49-F238E27FC236}">
                <a16:creationId xmlns:a16="http://schemas.microsoft.com/office/drawing/2014/main" id="{4F23D0D8-9EB4-81A7-3DAB-4F7062D3516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97764" y="3266078"/>
            <a:ext cx="228603" cy="228603"/>
          </a:xfrm>
          <a:prstGeom prst="rect">
            <a:avLst/>
          </a:prstGeom>
        </p:spPr>
      </p:pic>
      <p:pic>
        <p:nvPicPr>
          <p:cNvPr id="67" name="Picture 8">
            <a:extLst>
              <a:ext uri="{FF2B5EF4-FFF2-40B4-BE49-F238E27FC236}">
                <a16:creationId xmlns:a16="http://schemas.microsoft.com/office/drawing/2014/main" id="{1385D48D-E6FF-E9B7-124C-9D03AAEF540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91776" y="4081092"/>
            <a:ext cx="228603" cy="228603"/>
          </a:xfrm>
          <a:prstGeom prst="rect">
            <a:avLst/>
          </a:prstGeom>
          <a:noFill/>
          <a:extLst>
            <a:ext uri="{909E8E84-426E-40DD-AFC4-6F175D3DCCD1}">
              <a14:hiddenFill xmlns:a14="http://schemas.microsoft.com/office/drawing/2010/main">
                <a:solidFill>
                  <a:srgbClr val="FFFFFF"/>
                </a:solidFill>
              </a14:hiddenFill>
            </a:ext>
          </a:extLst>
        </p:spPr>
      </p:pic>
      <p:pic>
        <p:nvPicPr>
          <p:cNvPr id="71" name="Image 70" descr="Une image contenant symbole, capture d’écran, Graphique, conception&#10;&#10;Description générée automatiquement">
            <a:extLst>
              <a:ext uri="{FF2B5EF4-FFF2-40B4-BE49-F238E27FC236}">
                <a16:creationId xmlns:a16="http://schemas.microsoft.com/office/drawing/2014/main" id="{254508DA-D5AD-5E91-7478-46E9F2161D6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785458" y="2696663"/>
            <a:ext cx="277798" cy="277798"/>
          </a:xfrm>
          <a:prstGeom prst="rect">
            <a:avLst/>
          </a:prstGeom>
        </p:spPr>
      </p:pic>
      <p:pic>
        <p:nvPicPr>
          <p:cNvPr id="73" name="Image 72" descr="Une image contenant Graphique, capture d’écran, symbole, Caractère coloré&#10;&#10;Description générée automatiquement">
            <a:extLst>
              <a:ext uri="{FF2B5EF4-FFF2-40B4-BE49-F238E27FC236}">
                <a16:creationId xmlns:a16="http://schemas.microsoft.com/office/drawing/2014/main" id="{F3540D18-9956-9C8E-D531-5E77684E134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83676" y="3667707"/>
            <a:ext cx="244801" cy="244801"/>
          </a:xfrm>
          <a:prstGeom prst="rect">
            <a:avLst/>
          </a:prstGeom>
        </p:spPr>
      </p:pic>
      <p:sp>
        <p:nvSpPr>
          <p:cNvPr id="6" name="Google Shape;674;p44">
            <a:extLst>
              <a:ext uri="{FF2B5EF4-FFF2-40B4-BE49-F238E27FC236}">
                <a16:creationId xmlns:a16="http://schemas.microsoft.com/office/drawing/2014/main" id="{A25BC01F-2A15-773B-D8C7-41CEF1059809}"/>
              </a:ext>
            </a:extLst>
          </p:cNvPr>
          <p:cNvSpPr/>
          <p:nvPr/>
        </p:nvSpPr>
        <p:spPr>
          <a:xfrm>
            <a:off x="11473219" y="208601"/>
            <a:ext cx="551400" cy="551400"/>
          </a:xfrm>
          <a:prstGeom prst="ellipse">
            <a:avLst/>
          </a:prstGeom>
          <a:solidFill>
            <a:srgbClr val="B7FEFF"/>
          </a:solidFill>
          <a:ln>
            <a:noFill/>
          </a:ln>
        </p:spPr>
        <p:txBody>
          <a:bodyPr spcFirstLastPara="1" wrap="square" lIns="91425" tIns="45700" rIns="91425" bIns="45700" anchor="ctr" anchorCtr="0">
            <a:noAutofit/>
          </a:bodyPr>
          <a:lstStyle/>
          <a:p>
            <a:pPr algn="ctr">
              <a:buClr>
                <a:srgbClr val="000000"/>
              </a:buClr>
              <a:buSzPts val="1400"/>
            </a:pPr>
            <a:endParaRPr sz="1400">
              <a:solidFill>
                <a:schemeClr val="dk1"/>
              </a:solidFill>
              <a:latin typeface="Arial"/>
              <a:cs typeface="Arial"/>
            </a:endParaRPr>
          </a:p>
        </p:txBody>
      </p:sp>
      <p:pic>
        <p:nvPicPr>
          <p:cNvPr id="9" name="Image 8">
            <a:extLst>
              <a:ext uri="{FF2B5EF4-FFF2-40B4-BE49-F238E27FC236}">
                <a16:creationId xmlns:a16="http://schemas.microsoft.com/office/drawing/2014/main" id="{B3D0E366-1700-287D-56A8-05D12C0DC84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586919" y="322301"/>
            <a:ext cx="324000" cy="324000"/>
          </a:xfrm>
          <a:prstGeom prst="rect">
            <a:avLst/>
          </a:prstGeom>
        </p:spPr>
      </p:pic>
      <p:pic>
        <p:nvPicPr>
          <p:cNvPr id="12" name="Image 11" descr="Une image contenant cercle, Caractère coloré, Graphique, symbole&#10;&#10;Description générée automatiquement">
            <a:extLst>
              <a:ext uri="{FF2B5EF4-FFF2-40B4-BE49-F238E27FC236}">
                <a16:creationId xmlns:a16="http://schemas.microsoft.com/office/drawing/2014/main" id="{309666D0-803E-4BE9-43EB-C65D815ABE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52101" y="4490751"/>
            <a:ext cx="243899" cy="243899"/>
          </a:xfrm>
          <a:prstGeom prst="rect">
            <a:avLst/>
          </a:prstGeom>
        </p:spPr>
      </p:pic>
      <p:pic>
        <p:nvPicPr>
          <p:cNvPr id="13" name="Image 12" descr="Une image contenant cercle, Caractère coloré, Graphique, symbole&#10;&#10;Description générée automatiquement">
            <a:extLst>
              <a:ext uri="{FF2B5EF4-FFF2-40B4-BE49-F238E27FC236}">
                <a16:creationId xmlns:a16="http://schemas.microsoft.com/office/drawing/2014/main" id="{0A646DB4-7AED-BB5D-9908-4E4BF2A20C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2033" y="4478303"/>
            <a:ext cx="243899" cy="243899"/>
          </a:xfrm>
          <a:prstGeom prst="rect">
            <a:avLst/>
          </a:prstGeom>
        </p:spPr>
      </p:pic>
      <p:pic>
        <p:nvPicPr>
          <p:cNvPr id="17" name="Image 16" descr="Une image contenant cercle, Caractère coloré, Graphique, symbole&#10;&#10;Description générée automatiquement">
            <a:extLst>
              <a:ext uri="{FF2B5EF4-FFF2-40B4-BE49-F238E27FC236}">
                <a16:creationId xmlns:a16="http://schemas.microsoft.com/office/drawing/2014/main" id="{0E845D35-8BC7-1EAE-CD1B-4D249452BA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30278" y="4490750"/>
            <a:ext cx="243899" cy="243899"/>
          </a:xfrm>
          <a:prstGeom prst="rect">
            <a:avLst/>
          </a:prstGeom>
        </p:spPr>
      </p:pic>
      <p:pic>
        <p:nvPicPr>
          <p:cNvPr id="18" name="Image 17" descr="Une image contenant symbole, cercle, Caractère coloré, Graphique&#10;&#10;Description générée automatiquement">
            <a:extLst>
              <a:ext uri="{FF2B5EF4-FFF2-40B4-BE49-F238E27FC236}">
                <a16:creationId xmlns:a16="http://schemas.microsoft.com/office/drawing/2014/main" id="{BFA7A39C-A73C-0FF4-2B97-2DF2BD4D8B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67672" y="3256401"/>
            <a:ext cx="244800" cy="244800"/>
          </a:xfrm>
          <a:prstGeom prst="rect">
            <a:avLst/>
          </a:prstGeom>
        </p:spPr>
      </p:pic>
      <p:pic>
        <p:nvPicPr>
          <p:cNvPr id="19" name="Image 18" descr="Une image contenant symbole, cercle, Caractère coloré, Graphique&#10;&#10;Description générée automatiquement">
            <a:extLst>
              <a:ext uri="{FF2B5EF4-FFF2-40B4-BE49-F238E27FC236}">
                <a16:creationId xmlns:a16="http://schemas.microsoft.com/office/drawing/2014/main" id="{C63FFFBB-21F0-DACA-CE98-95760C05181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9302" y="4887641"/>
            <a:ext cx="244800" cy="244800"/>
          </a:xfrm>
          <a:prstGeom prst="rect">
            <a:avLst/>
          </a:prstGeom>
        </p:spPr>
      </p:pic>
      <p:pic>
        <p:nvPicPr>
          <p:cNvPr id="20" name="Image 19" descr="Une image contenant cercle, Caractère coloré, Graphique, symbole&#10;&#10;Description générée automatiquement">
            <a:extLst>
              <a:ext uri="{FF2B5EF4-FFF2-40B4-BE49-F238E27FC236}">
                <a16:creationId xmlns:a16="http://schemas.microsoft.com/office/drawing/2014/main" id="{0A7FE94A-9AE7-8E19-64D7-5875D9F0B1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89302" y="5269727"/>
            <a:ext cx="243899" cy="243899"/>
          </a:xfrm>
          <a:prstGeom prst="rect">
            <a:avLst/>
          </a:prstGeom>
        </p:spPr>
      </p:pic>
      <p:pic>
        <p:nvPicPr>
          <p:cNvPr id="21" name="Image 20" descr="Une image contenant symbole, cercle, Caractère coloré, Graphique&#10;&#10;Description générée automatiquement">
            <a:extLst>
              <a:ext uri="{FF2B5EF4-FFF2-40B4-BE49-F238E27FC236}">
                <a16:creationId xmlns:a16="http://schemas.microsoft.com/office/drawing/2014/main" id="{5A02C178-6B4B-6328-6F7B-489DB704880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54422" y="4883198"/>
            <a:ext cx="244800" cy="244800"/>
          </a:xfrm>
          <a:prstGeom prst="rect">
            <a:avLst/>
          </a:prstGeom>
        </p:spPr>
      </p:pic>
      <p:pic>
        <p:nvPicPr>
          <p:cNvPr id="22" name="Image 21" descr="Une image contenant cercle, Caractère coloré, Graphique, symbole&#10;&#10;Description générée automatiquement">
            <a:extLst>
              <a:ext uri="{FF2B5EF4-FFF2-40B4-BE49-F238E27FC236}">
                <a16:creationId xmlns:a16="http://schemas.microsoft.com/office/drawing/2014/main" id="{7A8911D5-5FE3-5C24-EC67-A1D06B2B0C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54422" y="5265284"/>
            <a:ext cx="243899" cy="243899"/>
          </a:xfrm>
          <a:prstGeom prst="rect">
            <a:avLst/>
          </a:prstGeom>
        </p:spPr>
      </p:pic>
      <p:pic>
        <p:nvPicPr>
          <p:cNvPr id="23" name="Image 22" descr="Une image contenant symbole, cercle, Caractère coloré, Graphique&#10;&#10;Description générée automatiquement">
            <a:extLst>
              <a:ext uri="{FF2B5EF4-FFF2-40B4-BE49-F238E27FC236}">
                <a16:creationId xmlns:a16="http://schemas.microsoft.com/office/drawing/2014/main" id="{B5A7A20D-6B83-2B5A-D2B5-0B6C029785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0074" y="4902073"/>
            <a:ext cx="244800" cy="244800"/>
          </a:xfrm>
          <a:prstGeom prst="rect">
            <a:avLst/>
          </a:prstGeom>
        </p:spPr>
      </p:pic>
      <p:pic>
        <p:nvPicPr>
          <p:cNvPr id="24" name="Image 23" descr="Une image contenant cercle, Caractère coloré, Graphique, symbole&#10;&#10;Description générée automatiquement">
            <a:extLst>
              <a:ext uri="{FF2B5EF4-FFF2-40B4-BE49-F238E27FC236}">
                <a16:creationId xmlns:a16="http://schemas.microsoft.com/office/drawing/2014/main" id="{75DFFB9E-F2ED-6FE0-F3C1-FC0B9992DD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20074" y="5284159"/>
            <a:ext cx="243899" cy="243899"/>
          </a:xfrm>
          <a:prstGeom prst="rect">
            <a:avLst/>
          </a:prstGeom>
        </p:spPr>
      </p:pic>
      <p:pic>
        <p:nvPicPr>
          <p:cNvPr id="25" name="Image 24" descr="Une image contenant cercle, Caractère coloré, Graphique, symbole&#10;&#10;Description générée automatiquement">
            <a:extLst>
              <a:ext uri="{FF2B5EF4-FFF2-40B4-BE49-F238E27FC236}">
                <a16:creationId xmlns:a16="http://schemas.microsoft.com/office/drawing/2014/main" id="{4173775D-2627-CE5C-F550-6FED9FE254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52101" y="6103062"/>
            <a:ext cx="243899" cy="243899"/>
          </a:xfrm>
          <a:prstGeom prst="rect">
            <a:avLst/>
          </a:prstGeom>
        </p:spPr>
      </p:pic>
      <p:pic>
        <p:nvPicPr>
          <p:cNvPr id="28" name="Image 27" descr="Une image contenant cercle, Caractère coloré, Graphique, symbole&#10;&#10;Description générée automatiquement">
            <a:extLst>
              <a:ext uri="{FF2B5EF4-FFF2-40B4-BE49-F238E27FC236}">
                <a16:creationId xmlns:a16="http://schemas.microsoft.com/office/drawing/2014/main" id="{0C14594C-8373-88A6-69E6-51B28F336E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6835" y="6094619"/>
            <a:ext cx="243899" cy="243899"/>
          </a:xfrm>
          <a:prstGeom prst="rect">
            <a:avLst/>
          </a:prstGeom>
        </p:spPr>
      </p:pic>
      <p:pic>
        <p:nvPicPr>
          <p:cNvPr id="29" name="Image 28" descr="Une image contenant cercle, Caractère coloré, Graphique, symbole&#10;&#10;Description générée automatiquement">
            <a:extLst>
              <a:ext uri="{FF2B5EF4-FFF2-40B4-BE49-F238E27FC236}">
                <a16:creationId xmlns:a16="http://schemas.microsoft.com/office/drawing/2014/main" id="{CE4C3608-4F58-5982-FD5A-D2E3D582FA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8051" y="6094618"/>
            <a:ext cx="243899" cy="243899"/>
          </a:xfrm>
          <a:prstGeom prst="rect">
            <a:avLst/>
          </a:prstGeom>
        </p:spPr>
      </p:pic>
    </p:spTree>
    <p:extLst>
      <p:ext uri="{BB962C8B-B14F-4D97-AF65-F5344CB8AC3E}">
        <p14:creationId xmlns:p14="http://schemas.microsoft.com/office/powerpoint/2010/main" val="825480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269332" y="146405"/>
            <a:ext cx="10800000" cy="420833"/>
          </a:xfrm>
        </p:spPr>
        <p:txBody>
          <a:bodyPr lIns="91440" tIns="45720" rIns="91440" bIns="45720" anchor="t"/>
          <a:lstStyle/>
          <a:p>
            <a:r>
              <a:rPr lang="fr-FR"/>
              <a:t>Power platform &amp; compte de service : comment faire &amp; pour quel cas d’usage ?</a:t>
            </a:r>
            <a:endParaRPr lang="en-US"/>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20" name="Espace réservé du numéro de diapositive 5">
            <a:extLst>
              <a:ext uri="{FF2B5EF4-FFF2-40B4-BE49-F238E27FC236}">
                <a16:creationId xmlns:a16="http://schemas.microsoft.com/office/drawing/2014/main" id="{C938247E-1309-9124-223D-EB92A5F7BC4D}"/>
              </a:ext>
            </a:extLst>
          </p:cNvPr>
          <p:cNvSpPr>
            <a:spLocks noGrp="1"/>
          </p:cNvSpPr>
          <p:nvPr>
            <p:ph type="sldNum" sz="quarter" idx="4"/>
          </p:nvPr>
        </p:nvSpPr>
        <p:spPr>
          <a:xfrm>
            <a:off x="716056" y="612775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3" name="ZoneTexte 2">
            <a:extLst>
              <a:ext uri="{FF2B5EF4-FFF2-40B4-BE49-F238E27FC236}">
                <a16:creationId xmlns:a16="http://schemas.microsoft.com/office/drawing/2014/main" id="{1B08C719-04C2-8020-D25C-6A0CDCD16147}"/>
              </a:ext>
            </a:extLst>
          </p:cNvPr>
          <p:cNvSpPr txBox="1"/>
          <p:nvPr/>
        </p:nvSpPr>
        <p:spPr>
          <a:xfrm>
            <a:off x="270024" y="1229445"/>
            <a:ext cx="11598765" cy="615553"/>
          </a:xfrm>
          <a:prstGeom prst="rect">
            <a:avLst/>
          </a:prstGeom>
          <a:noFill/>
        </p:spPr>
        <p:txBody>
          <a:bodyPr wrap="square" rtlCol="0">
            <a:spAutoFit/>
          </a:bodyPr>
          <a:lstStyle/>
          <a:p>
            <a:pPr algn="ctr"/>
            <a:r>
              <a:rPr lang="fr-FR" b="1">
                <a:solidFill>
                  <a:srgbClr val="009597"/>
                </a:solidFill>
              </a:rPr>
              <a:t>Il peut être nécessaire </a:t>
            </a:r>
            <a:r>
              <a:rPr lang="fr-FR" sz="1600">
                <a:solidFill>
                  <a:schemeClr val="tx1">
                    <a:lumMod val="50000"/>
                  </a:schemeClr>
                </a:solidFill>
                <a:latin typeface="Arial"/>
              </a:rPr>
              <a:t>positionner un </a:t>
            </a:r>
            <a:r>
              <a:rPr lang="fr-FR" sz="1600" b="1">
                <a:solidFill>
                  <a:schemeClr val="bg2"/>
                </a:solidFill>
                <a:latin typeface="Arial"/>
              </a:rPr>
              <a:t>compte de type « générique » ou de « service » </a:t>
            </a:r>
            <a:r>
              <a:rPr lang="fr-FR" sz="1600">
                <a:solidFill>
                  <a:schemeClr val="tx1">
                    <a:lumMod val="50000"/>
                  </a:schemeClr>
                </a:solidFill>
                <a:latin typeface="Arial"/>
              </a:rPr>
              <a:t>en tant que propriétaire (ou co-propriétaire) d’un flux ou d’une application.</a:t>
            </a:r>
          </a:p>
        </p:txBody>
      </p:sp>
      <p:sp>
        <p:nvSpPr>
          <p:cNvPr id="4" name="Rectangle : coins arrondis 3">
            <a:extLst>
              <a:ext uri="{FF2B5EF4-FFF2-40B4-BE49-F238E27FC236}">
                <a16:creationId xmlns:a16="http://schemas.microsoft.com/office/drawing/2014/main" id="{A68520D1-BFF3-915A-E6F4-FE0590C79403}"/>
              </a:ext>
            </a:extLst>
          </p:cNvPr>
          <p:cNvSpPr/>
          <p:nvPr/>
        </p:nvSpPr>
        <p:spPr>
          <a:xfrm>
            <a:off x="541471" y="2265810"/>
            <a:ext cx="10527861" cy="822201"/>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fr-FR" sz="1100">
                <a:solidFill>
                  <a:schemeClr val="tx1"/>
                </a:solidFill>
              </a:rPr>
              <a:t>Cela peut s’avérer utile lorsque l’entité consomme l’offre en tant que IT </a:t>
            </a:r>
            <a:r>
              <a:rPr lang="fr-FR" sz="1100" err="1">
                <a:solidFill>
                  <a:schemeClr val="tx1"/>
                </a:solidFill>
              </a:rPr>
              <a:t>Factory</a:t>
            </a:r>
            <a:r>
              <a:rPr lang="fr-FR" sz="1100">
                <a:solidFill>
                  <a:schemeClr val="tx1"/>
                </a:solidFill>
              </a:rPr>
              <a:t>. </a:t>
            </a:r>
          </a:p>
          <a:p>
            <a:pPr marL="171450" indent="-171450" algn="just">
              <a:buFont typeface="Arial" panose="020B0604020202020204" pitchFamily="34" charset="0"/>
              <a:buChar char="•"/>
            </a:pPr>
            <a:r>
              <a:rPr lang="fr-FR" sz="1100">
                <a:solidFill>
                  <a:schemeClr val="tx1"/>
                </a:solidFill>
              </a:rPr>
              <a:t>Un flux ou une application a été conçue par une équipe de développement mais est à destination du métier. </a:t>
            </a:r>
          </a:p>
          <a:p>
            <a:pPr marL="171450" indent="-171450" algn="just">
              <a:buFont typeface="Arial" panose="020B0604020202020204" pitchFamily="34" charset="0"/>
              <a:buChar char="•"/>
            </a:pPr>
            <a:r>
              <a:rPr lang="fr-FR" sz="1100">
                <a:solidFill>
                  <a:schemeClr val="tx1"/>
                </a:solidFill>
              </a:rPr>
              <a:t>Une bonne pratique est alors de positionner en copropriétaire un compte de service pérenne afin d’éviter tout risque de flux ou application orphelin dans le temps</a:t>
            </a:r>
          </a:p>
        </p:txBody>
      </p:sp>
      <p:sp>
        <p:nvSpPr>
          <p:cNvPr id="7" name="ZoneTexte 6">
            <a:extLst>
              <a:ext uri="{FF2B5EF4-FFF2-40B4-BE49-F238E27FC236}">
                <a16:creationId xmlns:a16="http://schemas.microsoft.com/office/drawing/2014/main" id="{B5C26339-4424-7E08-9B2B-A8B364592A19}"/>
              </a:ext>
            </a:extLst>
          </p:cNvPr>
          <p:cNvSpPr txBox="1"/>
          <p:nvPr/>
        </p:nvSpPr>
        <p:spPr>
          <a:xfrm>
            <a:off x="364424" y="2051330"/>
            <a:ext cx="3935202" cy="293030"/>
          </a:xfrm>
          <a:prstGeom prst="roundRect">
            <a:avLst>
              <a:gd name="adj" fmla="val 50000"/>
            </a:avLst>
          </a:prstGeom>
          <a:solidFill>
            <a:schemeClr val="bg2"/>
          </a:solidFill>
        </p:spPr>
        <p:txBody>
          <a:bodyPr wrap="square" anchor="ctr">
            <a:noAutofit/>
          </a:bodyPr>
          <a:lstStyle/>
          <a:p>
            <a:pPr algn="just"/>
            <a:r>
              <a:rPr lang="fr-FR" sz="1100" b="1">
                <a:solidFill>
                  <a:schemeClr val="bg1"/>
                </a:solidFill>
                <a:latin typeface="Arial Rounded MT Bold" panose="020F0704030504030204" pitchFamily="34" charset="0"/>
              </a:rPr>
              <a:t>Dans quel cas d’usage utiliser un compte générique ?</a:t>
            </a:r>
          </a:p>
        </p:txBody>
      </p:sp>
      <p:sp>
        <p:nvSpPr>
          <p:cNvPr id="9" name="ZoneTexte 8">
            <a:extLst>
              <a:ext uri="{FF2B5EF4-FFF2-40B4-BE49-F238E27FC236}">
                <a16:creationId xmlns:a16="http://schemas.microsoft.com/office/drawing/2014/main" id="{16B59C94-913D-6A08-1B18-FB652BCC9B58}"/>
              </a:ext>
            </a:extLst>
          </p:cNvPr>
          <p:cNvSpPr txBox="1"/>
          <p:nvPr/>
        </p:nvSpPr>
        <p:spPr>
          <a:xfrm>
            <a:off x="364424" y="3508823"/>
            <a:ext cx="3935202" cy="293030"/>
          </a:xfrm>
          <a:prstGeom prst="roundRect">
            <a:avLst>
              <a:gd name="adj" fmla="val 50000"/>
            </a:avLst>
          </a:prstGeom>
          <a:solidFill>
            <a:schemeClr val="bg2"/>
          </a:solidFill>
        </p:spPr>
        <p:txBody>
          <a:bodyPr wrap="square" anchor="ctr">
            <a:noAutofit/>
          </a:bodyPr>
          <a:lstStyle/>
          <a:p>
            <a:pPr algn="just"/>
            <a:r>
              <a:rPr lang="fr-FR" sz="1100" b="1">
                <a:solidFill>
                  <a:schemeClr val="bg1"/>
                </a:solidFill>
                <a:latin typeface="Arial Rounded MT Bold" panose="020F0704030504030204" pitchFamily="34" charset="0"/>
              </a:rPr>
              <a:t>Processus de mise en œuvre </a:t>
            </a:r>
          </a:p>
        </p:txBody>
      </p:sp>
      <p:sp>
        <p:nvSpPr>
          <p:cNvPr id="11" name="Rectangle 10">
            <a:extLst>
              <a:ext uri="{FF2B5EF4-FFF2-40B4-BE49-F238E27FC236}">
                <a16:creationId xmlns:a16="http://schemas.microsoft.com/office/drawing/2014/main" id="{D0E057F0-AB9E-6C17-1458-BD57C1CAA22B}"/>
              </a:ext>
            </a:extLst>
          </p:cNvPr>
          <p:cNvSpPr/>
          <p:nvPr/>
        </p:nvSpPr>
        <p:spPr>
          <a:xfrm>
            <a:off x="1274050" y="4299452"/>
            <a:ext cx="3258802" cy="1381328"/>
          </a:xfrm>
          <a:prstGeom prst="rect">
            <a:avLst/>
          </a:prstGeom>
          <a:solidFill>
            <a:schemeClr val="bg1"/>
          </a:solidFill>
          <a:ln w="6350">
            <a:solidFill>
              <a:srgbClr val="66257F"/>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endParaRPr lang="fr-FR" sz="700">
              <a:solidFill>
                <a:srgbClr val="707173"/>
              </a:solidFill>
            </a:endParaRPr>
          </a:p>
          <a:p>
            <a:pPr algn="just"/>
            <a:r>
              <a:rPr lang="fr-FR" sz="700">
                <a:solidFill>
                  <a:srgbClr val="707173"/>
                </a:solidFill>
              </a:rPr>
              <a:t>Création d’un compte AD de type utilisateur standard selon le processus propre à l’entité</a:t>
            </a:r>
          </a:p>
          <a:p>
            <a:pPr algn="just"/>
            <a:endParaRPr lang="fr-FR" sz="700">
              <a:solidFill>
                <a:srgbClr val="707173"/>
              </a:solidFill>
            </a:endParaRPr>
          </a:p>
          <a:p>
            <a:pPr algn="just"/>
            <a:r>
              <a:rPr lang="fr-FR" sz="700" b="1">
                <a:solidFill>
                  <a:srgbClr val="707173"/>
                </a:solidFill>
              </a:rPr>
              <a:t>Caractéristiques attendues du compte :</a:t>
            </a:r>
          </a:p>
          <a:p>
            <a:pPr marL="171450" indent="-171450" algn="just">
              <a:buFont typeface="Arial" panose="020B0604020202020204" pitchFamily="34" charset="0"/>
              <a:buChar char="•"/>
            </a:pPr>
            <a:r>
              <a:rPr lang="fr-FR" sz="700">
                <a:solidFill>
                  <a:srgbClr val="707173"/>
                </a:solidFill>
              </a:rPr>
              <a:t>Règle de nommage du compte SA-[</a:t>
            </a:r>
            <a:r>
              <a:rPr lang="fr-FR" sz="700" err="1">
                <a:solidFill>
                  <a:srgbClr val="707173"/>
                </a:solidFill>
              </a:rPr>
              <a:t>NomEntité</a:t>
            </a:r>
            <a:r>
              <a:rPr lang="fr-FR" sz="700">
                <a:solidFill>
                  <a:srgbClr val="707173"/>
                </a:solidFill>
              </a:rPr>
              <a:t>]-[</a:t>
            </a:r>
            <a:r>
              <a:rPr lang="fr-FR" sz="700" err="1">
                <a:solidFill>
                  <a:srgbClr val="707173"/>
                </a:solidFill>
              </a:rPr>
              <a:t>DomainAD</a:t>
            </a:r>
            <a:r>
              <a:rPr lang="fr-FR" sz="700">
                <a:solidFill>
                  <a:srgbClr val="707173"/>
                </a:solidFill>
              </a:rPr>
              <a:t>]-</a:t>
            </a:r>
            <a:r>
              <a:rPr lang="fr-FR" sz="700" err="1">
                <a:solidFill>
                  <a:srgbClr val="707173"/>
                </a:solidFill>
              </a:rPr>
              <a:t>PowerPlatform</a:t>
            </a:r>
            <a:endParaRPr lang="fr-FR" sz="700">
              <a:solidFill>
                <a:srgbClr val="707173"/>
              </a:solidFill>
            </a:endParaRPr>
          </a:p>
          <a:p>
            <a:pPr marL="171450" indent="-171450" algn="just">
              <a:buFont typeface="Arial" panose="020B0604020202020204" pitchFamily="34" charset="0"/>
              <a:buChar char="•"/>
            </a:pPr>
            <a:r>
              <a:rPr lang="fr-FR" sz="700">
                <a:solidFill>
                  <a:srgbClr val="707173"/>
                </a:solidFill>
              </a:rPr>
              <a:t>Appartenir au GS affectant les licences Office 365</a:t>
            </a:r>
          </a:p>
          <a:p>
            <a:pPr marL="171450" indent="-171450" algn="just">
              <a:buFont typeface="Arial" panose="020B0604020202020204" pitchFamily="34" charset="0"/>
              <a:buChar char="•"/>
            </a:pPr>
            <a:r>
              <a:rPr lang="en-US" sz="700" kern="1200">
                <a:solidFill>
                  <a:schemeClr val="dk1"/>
                </a:solidFill>
                <a:latin typeface="+mn-lt"/>
                <a:ea typeface="+mn-ea"/>
                <a:cs typeface="+mn-cs"/>
              </a:rPr>
              <a:t>Appartenir au GS_A_[DOMAIN]_[ENTITE]_PowerPlatform_E3|5</a:t>
            </a:r>
          </a:p>
          <a:p>
            <a:pPr marL="171450" indent="-171450" algn="just">
              <a:buFont typeface="Arial" panose="020B0604020202020204" pitchFamily="34" charset="0"/>
              <a:buChar char="•"/>
            </a:pPr>
            <a:r>
              <a:rPr lang="en-US" sz="700" kern="1200">
                <a:solidFill>
                  <a:schemeClr val="dk1"/>
                </a:solidFill>
                <a:latin typeface="+mn-lt"/>
                <a:ea typeface="+mn-ea"/>
                <a:cs typeface="+mn-cs"/>
              </a:rPr>
              <a:t>Appertenir au GS_A_[DOMAIN]_[ENTITE]_</a:t>
            </a:r>
            <a:r>
              <a:rPr lang="en-US" sz="700" kern="1200" err="1">
                <a:solidFill>
                  <a:schemeClr val="dk1"/>
                </a:solidFill>
                <a:latin typeface="+mn-lt"/>
                <a:ea typeface="+mn-ea"/>
                <a:cs typeface="+mn-cs"/>
              </a:rPr>
              <a:t>PowerPlatform_Maker</a:t>
            </a:r>
            <a:endParaRPr lang="fr-FR" sz="700">
              <a:solidFill>
                <a:srgbClr val="707173"/>
              </a:solidFill>
            </a:endParaRPr>
          </a:p>
        </p:txBody>
      </p:sp>
      <p:sp>
        <p:nvSpPr>
          <p:cNvPr id="13" name="Google Shape;716;p46">
            <a:extLst>
              <a:ext uri="{FF2B5EF4-FFF2-40B4-BE49-F238E27FC236}">
                <a16:creationId xmlns:a16="http://schemas.microsoft.com/office/drawing/2014/main" id="{B280EB04-0FE2-BF52-5695-40414E7991F9}"/>
              </a:ext>
            </a:extLst>
          </p:cNvPr>
          <p:cNvSpPr/>
          <p:nvPr/>
        </p:nvSpPr>
        <p:spPr>
          <a:xfrm>
            <a:off x="1154537" y="4218404"/>
            <a:ext cx="732580" cy="184266"/>
          </a:xfrm>
          <a:prstGeom prst="roundRect">
            <a:avLst>
              <a:gd name="adj" fmla="val 50000"/>
            </a:avLst>
          </a:prstGeom>
          <a:solidFill>
            <a:schemeClr val="tx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800" b="1" i="0" u="none" strike="noStrike" cap="small">
                <a:solidFill>
                  <a:schemeClr val="bg1"/>
                </a:solidFill>
                <a:latin typeface="Arial Rounded MT Bold" panose="020F0704030504030204" pitchFamily="34" charset="0"/>
                <a:ea typeface="Caveat"/>
                <a:cs typeface="Caveat"/>
                <a:sym typeface="Caveat"/>
              </a:rPr>
              <a:t>Entité</a:t>
            </a:r>
            <a:endParaRPr lang="fr-FR" sz="800" b="0" i="0" u="none" strike="noStrike" cap="none">
              <a:solidFill>
                <a:schemeClr val="bg1"/>
              </a:solidFill>
              <a:latin typeface="Arial Rounded MT Bold" panose="020F0704030504030204" pitchFamily="34" charset="0"/>
              <a:ea typeface="Caveat"/>
              <a:cs typeface="Caveat"/>
              <a:sym typeface="Caveat"/>
            </a:endParaRPr>
          </a:p>
        </p:txBody>
      </p:sp>
      <p:sp>
        <p:nvSpPr>
          <p:cNvPr id="16" name="Rectangle 15">
            <a:extLst>
              <a:ext uri="{FF2B5EF4-FFF2-40B4-BE49-F238E27FC236}">
                <a16:creationId xmlns:a16="http://schemas.microsoft.com/office/drawing/2014/main" id="{F57AD935-5597-0BDC-8DFD-A88C1F534178}"/>
              </a:ext>
            </a:extLst>
          </p:cNvPr>
          <p:cNvSpPr/>
          <p:nvPr/>
        </p:nvSpPr>
        <p:spPr>
          <a:xfrm>
            <a:off x="5032205" y="4338579"/>
            <a:ext cx="1796374" cy="1303075"/>
          </a:xfrm>
          <a:prstGeom prst="rect">
            <a:avLst/>
          </a:prstGeom>
          <a:solidFill>
            <a:schemeClr val="bg1"/>
          </a:solidFill>
          <a:ln w="6350">
            <a:solidFill>
              <a:srgbClr val="66257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fr-FR" sz="700">
              <a:solidFill>
                <a:srgbClr val="707173"/>
              </a:solidFill>
            </a:endParaRPr>
          </a:p>
          <a:p>
            <a:pPr algn="just"/>
            <a:r>
              <a:rPr lang="fr-FR" sz="700">
                <a:solidFill>
                  <a:srgbClr val="707173"/>
                </a:solidFill>
              </a:rPr>
              <a:t>Positionner le compte nouvellement créé en tant que co-propriétaire du flux ou de l’application souhaité</a:t>
            </a:r>
          </a:p>
        </p:txBody>
      </p:sp>
      <p:sp>
        <p:nvSpPr>
          <p:cNvPr id="17" name="Google Shape;716;p46">
            <a:extLst>
              <a:ext uri="{FF2B5EF4-FFF2-40B4-BE49-F238E27FC236}">
                <a16:creationId xmlns:a16="http://schemas.microsoft.com/office/drawing/2014/main" id="{FC16E368-FF39-37D7-4AF8-597FD11AB944}"/>
              </a:ext>
            </a:extLst>
          </p:cNvPr>
          <p:cNvSpPr/>
          <p:nvPr/>
        </p:nvSpPr>
        <p:spPr>
          <a:xfrm>
            <a:off x="4912692" y="4296657"/>
            <a:ext cx="732580" cy="184266"/>
          </a:xfrm>
          <a:prstGeom prst="roundRect">
            <a:avLst>
              <a:gd name="adj" fmla="val 50000"/>
            </a:avLst>
          </a:prstGeom>
          <a:solidFill>
            <a:schemeClr val="tx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800" b="1" i="0" u="none" strike="noStrike" cap="small">
                <a:solidFill>
                  <a:schemeClr val="bg1"/>
                </a:solidFill>
                <a:latin typeface="Arial Rounded MT Bold" panose="020F0704030504030204" pitchFamily="34" charset="0"/>
                <a:ea typeface="Caveat"/>
                <a:cs typeface="Caveat"/>
                <a:sym typeface="Caveat"/>
              </a:rPr>
              <a:t>Entité</a:t>
            </a:r>
            <a:endParaRPr lang="fr-FR" sz="800" b="0" i="0" u="none" strike="noStrike" cap="none">
              <a:solidFill>
                <a:schemeClr val="bg1"/>
              </a:solidFill>
              <a:latin typeface="Arial Rounded MT Bold" panose="020F0704030504030204" pitchFamily="34" charset="0"/>
              <a:ea typeface="Caveat"/>
              <a:cs typeface="Caveat"/>
              <a:sym typeface="Caveat"/>
            </a:endParaRPr>
          </a:p>
        </p:txBody>
      </p:sp>
      <p:sp>
        <p:nvSpPr>
          <p:cNvPr id="18" name="Rectangle 17">
            <a:extLst>
              <a:ext uri="{FF2B5EF4-FFF2-40B4-BE49-F238E27FC236}">
                <a16:creationId xmlns:a16="http://schemas.microsoft.com/office/drawing/2014/main" id="{8EA405D0-5864-9E73-DF2D-4AF944E3BD7A}"/>
              </a:ext>
            </a:extLst>
          </p:cNvPr>
          <p:cNvSpPr/>
          <p:nvPr/>
        </p:nvSpPr>
        <p:spPr>
          <a:xfrm>
            <a:off x="7305236" y="4318811"/>
            <a:ext cx="2243404" cy="1342611"/>
          </a:xfrm>
          <a:prstGeom prst="rect">
            <a:avLst/>
          </a:prstGeom>
          <a:solidFill>
            <a:schemeClr val="bg1"/>
          </a:solidFill>
          <a:ln w="6350">
            <a:solidFill>
              <a:srgbClr val="66257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fr-FR" sz="700">
                <a:solidFill>
                  <a:srgbClr val="707173"/>
                </a:solidFill>
              </a:rPr>
              <a:t>A partir d’un poste de travail appartenant au domaine Crédit Agricole, ouvrir une session avec le compte nouvellement créé puis s’assurer que les connections au sein du flux ou de l’applications sont portées par ce compte</a:t>
            </a:r>
          </a:p>
        </p:txBody>
      </p:sp>
      <p:sp>
        <p:nvSpPr>
          <p:cNvPr id="19" name="Google Shape;716;p46">
            <a:extLst>
              <a:ext uri="{FF2B5EF4-FFF2-40B4-BE49-F238E27FC236}">
                <a16:creationId xmlns:a16="http://schemas.microsoft.com/office/drawing/2014/main" id="{8115514C-5C34-B1B6-3B60-19BDC86BB65D}"/>
              </a:ext>
            </a:extLst>
          </p:cNvPr>
          <p:cNvSpPr/>
          <p:nvPr/>
        </p:nvSpPr>
        <p:spPr>
          <a:xfrm>
            <a:off x="7199165" y="4296657"/>
            <a:ext cx="741836" cy="189857"/>
          </a:xfrm>
          <a:prstGeom prst="roundRect">
            <a:avLst>
              <a:gd name="adj" fmla="val 50000"/>
            </a:avLst>
          </a:prstGeom>
          <a:solidFill>
            <a:schemeClr val="tx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800" b="1" i="0" u="none" strike="noStrike" cap="small">
                <a:solidFill>
                  <a:schemeClr val="bg1"/>
                </a:solidFill>
                <a:latin typeface="Arial Rounded MT Bold" panose="020F0704030504030204" pitchFamily="34" charset="0"/>
                <a:ea typeface="Caveat"/>
                <a:cs typeface="Caveat"/>
                <a:sym typeface="Caveat"/>
              </a:rPr>
              <a:t>Entité</a:t>
            </a:r>
            <a:endParaRPr lang="fr-FR" sz="800" b="0" i="0" u="none" strike="noStrike" cap="none">
              <a:solidFill>
                <a:schemeClr val="bg1"/>
              </a:solidFill>
              <a:latin typeface="Arial Rounded MT Bold" panose="020F0704030504030204" pitchFamily="34" charset="0"/>
              <a:ea typeface="Caveat"/>
              <a:cs typeface="Caveat"/>
              <a:sym typeface="Caveat"/>
            </a:endParaRPr>
          </a:p>
        </p:txBody>
      </p:sp>
      <p:sp>
        <p:nvSpPr>
          <p:cNvPr id="21" name="Ellipse 20">
            <a:extLst>
              <a:ext uri="{FF2B5EF4-FFF2-40B4-BE49-F238E27FC236}">
                <a16:creationId xmlns:a16="http://schemas.microsoft.com/office/drawing/2014/main" id="{8C0AFE81-E6DA-94F7-4485-662974813AC7}"/>
              </a:ext>
            </a:extLst>
          </p:cNvPr>
          <p:cNvSpPr/>
          <p:nvPr/>
        </p:nvSpPr>
        <p:spPr>
          <a:xfrm>
            <a:off x="10025297" y="4857839"/>
            <a:ext cx="264554" cy="26455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2" name="Connecteur droit 21">
            <a:extLst>
              <a:ext uri="{FF2B5EF4-FFF2-40B4-BE49-F238E27FC236}">
                <a16:creationId xmlns:a16="http://schemas.microsoft.com/office/drawing/2014/main" id="{977EA7D0-7EB8-5C22-4052-3B8BBA437BC5}"/>
              </a:ext>
            </a:extLst>
          </p:cNvPr>
          <p:cNvCxnSpPr>
            <a:cxnSpLocks/>
            <a:stCxn id="18" idx="3"/>
            <a:endCxn id="21" idx="2"/>
          </p:cNvCxnSpPr>
          <p:nvPr/>
        </p:nvCxnSpPr>
        <p:spPr>
          <a:xfrm flipV="1">
            <a:off x="9548640" y="4990116"/>
            <a:ext cx="476657" cy="1"/>
          </a:xfrm>
          <a:prstGeom prst="line">
            <a:avLst/>
          </a:prstGeom>
          <a:ln>
            <a:solidFill>
              <a:srgbClr val="66257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B1643D88-3C94-EAA6-6862-CF7BDC58F986}"/>
              </a:ext>
            </a:extLst>
          </p:cNvPr>
          <p:cNvCxnSpPr>
            <a:cxnSpLocks/>
          </p:cNvCxnSpPr>
          <p:nvPr/>
        </p:nvCxnSpPr>
        <p:spPr>
          <a:xfrm>
            <a:off x="6828579" y="4983028"/>
            <a:ext cx="476657" cy="0"/>
          </a:xfrm>
          <a:prstGeom prst="line">
            <a:avLst/>
          </a:prstGeom>
          <a:ln>
            <a:solidFill>
              <a:srgbClr val="66257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582E0A00-8249-6184-C4DC-8AA5E98C0E78}"/>
              </a:ext>
            </a:extLst>
          </p:cNvPr>
          <p:cNvCxnSpPr>
            <a:cxnSpLocks/>
          </p:cNvCxnSpPr>
          <p:nvPr/>
        </p:nvCxnSpPr>
        <p:spPr>
          <a:xfrm>
            <a:off x="4532852" y="4970553"/>
            <a:ext cx="499353" cy="1"/>
          </a:xfrm>
          <a:prstGeom prst="line">
            <a:avLst/>
          </a:prstGeom>
          <a:ln>
            <a:solidFill>
              <a:srgbClr val="66257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Ellipse 29">
            <a:extLst>
              <a:ext uri="{FF2B5EF4-FFF2-40B4-BE49-F238E27FC236}">
                <a16:creationId xmlns:a16="http://schemas.microsoft.com/office/drawing/2014/main" id="{6131BC76-59F2-AB79-1E33-ED635B080D78}"/>
              </a:ext>
            </a:extLst>
          </p:cNvPr>
          <p:cNvSpPr/>
          <p:nvPr/>
        </p:nvSpPr>
        <p:spPr>
          <a:xfrm>
            <a:off x="510143" y="4857839"/>
            <a:ext cx="264554" cy="264554"/>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1" name="Connecteur droit 30">
            <a:extLst>
              <a:ext uri="{FF2B5EF4-FFF2-40B4-BE49-F238E27FC236}">
                <a16:creationId xmlns:a16="http://schemas.microsoft.com/office/drawing/2014/main" id="{FA850197-5B53-57B6-05E0-514B14EBCFA0}"/>
              </a:ext>
            </a:extLst>
          </p:cNvPr>
          <p:cNvCxnSpPr>
            <a:cxnSpLocks/>
          </p:cNvCxnSpPr>
          <p:nvPr/>
        </p:nvCxnSpPr>
        <p:spPr>
          <a:xfrm>
            <a:off x="774697" y="4981488"/>
            <a:ext cx="499353" cy="0"/>
          </a:xfrm>
          <a:prstGeom prst="line">
            <a:avLst/>
          </a:prstGeom>
          <a:ln>
            <a:solidFill>
              <a:srgbClr val="66257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Google Shape;674;p44">
            <a:extLst>
              <a:ext uri="{FF2B5EF4-FFF2-40B4-BE49-F238E27FC236}">
                <a16:creationId xmlns:a16="http://schemas.microsoft.com/office/drawing/2014/main" id="{FD812B13-CB25-8520-5B55-6D7C462F110C}"/>
              </a:ext>
            </a:extLst>
          </p:cNvPr>
          <p:cNvSpPr/>
          <p:nvPr/>
        </p:nvSpPr>
        <p:spPr>
          <a:xfrm>
            <a:off x="11473219" y="208601"/>
            <a:ext cx="551400" cy="551400"/>
          </a:xfrm>
          <a:prstGeom prst="ellipse">
            <a:avLst/>
          </a:prstGeom>
          <a:solidFill>
            <a:srgbClr val="B7FEFF"/>
          </a:solidFill>
          <a:ln>
            <a:noFill/>
          </a:ln>
        </p:spPr>
        <p:txBody>
          <a:bodyPr spcFirstLastPara="1" wrap="square" lIns="91425" tIns="45700" rIns="91425" bIns="45700" anchor="ctr" anchorCtr="0">
            <a:noAutofit/>
          </a:bodyPr>
          <a:lstStyle/>
          <a:p>
            <a:pPr algn="ctr">
              <a:buClr>
                <a:srgbClr val="000000"/>
              </a:buClr>
              <a:buSzPts val="1400"/>
            </a:pPr>
            <a:endParaRPr sz="1400">
              <a:solidFill>
                <a:schemeClr val="dk1"/>
              </a:solidFill>
              <a:latin typeface="Arial"/>
              <a:cs typeface="Arial"/>
            </a:endParaRPr>
          </a:p>
        </p:txBody>
      </p:sp>
      <p:pic>
        <p:nvPicPr>
          <p:cNvPr id="6" name="Image 5">
            <a:extLst>
              <a:ext uri="{FF2B5EF4-FFF2-40B4-BE49-F238E27FC236}">
                <a16:creationId xmlns:a16="http://schemas.microsoft.com/office/drawing/2014/main" id="{02243898-C0C5-A583-46F1-F463CD17D3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86919" y="322301"/>
            <a:ext cx="324000" cy="324000"/>
          </a:xfrm>
          <a:prstGeom prst="rect">
            <a:avLst/>
          </a:prstGeom>
        </p:spPr>
      </p:pic>
    </p:spTree>
    <p:extLst>
      <p:ext uri="{BB962C8B-B14F-4D97-AF65-F5344CB8AC3E}">
        <p14:creationId xmlns:p14="http://schemas.microsoft.com/office/powerpoint/2010/main" val="3452008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3">
            <a:extLst>
              <a:ext uri="{FF2B5EF4-FFF2-40B4-BE49-F238E27FC236}">
                <a16:creationId xmlns:a16="http://schemas.microsoft.com/office/drawing/2014/main" id="{41A6CDF1-5FA4-2074-AFDB-8D93C47E8F90}"/>
              </a:ext>
            </a:extLst>
          </p:cNvPr>
          <p:cNvSpPr>
            <a:spLocks noGrp="1"/>
          </p:cNvSpPr>
          <p:nvPr>
            <p:ph type="title"/>
          </p:nvPr>
        </p:nvSpPr>
        <p:spPr>
          <a:xfrm>
            <a:off x="0" y="159446"/>
            <a:ext cx="13000998" cy="522060"/>
          </a:xfrm>
        </p:spPr>
        <p:txBody>
          <a:bodyPr/>
          <a:lstStyle/>
          <a:p>
            <a:r>
              <a:rPr lang="fr-FR" sz="2400"/>
              <a:t>Annexe 1 : Caractéristiques techniques des environnements</a:t>
            </a:r>
            <a:endParaRPr lang="fr-FR" sz="1400"/>
          </a:p>
        </p:txBody>
      </p:sp>
      <p:graphicFrame>
        <p:nvGraphicFramePr>
          <p:cNvPr id="31" name="Tableau 30">
            <a:extLst>
              <a:ext uri="{FF2B5EF4-FFF2-40B4-BE49-F238E27FC236}">
                <a16:creationId xmlns:a16="http://schemas.microsoft.com/office/drawing/2014/main" id="{DB0FFF77-4836-FB6F-BD7B-4F1D0096B34A}"/>
              </a:ext>
            </a:extLst>
          </p:cNvPr>
          <p:cNvGraphicFramePr>
            <a:graphicFrameLocks noGrp="1"/>
          </p:cNvGraphicFramePr>
          <p:nvPr>
            <p:extLst>
              <p:ext uri="{D42A27DB-BD31-4B8C-83A1-F6EECF244321}">
                <p14:modId xmlns:p14="http://schemas.microsoft.com/office/powerpoint/2010/main" val="1945077730"/>
              </p:ext>
            </p:extLst>
          </p:nvPr>
        </p:nvGraphicFramePr>
        <p:xfrm>
          <a:off x="422223" y="621546"/>
          <a:ext cx="11524938" cy="5432633"/>
        </p:xfrm>
        <a:graphic>
          <a:graphicData uri="http://schemas.openxmlformats.org/drawingml/2006/table">
            <a:tbl>
              <a:tblPr bandRow="1">
                <a:tableStyleId>{5C22544A-7EE6-4342-B048-85BDC9FD1C3A}</a:tableStyleId>
              </a:tblPr>
              <a:tblGrid>
                <a:gridCol w="2127432">
                  <a:extLst>
                    <a:ext uri="{9D8B030D-6E8A-4147-A177-3AD203B41FA5}">
                      <a16:colId xmlns:a16="http://schemas.microsoft.com/office/drawing/2014/main" val="212845132"/>
                    </a:ext>
                  </a:extLst>
                </a:gridCol>
                <a:gridCol w="4698752">
                  <a:extLst>
                    <a:ext uri="{9D8B030D-6E8A-4147-A177-3AD203B41FA5}">
                      <a16:colId xmlns:a16="http://schemas.microsoft.com/office/drawing/2014/main" val="3045043862"/>
                    </a:ext>
                  </a:extLst>
                </a:gridCol>
                <a:gridCol w="2349377">
                  <a:extLst>
                    <a:ext uri="{9D8B030D-6E8A-4147-A177-3AD203B41FA5}">
                      <a16:colId xmlns:a16="http://schemas.microsoft.com/office/drawing/2014/main" val="933447021"/>
                    </a:ext>
                  </a:extLst>
                </a:gridCol>
                <a:gridCol w="2349377">
                  <a:extLst>
                    <a:ext uri="{9D8B030D-6E8A-4147-A177-3AD203B41FA5}">
                      <a16:colId xmlns:a16="http://schemas.microsoft.com/office/drawing/2014/main" val="3948998403"/>
                    </a:ext>
                  </a:extLst>
                </a:gridCol>
              </a:tblGrid>
              <a:tr h="311993">
                <a:tc>
                  <a:txBody>
                    <a:bodyPr/>
                    <a:lstStyle/>
                    <a:p>
                      <a:endParaRPr lang="fr-FR" sz="1100"/>
                    </a:p>
                  </a:txBody>
                  <a:tcPr anchor="ct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a:r>
                        <a:rPr lang="fr-FR" sz="1100" b="1" i="0" kern="1200" dirty="0">
                          <a:solidFill>
                            <a:schemeClr val="bg1"/>
                          </a:solidFill>
                          <a:effectLst/>
                          <a:latin typeface="+mn-lt"/>
                          <a:ea typeface="+mn-ea"/>
                          <a:cs typeface="+mn-cs"/>
                        </a:rPr>
                        <a:t>PÉRIMÈTRE CITIZEN IT</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gridSpan="2">
                  <a:txBody>
                    <a:bodyPr/>
                    <a:lstStyle/>
                    <a:p>
                      <a:pPr algn="ctr"/>
                      <a:r>
                        <a:rPr lang="fr-FR" sz="1100" b="1" i="0" kern="1200" dirty="0">
                          <a:solidFill>
                            <a:schemeClr val="bg1"/>
                          </a:solidFill>
                          <a:effectLst/>
                          <a:latin typeface="+mn-lt"/>
                          <a:ea typeface="+mn-ea"/>
                          <a:cs typeface="+mn-cs"/>
                        </a:rPr>
                        <a:t>PÉRIMÈTRE IT FACTOR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hMerge="1">
                  <a:txBody>
                    <a:bodyPr/>
                    <a:lstStyle/>
                    <a:p>
                      <a:endParaRPr lang="fr-FR"/>
                    </a:p>
                  </a:txBody>
                  <a:tcPr/>
                </a:tc>
                <a:extLst>
                  <a:ext uri="{0D108BD9-81ED-4DB2-BD59-A6C34878D82A}">
                    <a16:rowId xmlns:a16="http://schemas.microsoft.com/office/drawing/2014/main" val="4191586647"/>
                  </a:ext>
                </a:extLst>
              </a:tr>
              <a:tr h="426720">
                <a:tc>
                  <a:txBody>
                    <a:bodyPr/>
                    <a:lstStyle/>
                    <a:p>
                      <a:endParaRPr lang="fr-FR" sz="1100" b="1"/>
                    </a:p>
                  </a:txBody>
                  <a:tcPr anchor="ct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r>
                        <a:rPr lang="fr-FR" sz="1100" b="1" i="0" kern="1200" dirty="0">
                          <a:solidFill>
                            <a:schemeClr val="dk1"/>
                          </a:solidFill>
                          <a:effectLst/>
                          <a:latin typeface="+mn-lt"/>
                          <a:ea typeface="+mn-ea"/>
                          <a:cs typeface="+mn-cs"/>
                        </a:rPr>
                        <a:t>[ENTITE] - CITIZEN IT</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3FFFF"/>
                    </a:solidFill>
                  </a:tcPr>
                </a:tc>
                <a:tc>
                  <a:txBody>
                    <a:bodyPr/>
                    <a:lstStyle/>
                    <a:p>
                      <a:pPr algn="ctr"/>
                      <a:r>
                        <a:rPr lang="fr-FR" sz="1100" b="1" i="0" kern="1200" dirty="0">
                          <a:solidFill>
                            <a:schemeClr val="dk1"/>
                          </a:solidFill>
                          <a:effectLst/>
                          <a:latin typeface="+mn-lt"/>
                          <a:ea typeface="+mn-ea"/>
                          <a:cs typeface="+mn-cs"/>
                        </a:rPr>
                        <a:t>[ENTITE] – IT FACTORY - DEV</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3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i="0" kern="1200" dirty="0">
                          <a:solidFill>
                            <a:schemeClr val="dk1"/>
                          </a:solidFill>
                          <a:effectLst/>
                          <a:latin typeface="+mn-lt"/>
                          <a:ea typeface="+mn-ea"/>
                          <a:cs typeface="+mn-cs"/>
                        </a:rPr>
                        <a:t>[ENTITE] – IT FACTORY - PROD</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3FFFF"/>
                    </a:solidFill>
                  </a:tcPr>
                </a:tc>
                <a:extLst>
                  <a:ext uri="{0D108BD9-81ED-4DB2-BD59-A6C34878D82A}">
                    <a16:rowId xmlns:a16="http://schemas.microsoft.com/office/drawing/2014/main" val="336928350"/>
                  </a:ext>
                </a:extLst>
              </a:tr>
              <a:tr h="426720">
                <a:tc>
                  <a:txBody>
                    <a:bodyPr/>
                    <a:lstStyle/>
                    <a:p>
                      <a:r>
                        <a:rPr lang="fr-FR" sz="1100" b="1" dirty="0">
                          <a:solidFill>
                            <a:schemeClr val="bg1"/>
                          </a:solidFill>
                        </a:rPr>
                        <a:t>Processus de création</a:t>
                      </a:r>
                    </a:p>
                  </a:txBody>
                  <a:tcPr anchor="ct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a:txBody>
                    <a:bodyPr/>
                    <a:lstStyle/>
                    <a:p>
                      <a:pPr algn="ctr"/>
                      <a:r>
                        <a:rPr lang="fr-FR" sz="1000" b="0" i="0" kern="1200" dirty="0">
                          <a:solidFill>
                            <a:schemeClr val="dk1"/>
                          </a:solidFill>
                          <a:effectLst/>
                          <a:latin typeface="+mn-lt"/>
                          <a:ea typeface="+mn-ea"/>
                          <a:cs typeface="+mn-cs"/>
                        </a:rPr>
                        <a:t>A la souscription de l’offre par l’entité</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gridSpan="2">
                  <a:txBody>
                    <a:bodyPr/>
                    <a:lstStyle/>
                    <a:p>
                      <a:pPr algn="ctr"/>
                      <a:r>
                        <a:rPr lang="fr-FR" sz="1000" b="0" i="0" kern="1200" dirty="0">
                          <a:solidFill>
                            <a:schemeClr val="dk1"/>
                          </a:solidFill>
                          <a:effectLst/>
                          <a:latin typeface="+mn-lt"/>
                          <a:ea typeface="+mn-ea"/>
                          <a:cs typeface="+mn-cs"/>
                        </a:rPr>
                        <a:t>A la souscription de l’offre par l’entité</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endParaRPr lang="fr-FR" sz="1100" b="0" i="0" kern="1200">
                        <a:solidFill>
                          <a:schemeClr val="dk1"/>
                        </a:solidFill>
                        <a:effectLst/>
                        <a:latin typeface="+mn-lt"/>
                        <a:ea typeface="+mn-ea"/>
                        <a:cs typeface="+mn-cs"/>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893896589"/>
                  </a:ext>
                </a:extLst>
              </a:tr>
              <a:tr h="426720">
                <a:tc>
                  <a:txBody>
                    <a:bodyPr/>
                    <a:lstStyle/>
                    <a:p>
                      <a:r>
                        <a:rPr lang="fr-FR" sz="1100" b="1" dirty="0">
                          <a:solidFill>
                            <a:schemeClr val="bg1"/>
                          </a:solidFill>
                        </a:rPr>
                        <a:t>Type technique d’environnement</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a:txBody>
                    <a:bodyPr/>
                    <a:lstStyle/>
                    <a:p>
                      <a:pPr algn="ctr"/>
                      <a:r>
                        <a:rPr lang="fr-FR" sz="1000" b="0" i="0" kern="1200" dirty="0">
                          <a:solidFill>
                            <a:schemeClr val="dk1"/>
                          </a:solidFill>
                          <a:effectLst/>
                          <a:latin typeface="+mn-lt"/>
                          <a:ea typeface="+mn-ea"/>
                          <a:cs typeface="+mn-cs"/>
                        </a:rPr>
                        <a:t>Production : conception et partage</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b="0" i="0" kern="1200">
                          <a:solidFill>
                            <a:schemeClr val="dk1"/>
                          </a:solidFill>
                          <a:effectLst/>
                          <a:latin typeface="+mn-lt"/>
                          <a:ea typeface="+mn-ea"/>
                          <a:cs typeface="+mn-cs"/>
                        </a:rPr>
                        <a:t>Sandbox : conception et évolu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b="0" i="0" kern="1200" dirty="0">
                          <a:solidFill>
                            <a:schemeClr val="dk1"/>
                          </a:solidFill>
                          <a:effectLst/>
                          <a:latin typeface="+mn-lt"/>
                          <a:ea typeface="+mn-ea"/>
                          <a:cs typeface="+mn-cs"/>
                        </a:rPr>
                        <a:t>Production : déploiement et partage</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519820166"/>
                  </a:ext>
                </a:extLst>
              </a:tr>
              <a:tr h="426720">
                <a:tc>
                  <a:txBody>
                    <a:bodyPr/>
                    <a:lstStyle/>
                    <a:p>
                      <a:r>
                        <a:rPr lang="fr-FR" sz="1100" b="1" dirty="0">
                          <a:solidFill>
                            <a:schemeClr val="bg1"/>
                          </a:solidFill>
                        </a:rPr>
                        <a:t>Type de solution à autoriser</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a:txBody>
                    <a:bodyPr/>
                    <a:lstStyle/>
                    <a:p>
                      <a:pPr algn="ctr"/>
                      <a:r>
                        <a:rPr lang="fr-FR" sz="1000" b="0" i="0" kern="1200" dirty="0" err="1">
                          <a:solidFill>
                            <a:schemeClr val="dk1"/>
                          </a:solidFill>
                          <a:effectLst/>
                          <a:latin typeface="+mn-lt"/>
                          <a:ea typeface="+mn-ea"/>
                          <a:cs typeface="+mn-cs"/>
                        </a:rPr>
                        <a:t>Unmanaged</a:t>
                      </a:r>
                      <a:r>
                        <a:rPr lang="fr-FR" sz="1000" b="0" i="0" kern="1200" dirty="0">
                          <a:solidFill>
                            <a:schemeClr val="dk1"/>
                          </a:solidFill>
                          <a:effectLst/>
                          <a:latin typeface="+mn-lt"/>
                          <a:ea typeface="+mn-ea"/>
                          <a:cs typeface="+mn-cs"/>
                        </a:rPr>
                        <a:t> Solution obligatoire</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b="0" i="0" kern="1200" dirty="0" err="1">
                          <a:solidFill>
                            <a:schemeClr val="dk1"/>
                          </a:solidFill>
                          <a:effectLst/>
                          <a:latin typeface="+mn-lt"/>
                          <a:ea typeface="+mn-ea"/>
                          <a:cs typeface="+mn-cs"/>
                        </a:rPr>
                        <a:t>Unmanaged</a:t>
                      </a:r>
                      <a:r>
                        <a:rPr lang="fr-FR" sz="1000" b="0" i="0" kern="1200" dirty="0">
                          <a:solidFill>
                            <a:schemeClr val="dk1"/>
                          </a:solidFill>
                          <a:effectLst/>
                          <a:latin typeface="+mn-lt"/>
                          <a:ea typeface="+mn-ea"/>
                          <a:cs typeface="+mn-cs"/>
                        </a:rPr>
                        <a:t> Solution obligatoire</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b="0" i="0" kern="1200" dirty="0" err="1">
                          <a:solidFill>
                            <a:schemeClr val="dk1"/>
                          </a:solidFill>
                          <a:effectLst/>
                          <a:latin typeface="+mn-lt"/>
                          <a:ea typeface="+mn-ea"/>
                          <a:cs typeface="+mn-cs"/>
                        </a:rPr>
                        <a:t>Managed</a:t>
                      </a:r>
                      <a:r>
                        <a:rPr lang="fr-FR" sz="1000" b="0" i="0" kern="1200" dirty="0">
                          <a:solidFill>
                            <a:schemeClr val="dk1"/>
                          </a:solidFill>
                          <a:effectLst/>
                          <a:latin typeface="+mn-lt"/>
                          <a:ea typeface="+mn-ea"/>
                          <a:cs typeface="+mn-cs"/>
                        </a:rPr>
                        <a:t> solution obligatoire​</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75153646"/>
                  </a:ext>
                </a:extLst>
              </a:tr>
              <a:tr h="426720">
                <a:tc>
                  <a:txBody>
                    <a:bodyPr/>
                    <a:lstStyle/>
                    <a:p>
                      <a:r>
                        <a:rPr lang="fr-FR" sz="1200" b="1" i="0" kern="1200" dirty="0">
                          <a:solidFill>
                            <a:schemeClr val="bg1"/>
                          </a:solidFill>
                          <a:effectLst/>
                          <a:latin typeface="+mn-lt"/>
                          <a:ea typeface="+mn-ea"/>
                          <a:cs typeface="+mn-cs"/>
                        </a:rPr>
                        <a:t>Stockage nécessaire</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3">
                  <a:txBody>
                    <a:bodyPr/>
                    <a:lstStyle/>
                    <a:p>
                      <a:pPr algn="ctr"/>
                      <a:r>
                        <a:rPr lang="fr-FR" sz="1000" dirty="0"/>
                        <a:t>1 Go</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r>
                        <a:rPr lang="fr-FR" sz="1000"/>
                        <a:t>1 Go</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r>
                        <a:rPr lang="fr-FR" sz="1000"/>
                        <a:t>1 Go</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063745342"/>
                  </a:ext>
                </a:extLst>
              </a:tr>
              <a:tr h="426720">
                <a:tc>
                  <a:txBody>
                    <a:bodyPr/>
                    <a:lstStyle/>
                    <a:p>
                      <a:r>
                        <a:rPr lang="fr-FR" sz="1100" b="1" dirty="0">
                          <a:solidFill>
                            <a:schemeClr val="bg1"/>
                          </a:solidFill>
                        </a:rPr>
                        <a:t>Utilisation du </a:t>
                      </a:r>
                      <a:r>
                        <a:rPr lang="fr-FR" sz="1100" b="1" dirty="0" err="1">
                          <a:solidFill>
                            <a:schemeClr val="bg1"/>
                          </a:solidFill>
                        </a:rPr>
                        <a:t>dataverse</a:t>
                      </a:r>
                      <a:endParaRPr lang="fr-FR" sz="1100" b="1" dirty="0">
                        <a:solidFill>
                          <a:schemeClr val="bg1"/>
                        </a:solidFill>
                      </a:endParaRP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3">
                  <a:txBody>
                    <a:bodyPr/>
                    <a:lstStyle/>
                    <a:p>
                      <a:pPr algn="ctr"/>
                      <a:r>
                        <a:rPr lang="fr-FR" sz="1000" dirty="0"/>
                        <a:t>Bloqué</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9366264"/>
                  </a:ext>
                </a:extLst>
              </a:tr>
              <a:tr h="426720">
                <a:tc>
                  <a:txBody>
                    <a:bodyPr/>
                    <a:lstStyle/>
                    <a:p>
                      <a:r>
                        <a:rPr lang="fr-FR" sz="1100" b="1" dirty="0">
                          <a:solidFill>
                            <a:schemeClr val="bg1"/>
                          </a:solidFill>
                        </a:rPr>
                        <a:t>Accès aux tables via </a:t>
                      </a:r>
                      <a:r>
                        <a:rPr lang="fr-FR" sz="1100" b="1" dirty="0" err="1">
                          <a:solidFill>
                            <a:schemeClr val="bg1"/>
                          </a:solidFill>
                        </a:rPr>
                        <a:t>dataverse</a:t>
                      </a:r>
                      <a:endParaRPr lang="fr-FR" sz="1100" b="1" dirty="0">
                        <a:solidFill>
                          <a:schemeClr val="bg1"/>
                        </a:solidFill>
                      </a:endParaRP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3">
                  <a:txBody>
                    <a:bodyPr/>
                    <a:lstStyle/>
                    <a:p>
                      <a:pPr algn="ctr"/>
                      <a:r>
                        <a:rPr lang="fr-FR" sz="1000" dirty="0"/>
                        <a:t>Bloqué</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975266595"/>
                  </a:ext>
                </a:extLst>
              </a:tr>
              <a:tr h="426720">
                <a:tc>
                  <a:txBody>
                    <a:bodyPr/>
                    <a:lstStyle/>
                    <a:p>
                      <a:r>
                        <a:rPr lang="fr-FR" sz="1100" b="1" dirty="0" err="1">
                          <a:solidFill>
                            <a:schemeClr val="bg1"/>
                          </a:solidFill>
                        </a:rPr>
                        <a:t>Environment</a:t>
                      </a:r>
                      <a:r>
                        <a:rPr lang="fr-FR" sz="1100" b="1" dirty="0">
                          <a:solidFill>
                            <a:schemeClr val="bg1"/>
                          </a:solidFill>
                        </a:rPr>
                        <a:t> admin</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3">
                  <a:txBody>
                    <a:bodyPr/>
                    <a:lstStyle/>
                    <a:p>
                      <a:pPr algn="ctr"/>
                      <a:r>
                        <a:rPr lang="fr-FR" sz="1000" dirty="0"/>
                        <a:t>Via Groupe de sécurité Azure en y associant le rôle « </a:t>
                      </a:r>
                      <a:r>
                        <a:rPr lang="fr-FR" sz="1000" dirty="0" err="1"/>
                        <a:t>Environment</a:t>
                      </a:r>
                      <a:r>
                        <a:rPr lang="fr-FR" sz="1000" dirty="0"/>
                        <a:t> Admin »</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0296232"/>
                  </a:ext>
                </a:extLst>
              </a:tr>
              <a:tr h="426720">
                <a:tc>
                  <a:txBody>
                    <a:bodyPr/>
                    <a:lstStyle/>
                    <a:p>
                      <a:r>
                        <a:rPr lang="fr-FR" sz="1100" b="1" dirty="0" err="1">
                          <a:solidFill>
                            <a:schemeClr val="bg1"/>
                          </a:solidFill>
                        </a:rPr>
                        <a:t>Environment</a:t>
                      </a:r>
                      <a:r>
                        <a:rPr lang="fr-FR" sz="1100" b="1" dirty="0">
                          <a:solidFill>
                            <a:schemeClr val="bg1"/>
                          </a:solidFill>
                        </a:rPr>
                        <a:t> maker</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3">
                  <a:txBody>
                    <a:bodyPr/>
                    <a:lstStyle/>
                    <a:p>
                      <a:pPr algn="ctr"/>
                      <a:r>
                        <a:rPr lang="fr-FR" sz="1000" dirty="0"/>
                        <a:t>A la main de chaque entité via un groupe de sécurité Azure en y associant le rôle « </a:t>
                      </a:r>
                      <a:r>
                        <a:rPr lang="fr-FR" sz="1000" dirty="0" err="1"/>
                        <a:t>Environment</a:t>
                      </a:r>
                      <a:r>
                        <a:rPr lang="fr-FR" sz="1000" dirty="0"/>
                        <a:t> maker » </a:t>
                      </a:r>
                      <a:endParaRPr lang="fr-FR" sz="1000"/>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endParaRPr lang="fr-FR" sz="100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81933417"/>
                  </a:ext>
                </a:extLst>
              </a:tr>
              <a:tr h="426720">
                <a:tc>
                  <a:txBody>
                    <a:bodyPr/>
                    <a:lstStyle/>
                    <a:p>
                      <a:r>
                        <a:rPr lang="fr-FR" sz="1100" b="1" dirty="0">
                          <a:solidFill>
                            <a:schemeClr val="bg1"/>
                          </a:solidFill>
                        </a:rPr>
                        <a:t>Utilisateur des applications</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2">
                  <a:txBody>
                    <a:bodyPr/>
                    <a:lstStyle/>
                    <a:p>
                      <a:pPr algn="ctr"/>
                      <a:r>
                        <a:rPr lang="fr-FR" sz="1000" dirty="0"/>
                        <a:t>De façon général, le service Power Platform (Power Apps, Power Automate &amp; Power Virtual) sera activé dans la licence via le groupe de sécurité R2 une après ouverture par l’entité de l’offre</a:t>
                      </a:r>
                    </a:p>
                  </a:txBody>
                  <a:tcPr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endParaRPr lang="fr-FR"/>
                    </a:p>
                  </a:txBody>
                  <a:tcPr/>
                </a:tc>
                <a:tc>
                  <a:txBody>
                    <a:bodyPr/>
                    <a:lstStyle/>
                    <a:p>
                      <a:pPr algn="ctr"/>
                      <a:endParaRPr lang="fr-FR" sz="1000"/>
                    </a:p>
                  </a:txBody>
                  <a:tcPr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85593128"/>
                  </a:ext>
                </a:extLst>
              </a:tr>
              <a:tr h="426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dirty="0">
                          <a:solidFill>
                            <a:schemeClr val="bg1"/>
                          </a:solidFill>
                        </a:rPr>
                        <a:t>Partage des applications de l’environnement</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gridSpan="2">
                  <a:txBody>
                    <a:bodyPr/>
                    <a:lstStyle/>
                    <a:p>
                      <a:pPr algn="ctr"/>
                      <a:r>
                        <a:rPr lang="fr-FR" sz="1000" dirty="0"/>
                        <a:t>Partager directement depuis l’application</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hMerge="1">
                  <a:txBody>
                    <a:bodyPr/>
                    <a:lstStyle/>
                    <a:p>
                      <a:pPr algn="ctr"/>
                      <a:r>
                        <a:rPr lang="fr-FR" sz="1000"/>
                        <a:t>Partager directement depuis l’application</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dirty="0"/>
                        <a:t>Partager via des groupes</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232253950"/>
                  </a:ext>
                </a:extLst>
              </a:tr>
              <a:tr h="426720">
                <a:tc>
                  <a:txBody>
                    <a:bodyPr/>
                    <a:lstStyle/>
                    <a:p>
                      <a:r>
                        <a:rPr lang="fr-FR" sz="1100" b="1" i="0" kern="1200" dirty="0">
                          <a:solidFill>
                            <a:schemeClr val="bg1"/>
                          </a:solidFill>
                          <a:effectLst/>
                          <a:latin typeface="+mn-lt"/>
                          <a:ea typeface="+mn-ea"/>
                          <a:cs typeface="+mn-cs"/>
                        </a:rPr>
                        <a:t>DLP à appliquer</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2"/>
                    </a:solidFill>
                  </a:tcPr>
                </a:tc>
                <a:tc>
                  <a:txBody>
                    <a:bodyPr/>
                    <a:lstStyle/>
                    <a:p>
                      <a:pPr algn="ctr"/>
                      <a:r>
                        <a:rPr lang="fr-FR" sz="1000" dirty="0"/>
                        <a:t>CITIZEN IT</a:t>
                      </a:r>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dirty="0"/>
                        <a:t>IT FACTOR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fr-FR" sz="1000" dirty="0"/>
                        <a:t>IT FACTORY</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96686089"/>
                  </a:ext>
                </a:extLst>
              </a:tr>
            </a:tbl>
          </a:graphicData>
        </a:graphic>
      </p:graphicFrame>
    </p:spTree>
    <p:extLst>
      <p:ext uri="{BB962C8B-B14F-4D97-AF65-F5344CB8AC3E}">
        <p14:creationId xmlns:p14="http://schemas.microsoft.com/office/powerpoint/2010/main" val="2177110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4571"/>
            <a:ext cx="10800000" cy="420833"/>
          </a:xfrm>
        </p:spPr>
        <p:txBody>
          <a:bodyPr lIns="91440" tIns="45720" rIns="91440" bIns="45720" anchor="t"/>
          <a:lstStyle/>
          <a:p>
            <a:r>
              <a:rPr lang="fr-FR"/>
              <a:t>LA PLATEFORME</a:t>
            </a:r>
            <a:endParaRPr lang="en-US"/>
          </a:p>
        </p:txBody>
      </p:sp>
      <p:sp>
        <p:nvSpPr>
          <p:cNvPr id="8" name="Google Shape;652;p44">
            <a:extLst>
              <a:ext uri="{FF2B5EF4-FFF2-40B4-BE49-F238E27FC236}">
                <a16:creationId xmlns:a16="http://schemas.microsoft.com/office/drawing/2014/main" id="{27B9D1CD-B86C-2555-9A19-5D342F4B3CB6}"/>
              </a:ext>
            </a:extLst>
          </p:cNvPr>
          <p:cNvSpPr txBox="1"/>
          <p:nvPr/>
        </p:nvSpPr>
        <p:spPr>
          <a:xfrm>
            <a:off x="123450" y="5935775"/>
            <a:ext cx="1797900" cy="707846"/>
          </a:xfrm>
          <a:prstGeom prst="rect">
            <a:avLst/>
          </a:prstGeom>
          <a:noFill/>
          <a:ln>
            <a:noFill/>
          </a:ln>
        </p:spPr>
        <p:txBody>
          <a:bodyPr spcFirstLastPara="1" wrap="square" lIns="87750" tIns="45700" rIns="87750" bIns="45700" anchor="t" anchorCtr="0">
            <a:spAutoFit/>
          </a:bodyPr>
          <a:lstStyle/>
          <a:p>
            <a:pPr marL="0" marR="0" lvl="0" indent="0" algn="ctr" rtl="0">
              <a:lnSpc>
                <a:spcPct val="100000"/>
              </a:lnSpc>
              <a:spcBef>
                <a:spcPts val="0"/>
              </a:spcBef>
              <a:spcAft>
                <a:spcPts val="0"/>
              </a:spcAft>
              <a:buNone/>
            </a:pPr>
            <a:r>
              <a:rPr lang="fr-FR" sz="2000" b="1">
                <a:solidFill>
                  <a:schemeClr val="bg1"/>
                </a:solidFill>
                <a:latin typeface="Arial Rounded MT Bold" panose="020F0704030504030204" pitchFamily="34" charset="0"/>
                <a:ea typeface="Caveat"/>
                <a:cs typeface="Caveat"/>
                <a:sym typeface="Caveat"/>
              </a:rPr>
              <a:t>Offre Power Platform v1</a:t>
            </a:r>
            <a:endParaRPr sz="1400" b="0" i="0" u="none" strike="noStrike" cap="none">
              <a:solidFill>
                <a:schemeClr val="bg1"/>
              </a:solidFill>
              <a:latin typeface="Arial Rounded MT Bold" panose="020F0704030504030204" pitchFamily="34" charset="0"/>
              <a:ea typeface="Arial"/>
              <a:cs typeface="Arial"/>
              <a:sym typeface="Arial"/>
            </a:endParaRPr>
          </a:p>
        </p:txBody>
      </p:sp>
      <p:sp>
        <p:nvSpPr>
          <p:cNvPr id="11" name="Google Shape;660;p44">
            <a:extLst>
              <a:ext uri="{FF2B5EF4-FFF2-40B4-BE49-F238E27FC236}">
                <a16:creationId xmlns:a16="http://schemas.microsoft.com/office/drawing/2014/main" id="{B69BAFFC-B747-7DCF-5670-06E7ACA18FC6}"/>
              </a:ext>
            </a:extLst>
          </p:cNvPr>
          <p:cNvSpPr/>
          <p:nvPr/>
        </p:nvSpPr>
        <p:spPr>
          <a:xfrm>
            <a:off x="103756" y="2065175"/>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Rectangle 36">
            <a:extLst>
              <a:ext uri="{FF2B5EF4-FFF2-40B4-BE49-F238E27FC236}">
                <a16:creationId xmlns:a16="http://schemas.microsoft.com/office/drawing/2014/main" id="{C716353E-43BB-682A-73E0-5F444E59F4B4}"/>
              </a:ext>
            </a:extLst>
          </p:cNvPr>
          <p:cNvSpPr/>
          <p:nvPr/>
        </p:nvSpPr>
        <p:spPr>
          <a:xfrm>
            <a:off x="370193" y="735495"/>
            <a:ext cx="11048956" cy="5200280"/>
          </a:xfrm>
          <a:prstGeom prst="rect">
            <a:avLst/>
          </a:prstGeom>
          <a:solidFill>
            <a:schemeClr val="accent2">
              <a:lumMod val="20000"/>
              <a:lumOff val="80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39" name="Google Shape;660;p44">
            <a:extLst>
              <a:ext uri="{FF2B5EF4-FFF2-40B4-BE49-F238E27FC236}">
                <a16:creationId xmlns:a16="http://schemas.microsoft.com/office/drawing/2014/main" id="{9BD7B936-29A7-E2F4-7B2B-0F74CED0A1FF}"/>
              </a:ext>
            </a:extLst>
          </p:cNvPr>
          <p:cNvSpPr/>
          <p:nvPr/>
        </p:nvSpPr>
        <p:spPr>
          <a:xfrm>
            <a:off x="577593" y="1000766"/>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0" name="Picture 2" descr="Power Platform 2021 in der Übersicht">
            <a:extLst>
              <a:ext uri="{FF2B5EF4-FFF2-40B4-BE49-F238E27FC236}">
                <a16:creationId xmlns:a16="http://schemas.microsoft.com/office/drawing/2014/main" id="{12CC8892-4D86-82C7-E442-DC2D7BACD8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700" r="39294" b="71270"/>
          <a:stretch/>
        </p:blipFill>
        <p:spPr bwMode="auto">
          <a:xfrm>
            <a:off x="677137" y="1080239"/>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B34F7715-4E58-245D-3A28-21CCB673C293}"/>
              </a:ext>
            </a:extLst>
          </p:cNvPr>
          <p:cNvSpPr txBox="1"/>
          <p:nvPr/>
        </p:nvSpPr>
        <p:spPr>
          <a:xfrm>
            <a:off x="1290627" y="1087470"/>
            <a:ext cx="10073592" cy="369332"/>
          </a:xfrm>
          <a:prstGeom prst="rect">
            <a:avLst/>
          </a:prstGeom>
          <a:noFill/>
        </p:spPr>
        <p:txBody>
          <a:bodyPr wrap="none" rtlCol="0">
            <a:spAutoFit/>
          </a:bodyPr>
          <a:lstStyle/>
          <a:p>
            <a:r>
              <a:rPr lang="fr-FR" b="1">
                <a:latin typeface="Arial Rounded MT Bold" panose="020F0704030504030204" pitchFamily="34" charset="0"/>
              </a:rPr>
              <a:t>Une plateforme unique &amp; commune pour l’ensemble du tenant Office 365 Crédit Agricole</a:t>
            </a:r>
          </a:p>
        </p:txBody>
      </p:sp>
      <p:sp>
        <p:nvSpPr>
          <p:cNvPr id="42" name="Rectangle 41">
            <a:extLst>
              <a:ext uri="{FF2B5EF4-FFF2-40B4-BE49-F238E27FC236}">
                <a16:creationId xmlns:a16="http://schemas.microsoft.com/office/drawing/2014/main" id="{C1966E60-9923-8926-9349-5D935F131371}"/>
              </a:ext>
            </a:extLst>
          </p:cNvPr>
          <p:cNvSpPr/>
          <p:nvPr/>
        </p:nvSpPr>
        <p:spPr>
          <a:xfrm>
            <a:off x="632348" y="1859485"/>
            <a:ext cx="10618679" cy="3699272"/>
          </a:xfrm>
          <a:prstGeom prst="rect">
            <a:avLst/>
          </a:prstGeom>
          <a:solidFill>
            <a:schemeClr val="bg1">
              <a:lumMod val="95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3" name="Google Shape;666;p44">
            <a:extLst>
              <a:ext uri="{FF2B5EF4-FFF2-40B4-BE49-F238E27FC236}">
                <a16:creationId xmlns:a16="http://schemas.microsoft.com/office/drawing/2014/main" id="{5C48A492-DDB2-15F7-4BF7-D2E8FFB3F004}"/>
              </a:ext>
            </a:extLst>
          </p:cNvPr>
          <p:cNvSpPr/>
          <p:nvPr/>
        </p:nvSpPr>
        <p:spPr>
          <a:xfrm>
            <a:off x="901899" y="2355666"/>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4" name="Image 43">
            <a:extLst>
              <a:ext uri="{FF2B5EF4-FFF2-40B4-BE49-F238E27FC236}">
                <a16:creationId xmlns:a16="http://schemas.microsoft.com/office/drawing/2014/main" id="{7E4C4D0B-313F-255E-500D-4628B49A6967}"/>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a:off x="1003055" y="2486101"/>
            <a:ext cx="324143" cy="324143"/>
          </a:xfrm>
          <a:prstGeom prst="rect">
            <a:avLst/>
          </a:prstGeom>
        </p:spPr>
      </p:pic>
      <p:sp>
        <p:nvSpPr>
          <p:cNvPr id="45" name="ZoneTexte 44">
            <a:extLst>
              <a:ext uri="{FF2B5EF4-FFF2-40B4-BE49-F238E27FC236}">
                <a16:creationId xmlns:a16="http://schemas.microsoft.com/office/drawing/2014/main" id="{1EEDFF83-950D-E48F-3A50-EC8335D8C3DB}"/>
              </a:ext>
            </a:extLst>
          </p:cNvPr>
          <p:cNvSpPr txBox="1"/>
          <p:nvPr/>
        </p:nvSpPr>
        <p:spPr>
          <a:xfrm>
            <a:off x="1498841" y="2307789"/>
            <a:ext cx="8637759" cy="646331"/>
          </a:xfrm>
          <a:prstGeom prst="rect">
            <a:avLst/>
          </a:prstGeom>
          <a:noFill/>
        </p:spPr>
        <p:txBody>
          <a:bodyPr wrap="square" rtlCol="0">
            <a:spAutoFit/>
          </a:bodyPr>
          <a:lstStyle/>
          <a:p>
            <a:r>
              <a:rPr lang="fr-FR" b="1">
                <a:solidFill>
                  <a:schemeClr val="bg1">
                    <a:lumMod val="75000"/>
                  </a:schemeClr>
                </a:solidFill>
                <a:latin typeface="Arial Rounded MT Bold" panose="020F0704030504030204" pitchFamily="34" charset="0"/>
              </a:rPr>
              <a:t>Qui contient un ou plusieurs environnement(s) dédié à chaque entité consommant l’Offre Power Platform</a:t>
            </a:r>
          </a:p>
        </p:txBody>
      </p:sp>
      <p:sp>
        <p:nvSpPr>
          <p:cNvPr id="46" name="Rectangle 45">
            <a:extLst>
              <a:ext uri="{FF2B5EF4-FFF2-40B4-BE49-F238E27FC236}">
                <a16:creationId xmlns:a16="http://schemas.microsoft.com/office/drawing/2014/main" id="{8C15BC74-F783-417F-BD0F-352DA5128998}"/>
              </a:ext>
            </a:extLst>
          </p:cNvPr>
          <p:cNvSpPr/>
          <p:nvPr/>
        </p:nvSpPr>
        <p:spPr>
          <a:xfrm>
            <a:off x="906558" y="3498040"/>
            <a:ext cx="9782161" cy="1744923"/>
          </a:xfrm>
          <a:prstGeom prst="rect">
            <a:avLst/>
          </a:prstGeom>
          <a:solidFill>
            <a:schemeClr val="bg1">
              <a:lumMod val="85000"/>
            </a:schemeClr>
          </a:solidFill>
          <a:ln>
            <a:noFill/>
          </a:ln>
        </p:spPr>
        <p:txBody>
          <a:bodyPr spcFirstLastPara="1" wrap="square" lIns="91425" tIns="45700" rIns="91425" bIns="45700" anchor="ctr" anchorCtr="0">
            <a:noAutofit/>
          </a:bodyPr>
          <a:lstStyle/>
          <a:p>
            <a:pPr algn="ctr">
              <a:buClr>
                <a:srgbClr val="000000"/>
              </a:buClr>
              <a:buSzPts val="1400"/>
            </a:pPr>
            <a:endParaRPr lang="fr-FR" sz="1400">
              <a:solidFill>
                <a:schemeClr val="dk1"/>
              </a:solidFill>
              <a:latin typeface="Arial"/>
              <a:cs typeface="Arial"/>
            </a:endParaRPr>
          </a:p>
        </p:txBody>
      </p:sp>
      <p:sp>
        <p:nvSpPr>
          <p:cNvPr id="47" name="Google Shape;674;p44">
            <a:extLst>
              <a:ext uri="{FF2B5EF4-FFF2-40B4-BE49-F238E27FC236}">
                <a16:creationId xmlns:a16="http://schemas.microsoft.com/office/drawing/2014/main" id="{98FB7D55-D995-885C-75FB-95A935A18093}"/>
              </a:ext>
            </a:extLst>
          </p:cNvPr>
          <p:cNvSpPr/>
          <p:nvPr/>
        </p:nvSpPr>
        <p:spPr>
          <a:xfrm>
            <a:off x="1223448" y="4094801"/>
            <a:ext cx="551400" cy="551400"/>
          </a:xfrm>
          <a:prstGeom prst="ellipse">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9" name="Image 48">
            <a:extLst>
              <a:ext uri="{FF2B5EF4-FFF2-40B4-BE49-F238E27FC236}">
                <a16:creationId xmlns:a16="http://schemas.microsoft.com/office/drawing/2014/main" id="{ED73C1F1-6D29-07FE-E7A5-F1EC2117A0C7}"/>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1337148" y="4208501"/>
            <a:ext cx="324000" cy="324000"/>
          </a:xfrm>
          <a:prstGeom prst="rect">
            <a:avLst/>
          </a:prstGeom>
        </p:spPr>
      </p:pic>
      <p:sp>
        <p:nvSpPr>
          <p:cNvPr id="2" name="ZoneTexte 1">
            <a:extLst>
              <a:ext uri="{FF2B5EF4-FFF2-40B4-BE49-F238E27FC236}">
                <a16:creationId xmlns:a16="http://schemas.microsoft.com/office/drawing/2014/main" id="{D1EE6376-4F6B-22F4-4FAE-12E8722AAE09}"/>
              </a:ext>
            </a:extLst>
          </p:cNvPr>
          <p:cNvSpPr txBox="1"/>
          <p:nvPr/>
        </p:nvSpPr>
        <p:spPr>
          <a:xfrm>
            <a:off x="1803101" y="4172656"/>
            <a:ext cx="8885618" cy="369332"/>
          </a:xfrm>
          <a:prstGeom prst="rect">
            <a:avLst/>
          </a:prstGeom>
          <a:noFill/>
        </p:spPr>
        <p:txBody>
          <a:bodyPr wrap="square" lIns="91440" tIns="45720" rIns="91440" bIns="45720" rtlCol="0" anchor="t">
            <a:spAutoFit/>
          </a:bodyPr>
          <a:lstStyle/>
          <a:p>
            <a:r>
              <a:rPr lang="fr-FR" b="1">
                <a:solidFill>
                  <a:schemeClr val="bg1">
                    <a:lumMod val="75000"/>
                  </a:schemeClr>
                </a:solidFill>
                <a:latin typeface="Arial Rounded MT Bold"/>
              </a:rPr>
              <a:t>Hébergeant des applications, des flux et des utilisateurs </a:t>
            </a:r>
            <a:endParaRPr lang="fr-FR" b="1">
              <a:solidFill>
                <a:schemeClr val="bg1">
                  <a:lumMod val="75000"/>
                </a:schemeClr>
              </a:solidFill>
              <a:latin typeface="Arial Rounded MT Bold" panose="020F0704030504030204" pitchFamily="34" charset="0"/>
            </a:endParaRPr>
          </a:p>
        </p:txBody>
      </p:sp>
    </p:spTree>
    <p:extLst>
      <p:ext uri="{BB962C8B-B14F-4D97-AF65-F5344CB8AC3E}">
        <p14:creationId xmlns:p14="http://schemas.microsoft.com/office/powerpoint/2010/main" val="133291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358D74C-4804-E26A-A663-A72EC1B44D29}"/>
              </a:ext>
            </a:extLst>
          </p:cNvPr>
          <p:cNvSpPr/>
          <p:nvPr/>
        </p:nvSpPr>
        <p:spPr>
          <a:xfrm>
            <a:off x="0" y="720460"/>
            <a:ext cx="12192000" cy="891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spcAft>
                <a:spcPts val="100"/>
              </a:spcAft>
              <a:buClr>
                <a:srgbClr val="6E9615"/>
              </a:buClr>
              <a:defRPr/>
            </a:pPr>
            <a:r>
              <a:rPr lang="fr-FR" sz="1600">
                <a:solidFill>
                  <a:schemeClr val="tx1">
                    <a:lumMod val="50000"/>
                  </a:schemeClr>
                </a:solidFill>
                <a:latin typeface="Arial"/>
              </a:rPr>
              <a:t>La Power Platform est la </a:t>
            </a:r>
            <a:r>
              <a:rPr lang="fr-FR" sz="1600" b="1">
                <a:solidFill>
                  <a:schemeClr val="bg2"/>
                </a:solidFill>
                <a:latin typeface="Arial"/>
              </a:rPr>
              <a:t>plateforme dite de « No/Low-code » de la suite Microsoft 365</a:t>
            </a:r>
            <a:r>
              <a:rPr lang="fr-FR" sz="1600">
                <a:solidFill>
                  <a:schemeClr val="tx1">
                    <a:lumMod val="50000"/>
                  </a:schemeClr>
                </a:solidFill>
                <a:latin typeface="Arial"/>
              </a:rPr>
              <a:t>. </a:t>
            </a:r>
          </a:p>
          <a:p>
            <a:pPr algn="ctr">
              <a:spcBef>
                <a:spcPts val="100"/>
              </a:spcBef>
              <a:spcAft>
                <a:spcPts val="100"/>
              </a:spcAft>
              <a:buClr>
                <a:srgbClr val="6E9615"/>
              </a:buClr>
              <a:defRPr/>
            </a:pPr>
            <a:r>
              <a:rPr kumimoji="0" lang="fr-FR" sz="1600" b="1" i="0" u="none" strike="noStrike" kern="1200" cap="none" spc="0" normalizeH="0" baseline="0" noProof="0">
                <a:ln>
                  <a:noFill/>
                </a:ln>
                <a:solidFill>
                  <a:schemeClr val="bg2"/>
                </a:solidFill>
                <a:effectLst/>
                <a:uLnTx/>
                <a:uFillTx/>
                <a:latin typeface="Arial"/>
                <a:ea typeface="+mn-ea"/>
                <a:cs typeface="+mn-cs"/>
              </a:rPr>
              <a:t>La solution Power Platform s’inscrit </a:t>
            </a:r>
            <a:r>
              <a:rPr kumimoji="0" lang="fr-FR" sz="1600" b="0" i="0" u="none" strike="noStrike" kern="1200" cap="none" spc="0" normalizeH="0" baseline="0" noProof="0">
                <a:ln>
                  <a:noFill/>
                </a:ln>
                <a:solidFill>
                  <a:schemeClr val="tx1">
                    <a:lumMod val="50000"/>
                  </a:schemeClr>
                </a:solidFill>
                <a:effectLst/>
                <a:uLnTx/>
                <a:uFillTx/>
                <a:latin typeface="Arial"/>
                <a:ea typeface="+mn-ea"/>
                <a:cs typeface="+mn-cs"/>
              </a:rPr>
              <a:t>dans la réflexion d’évolution de la plateforme </a:t>
            </a:r>
            <a:r>
              <a:rPr kumimoji="0" lang="fr-FR" sz="1600" b="0" i="0" u="none" strike="noStrike" kern="1200" cap="none" spc="0" normalizeH="0" baseline="0" noProof="0" err="1">
                <a:ln>
                  <a:noFill/>
                </a:ln>
                <a:solidFill>
                  <a:schemeClr val="tx1">
                    <a:lumMod val="50000"/>
                  </a:schemeClr>
                </a:solidFill>
                <a:effectLst/>
                <a:uLnTx/>
                <a:uFillTx/>
                <a:latin typeface="Arial"/>
                <a:ea typeface="+mn-ea"/>
                <a:cs typeface="+mn-cs"/>
              </a:rPr>
              <a:t>MoWE</a:t>
            </a:r>
            <a:r>
              <a:rPr kumimoji="0" lang="fr-FR" sz="1600" b="0" i="0" u="none" strike="noStrike" kern="1200" cap="none" spc="0" normalizeH="0" baseline="0" noProof="0">
                <a:ln>
                  <a:noFill/>
                </a:ln>
                <a:solidFill>
                  <a:schemeClr val="tx1">
                    <a:lumMod val="50000"/>
                  </a:schemeClr>
                </a:solidFill>
                <a:effectLst/>
                <a:uLnTx/>
                <a:uFillTx/>
                <a:latin typeface="Arial"/>
                <a:ea typeface="+mn-ea"/>
                <a:cs typeface="+mn-cs"/>
              </a:rPr>
              <a:t> pour </a:t>
            </a:r>
            <a:r>
              <a:rPr kumimoji="0" lang="fr-FR" sz="1600" b="1" i="0" u="none" strike="noStrike" kern="1200" cap="none" spc="0" normalizeH="0" baseline="0" noProof="0">
                <a:ln>
                  <a:noFill/>
                </a:ln>
                <a:solidFill>
                  <a:schemeClr val="bg2"/>
                </a:solidFill>
                <a:effectLst/>
                <a:uLnTx/>
                <a:uFillTx/>
                <a:latin typeface="Arial"/>
                <a:ea typeface="+mn-ea"/>
                <a:cs typeface="+mn-cs"/>
              </a:rPr>
              <a:t>enrichir son offre collaborative et d’outils digitaux dans une démarche de conception d’applications en mode agile &amp; évolutif. </a:t>
            </a:r>
          </a:p>
        </p:txBody>
      </p:sp>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46480"/>
            <a:ext cx="10800000" cy="420833"/>
          </a:xfrm>
        </p:spPr>
        <p:txBody>
          <a:bodyPr lIns="91440" tIns="45720" rIns="91440" bIns="45720" anchor="t"/>
          <a:lstStyle/>
          <a:p>
            <a:r>
              <a:rPr lang="fr-FR"/>
              <a:t>POWER PLATFORM : QU’est-ce que c’est ?</a:t>
            </a:r>
            <a:endParaRPr lang="en-US"/>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20" name="Espace réservé du numéro de diapositive 5">
            <a:extLst>
              <a:ext uri="{FF2B5EF4-FFF2-40B4-BE49-F238E27FC236}">
                <a16:creationId xmlns:a16="http://schemas.microsoft.com/office/drawing/2014/main" id="{C938247E-1309-9124-223D-EB92A5F7BC4D}"/>
              </a:ext>
            </a:extLst>
          </p:cNvPr>
          <p:cNvSpPr>
            <a:spLocks noGrp="1"/>
          </p:cNvSpPr>
          <p:nvPr>
            <p:ph type="sldNum" sz="quarter" idx="4"/>
          </p:nvPr>
        </p:nvSpPr>
        <p:spPr>
          <a:xfrm>
            <a:off x="716056" y="612775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cxnSp>
        <p:nvCxnSpPr>
          <p:cNvPr id="60" name="Connecteur droit 59">
            <a:extLst>
              <a:ext uri="{FF2B5EF4-FFF2-40B4-BE49-F238E27FC236}">
                <a16:creationId xmlns:a16="http://schemas.microsoft.com/office/drawing/2014/main" id="{7BD1BF1F-230B-D82C-80A0-441278E22926}"/>
              </a:ext>
            </a:extLst>
          </p:cNvPr>
          <p:cNvCxnSpPr>
            <a:cxnSpLocks/>
          </p:cNvCxnSpPr>
          <p:nvPr/>
        </p:nvCxnSpPr>
        <p:spPr>
          <a:xfrm>
            <a:off x="1154537" y="4854850"/>
            <a:ext cx="100664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6FCA3EC8-5A48-9DF2-10E4-975E9FD57E5F}"/>
              </a:ext>
            </a:extLst>
          </p:cNvPr>
          <p:cNvSpPr/>
          <p:nvPr/>
        </p:nvSpPr>
        <p:spPr>
          <a:xfrm>
            <a:off x="158538" y="1746917"/>
            <a:ext cx="6391118" cy="3994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b="1">
                <a:solidFill>
                  <a:schemeClr val="tx1">
                    <a:lumMod val="50000"/>
                  </a:schemeClr>
                </a:solidFill>
              </a:rPr>
              <a:t>5 solutions pour créer l’</a:t>
            </a:r>
            <a:r>
              <a:rPr lang="fr-FR" b="1" u="sng">
                <a:solidFill>
                  <a:schemeClr val="tx1">
                    <a:lumMod val="50000"/>
                  </a:schemeClr>
                </a:solidFill>
              </a:rPr>
              <a:t>interface </a:t>
            </a:r>
            <a:r>
              <a:rPr lang="fr-FR" b="1">
                <a:solidFill>
                  <a:schemeClr val="tx1">
                    <a:lumMod val="50000"/>
                  </a:schemeClr>
                </a:solidFill>
              </a:rPr>
              <a:t>ou l’</a:t>
            </a:r>
            <a:r>
              <a:rPr lang="fr-FR" b="1" u="sng">
                <a:solidFill>
                  <a:schemeClr val="tx1">
                    <a:lumMod val="50000"/>
                  </a:schemeClr>
                </a:solidFill>
              </a:rPr>
              <a:t>action</a:t>
            </a:r>
            <a:r>
              <a:rPr lang="fr-FR" b="1">
                <a:solidFill>
                  <a:schemeClr val="tx1">
                    <a:lumMod val="50000"/>
                  </a:schemeClr>
                </a:solidFill>
              </a:rPr>
              <a:t>…</a:t>
            </a:r>
            <a:endParaRPr lang="fr-FR" b="1" u="sng">
              <a:solidFill>
                <a:schemeClr val="tx1">
                  <a:lumMod val="50000"/>
                </a:schemeClr>
              </a:solidFill>
            </a:endParaRPr>
          </a:p>
        </p:txBody>
      </p:sp>
      <p:grpSp>
        <p:nvGrpSpPr>
          <p:cNvPr id="84" name="Groupe 83">
            <a:extLst>
              <a:ext uri="{FF2B5EF4-FFF2-40B4-BE49-F238E27FC236}">
                <a16:creationId xmlns:a16="http://schemas.microsoft.com/office/drawing/2014/main" id="{37A3BA35-D65F-5153-4D5F-AF2A35A2D01E}"/>
              </a:ext>
            </a:extLst>
          </p:cNvPr>
          <p:cNvGrpSpPr/>
          <p:nvPr/>
        </p:nvGrpSpPr>
        <p:grpSpPr>
          <a:xfrm>
            <a:off x="262476" y="2394758"/>
            <a:ext cx="2123537" cy="1828595"/>
            <a:chOff x="262476" y="2394758"/>
            <a:chExt cx="2123537" cy="1828595"/>
          </a:xfrm>
        </p:grpSpPr>
        <p:sp>
          <p:nvSpPr>
            <p:cNvPr id="65" name="Rectangle 64">
              <a:extLst>
                <a:ext uri="{FF2B5EF4-FFF2-40B4-BE49-F238E27FC236}">
                  <a16:creationId xmlns:a16="http://schemas.microsoft.com/office/drawing/2014/main" id="{35EA0B87-9596-3B08-498E-A04A18655B28}"/>
                </a:ext>
              </a:extLst>
            </p:cNvPr>
            <p:cNvSpPr/>
            <p:nvPr/>
          </p:nvSpPr>
          <p:spPr>
            <a:xfrm>
              <a:off x="262476" y="2394758"/>
              <a:ext cx="2123537" cy="182859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50" name="Picture 2">
              <a:extLst>
                <a:ext uri="{FF2B5EF4-FFF2-40B4-BE49-F238E27FC236}">
                  <a16:creationId xmlns:a16="http://schemas.microsoft.com/office/drawing/2014/main" id="{3CC10AA9-00A7-EECD-ABB2-AADA2C7441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017" y="2485456"/>
              <a:ext cx="464929" cy="468114"/>
            </a:xfrm>
            <a:prstGeom prst="rect">
              <a:avLst/>
            </a:prstGeom>
            <a:noFill/>
            <a:extLst>
              <a:ext uri="{909E8E84-426E-40DD-AFC4-6F175D3DCCD1}">
                <a14:hiddenFill xmlns:a14="http://schemas.microsoft.com/office/drawing/2010/main">
                  <a:solidFill>
                    <a:srgbClr val="FFFFFF"/>
                  </a:solidFill>
                </a14:hiddenFill>
              </a:ext>
            </a:extLst>
          </p:spPr>
        </p:pic>
        <p:sp>
          <p:nvSpPr>
            <p:cNvPr id="64" name="ZoneTexte 63">
              <a:extLst>
                <a:ext uri="{FF2B5EF4-FFF2-40B4-BE49-F238E27FC236}">
                  <a16:creationId xmlns:a16="http://schemas.microsoft.com/office/drawing/2014/main" id="{1CC427C4-D55A-CBC2-5D0A-8CA116D8C0A2}"/>
                </a:ext>
              </a:extLst>
            </p:cNvPr>
            <p:cNvSpPr txBox="1"/>
            <p:nvPr/>
          </p:nvSpPr>
          <p:spPr>
            <a:xfrm>
              <a:off x="262476" y="2543018"/>
              <a:ext cx="2002982" cy="369332"/>
            </a:xfrm>
            <a:prstGeom prst="rect">
              <a:avLst/>
            </a:prstGeom>
            <a:noFill/>
          </p:spPr>
          <p:txBody>
            <a:bodyPr wrap="square" rtlCol="0">
              <a:noAutofit/>
            </a:bodyPr>
            <a:lstStyle/>
            <a:p>
              <a:pPr algn="r"/>
              <a:r>
                <a:rPr lang="fr-FR" sz="1600" b="1">
                  <a:solidFill>
                    <a:srgbClr val="942D8A"/>
                  </a:solidFill>
                  <a:latin typeface="Arial Rounded MT Bold" panose="020F0704030504030204" pitchFamily="34" charset="0"/>
                </a:rPr>
                <a:t>Power Apps</a:t>
              </a:r>
            </a:p>
          </p:txBody>
        </p:sp>
        <p:sp>
          <p:nvSpPr>
            <p:cNvPr id="73" name="ZoneTexte 72">
              <a:extLst>
                <a:ext uri="{FF2B5EF4-FFF2-40B4-BE49-F238E27FC236}">
                  <a16:creationId xmlns:a16="http://schemas.microsoft.com/office/drawing/2014/main" id="{52451232-9B16-2FF8-63C2-F949535A225E}"/>
                </a:ext>
              </a:extLst>
            </p:cNvPr>
            <p:cNvSpPr txBox="1"/>
            <p:nvPr/>
          </p:nvSpPr>
          <p:spPr>
            <a:xfrm>
              <a:off x="262476" y="3071217"/>
              <a:ext cx="2123537" cy="369332"/>
            </a:xfrm>
            <a:prstGeom prst="rect">
              <a:avLst/>
            </a:prstGeom>
            <a:noFill/>
          </p:spPr>
          <p:txBody>
            <a:bodyPr wrap="square" rtlCol="0">
              <a:noAutofit/>
            </a:bodyPr>
            <a:lstStyle/>
            <a:p>
              <a:pPr algn="ctr"/>
              <a:r>
                <a:rPr lang="fr-FR" sz="1200"/>
                <a:t>Permets de concevoir des petites applications web, mobiles, Teams ou encore des personnalisations SharePoint </a:t>
              </a:r>
            </a:p>
          </p:txBody>
        </p:sp>
      </p:grpSp>
      <p:grpSp>
        <p:nvGrpSpPr>
          <p:cNvPr id="85" name="Groupe 84">
            <a:extLst>
              <a:ext uri="{FF2B5EF4-FFF2-40B4-BE49-F238E27FC236}">
                <a16:creationId xmlns:a16="http://schemas.microsoft.com/office/drawing/2014/main" id="{4D4CC50A-4C82-CA11-3076-9EC7BB2E1F4B}"/>
              </a:ext>
            </a:extLst>
          </p:cNvPr>
          <p:cNvGrpSpPr/>
          <p:nvPr/>
        </p:nvGrpSpPr>
        <p:grpSpPr>
          <a:xfrm>
            <a:off x="2649304" y="2394758"/>
            <a:ext cx="2124001" cy="1828800"/>
            <a:chOff x="2859696" y="2573621"/>
            <a:chExt cx="2124001" cy="1828800"/>
          </a:xfrm>
        </p:grpSpPr>
        <p:sp>
          <p:nvSpPr>
            <p:cNvPr id="66" name="Rectangle 65">
              <a:extLst>
                <a:ext uri="{FF2B5EF4-FFF2-40B4-BE49-F238E27FC236}">
                  <a16:creationId xmlns:a16="http://schemas.microsoft.com/office/drawing/2014/main" id="{7D19BC5E-2F04-9D18-83C4-2D66290220B5}"/>
                </a:ext>
              </a:extLst>
            </p:cNvPr>
            <p:cNvSpPr/>
            <p:nvPr/>
          </p:nvSpPr>
          <p:spPr>
            <a:xfrm>
              <a:off x="2859696" y="2573621"/>
              <a:ext cx="212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8" name="ZoneTexte 67">
              <a:extLst>
                <a:ext uri="{FF2B5EF4-FFF2-40B4-BE49-F238E27FC236}">
                  <a16:creationId xmlns:a16="http://schemas.microsoft.com/office/drawing/2014/main" id="{57745933-26A6-E340-66EB-A32AAD3F2D50}"/>
                </a:ext>
              </a:extLst>
            </p:cNvPr>
            <p:cNvSpPr txBox="1"/>
            <p:nvPr/>
          </p:nvSpPr>
          <p:spPr>
            <a:xfrm>
              <a:off x="2873871" y="2664256"/>
              <a:ext cx="2064659" cy="369332"/>
            </a:xfrm>
            <a:prstGeom prst="rect">
              <a:avLst/>
            </a:prstGeom>
            <a:noFill/>
          </p:spPr>
          <p:txBody>
            <a:bodyPr wrap="square" rtlCol="0" anchor="ctr">
              <a:noAutofit/>
            </a:bodyPr>
            <a:lstStyle/>
            <a:p>
              <a:pPr algn="r"/>
              <a:r>
                <a:rPr lang="fr-FR" sz="1600" b="1">
                  <a:solidFill>
                    <a:srgbClr val="104ECD"/>
                  </a:solidFill>
                  <a:latin typeface="Arial Rounded MT Bold" panose="020F0704030504030204" pitchFamily="34" charset="0"/>
                </a:rPr>
                <a:t>Power </a:t>
              </a:r>
            </a:p>
            <a:p>
              <a:pPr algn="r"/>
              <a:r>
                <a:rPr lang="fr-FR" sz="1600" b="1">
                  <a:solidFill>
                    <a:srgbClr val="104ECD"/>
                  </a:solidFill>
                  <a:latin typeface="Arial Rounded MT Bold" panose="020F0704030504030204" pitchFamily="34" charset="0"/>
                </a:rPr>
                <a:t>Automate</a:t>
              </a:r>
            </a:p>
          </p:txBody>
        </p:sp>
        <p:pic>
          <p:nvPicPr>
            <p:cNvPr id="69" name="Picture 3">
              <a:extLst>
                <a:ext uri="{FF2B5EF4-FFF2-40B4-BE49-F238E27FC236}">
                  <a16:creationId xmlns:a16="http://schemas.microsoft.com/office/drawing/2014/main" id="{38926AFB-D384-1A24-CFAD-D8E970FC04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5223" y="2629761"/>
              <a:ext cx="554583" cy="554583"/>
            </a:xfrm>
            <a:prstGeom prst="rect">
              <a:avLst/>
            </a:prstGeom>
            <a:noFill/>
            <a:extLst>
              <a:ext uri="{909E8E84-426E-40DD-AFC4-6F175D3DCCD1}">
                <a14:hiddenFill xmlns:a14="http://schemas.microsoft.com/office/drawing/2010/main">
                  <a:solidFill>
                    <a:srgbClr val="FFFFFF"/>
                  </a:solidFill>
                </a14:hiddenFill>
              </a:ext>
            </a:extLst>
          </p:spPr>
        </p:pic>
        <p:sp>
          <p:nvSpPr>
            <p:cNvPr id="74" name="ZoneTexte 73">
              <a:extLst>
                <a:ext uri="{FF2B5EF4-FFF2-40B4-BE49-F238E27FC236}">
                  <a16:creationId xmlns:a16="http://schemas.microsoft.com/office/drawing/2014/main" id="{97DD444E-A612-5CCE-E6B3-D463F37E89A1}"/>
                </a:ext>
              </a:extLst>
            </p:cNvPr>
            <p:cNvSpPr txBox="1"/>
            <p:nvPr/>
          </p:nvSpPr>
          <p:spPr>
            <a:xfrm>
              <a:off x="2861227" y="3257333"/>
              <a:ext cx="2122470" cy="369332"/>
            </a:xfrm>
            <a:prstGeom prst="rect">
              <a:avLst/>
            </a:prstGeom>
            <a:noFill/>
          </p:spPr>
          <p:txBody>
            <a:bodyPr wrap="square" rtlCol="0">
              <a:noAutofit/>
            </a:bodyPr>
            <a:lstStyle/>
            <a:p>
              <a:pPr algn="ctr"/>
              <a:r>
                <a:rPr lang="fr-FR" sz="1200"/>
                <a:t>Permets de créer des actions automatisées selon des conditions définies depuis du web, des solutions M365 ou encore son bureau</a:t>
              </a:r>
            </a:p>
          </p:txBody>
        </p:sp>
      </p:grpSp>
      <p:grpSp>
        <p:nvGrpSpPr>
          <p:cNvPr id="95" name="Groupe 94">
            <a:extLst>
              <a:ext uri="{FF2B5EF4-FFF2-40B4-BE49-F238E27FC236}">
                <a16:creationId xmlns:a16="http://schemas.microsoft.com/office/drawing/2014/main" id="{B5358DD1-B4B4-195D-8095-FCADBE0D5FDF}"/>
              </a:ext>
            </a:extLst>
          </p:cNvPr>
          <p:cNvGrpSpPr/>
          <p:nvPr/>
        </p:nvGrpSpPr>
        <p:grpSpPr>
          <a:xfrm>
            <a:off x="4903459" y="2394553"/>
            <a:ext cx="2124001" cy="1828800"/>
            <a:chOff x="4903459" y="2394553"/>
            <a:chExt cx="2124001" cy="1828800"/>
          </a:xfrm>
        </p:grpSpPr>
        <p:sp>
          <p:nvSpPr>
            <p:cNvPr id="87" name="Rectangle 86">
              <a:extLst>
                <a:ext uri="{FF2B5EF4-FFF2-40B4-BE49-F238E27FC236}">
                  <a16:creationId xmlns:a16="http://schemas.microsoft.com/office/drawing/2014/main" id="{459DDFF2-C9C9-0123-17D5-E979C5808623}"/>
                </a:ext>
              </a:extLst>
            </p:cNvPr>
            <p:cNvSpPr/>
            <p:nvPr/>
          </p:nvSpPr>
          <p:spPr>
            <a:xfrm>
              <a:off x="4903459" y="2394553"/>
              <a:ext cx="212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8" name="ZoneTexte 87">
              <a:extLst>
                <a:ext uri="{FF2B5EF4-FFF2-40B4-BE49-F238E27FC236}">
                  <a16:creationId xmlns:a16="http://schemas.microsoft.com/office/drawing/2014/main" id="{49DB3507-AFE4-C388-89EC-8B960F6A0018}"/>
                </a:ext>
              </a:extLst>
            </p:cNvPr>
            <p:cNvSpPr txBox="1"/>
            <p:nvPr/>
          </p:nvSpPr>
          <p:spPr>
            <a:xfrm>
              <a:off x="4917634" y="2485188"/>
              <a:ext cx="2064659" cy="369332"/>
            </a:xfrm>
            <a:prstGeom prst="rect">
              <a:avLst/>
            </a:prstGeom>
            <a:noFill/>
          </p:spPr>
          <p:txBody>
            <a:bodyPr wrap="square" rtlCol="0" anchor="ctr">
              <a:noAutofit/>
            </a:bodyPr>
            <a:lstStyle/>
            <a:p>
              <a:pPr algn="r"/>
              <a:r>
                <a:rPr lang="fr-FR" sz="1600" b="1">
                  <a:solidFill>
                    <a:srgbClr val="0F6E87"/>
                  </a:solidFill>
                  <a:latin typeface="Arial Rounded MT Bold" panose="020F0704030504030204" pitchFamily="34" charset="0"/>
                </a:rPr>
                <a:t>Power  </a:t>
              </a:r>
            </a:p>
            <a:p>
              <a:pPr algn="r"/>
              <a:r>
                <a:rPr lang="fr-FR" sz="1600" b="1">
                  <a:solidFill>
                    <a:srgbClr val="0F6E87"/>
                  </a:solidFill>
                  <a:latin typeface="Arial Rounded MT Bold" panose="020F0704030504030204" pitchFamily="34" charset="0"/>
                </a:rPr>
                <a:t>Virtual Agents</a:t>
              </a:r>
            </a:p>
          </p:txBody>
        </p:sp>
        <p:sp>
          <p:nvSpPr>
            <p:cNvPr id="90" name="ZoneTexte 89">
              <a:extLst>
                <a:ext uri="{FF2B5EF4-FFF2-40B4-BE49-F238E27FC236}">
                  <a16:creationId xmlns:a16="http://schemas.microsoft.com/office/drawing/2014/main" id="{2E6A334D-82DF-7B1C-7BE5-FB07E644CBAE}"/>
                </a:ext>
              </a:extLst>
            </p:cNvPr>
            <p:cNvSpPr txBox="1"/>
            <p:nvPr/>
          </p:nvSpPr>
          <p:spPr>
            <a:xfrm>
              <a:off x="4904990" y="3078265"/>
              <a:ext cx="2122470" cy="369332"/>
            </a:xfrm>
            <a:prstGeom prst="rect">
              <a:avLst/>
            </a:prstGeom>
            <a:noFill/>
          </p:spPr>
          <p:txBody>
            <a:bodyPr wrap="square" rtlCol="0">
              <a:noAutofit/>
            </a:bodyPr>
            <a:lstStyle/>
            <a:p>
              <a:pPr algn="ctr"/>
              <a:r>
                <a:rPr lang="fr-FR" sz="1200"/>
                <a:t>Permets de créer des agents conversationnels sur des sites web ou encore dans Teams pour traiter et automatiser différentes actions </a:t>
              </a:r>
            </a:p>
          </p:txBody>
        </p:sp>
        <p:pic>
          <p:nvPicPr>
            <p:cNvPr id="2052" name="Picture 4">
              <a:extLst>
                <a:ext uri="{FF2B5EF4-FFF2-40B4-BE49-F238E27FC236}">
                  <a16:creationId xmlns:a16="http://schemas.microsoft.com/office/drawing/2014/main" id="{DBB638F2-210E-D30B-13B0-5DF6886100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49810" y="2485188"/>
              <a:ext cx="461668" cy="4585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e 99">
            <a:extLst>
              <a:ext uri="{FF2B5EF4-FFF2-40B4-BE49-F238E27FC236}">
                <a16:creationId xmlns:a16="http://schemas.microsoft.com/office/drawing/2014/main" id="{377EC751-52A0-C9BA-7148-39A4C6425BAF}"/>
              </a:ext>
            </a:extLst>
          </p:cNvPr>
          <p:cNvGrpSpPr/>
          <p:nvPr/>
        </p:nvGrpSpPr>
        <p:grpSpPr>
          <a:xfrm>
            <a:off x="7153722" y="2394553"/>
            <a:ext cx="2124001" cy="1828800"/>
            <a:chOff x="7153722" y="2394553"/>
            <a:chExt cx="2124001" cy="1828800"/>
          </a:xfrm>
        </p:grpSpPr>
        <p:sp>
          <p:nvSpPr>
            <p:cNvPr id="91" name="Rectangle 90">
              <a:extLst>
                <a:ext uri="{FF2B5EF4-FFF2-40B4-BE49-F238E27FC236}">
                  <a16:creationId xmlns:a16="http://schemas.microsoft.com/office/drawing/2014/main" id="{4D700269-6A7A-76FD-0E7F-EC3ACC08560E}"/>
                </a:ext>
              </a:extLst>
            </p:cNvPr>
            <p:cNvSpPr/>
            <p:nvPr/>
          </p:nvSpPr>
          <p:spPr>
            <a:xfrm>
              <a:off x="7153722" y="2394553"/>
              <a:ext cx="212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2" name="ZoneTexte 91">
              <a:extLst>
                <a:ext uri="{FF2B5EF4-FFF2-40B4-BE49-F238E27FC236}">
                  <a16:creationId xmlns:a16="http://schemas.microsoft.com/office/drawing/2014/main" id="{49D79271-3EE1-CB62-E4BE-7F87DB4AB02E}"/>
                </a:ext>
              </a:extLst>
            </p:cNvPr>
            <p:cNvSpPr txBox="1"/>
            <p:nvPr/>
          </p:nvSpPr>
          <p:spPr>
            <a:xfrm>
              <a:off x="7167897" y="2485188"/>
              <a:ext cx="2064659" cy="369332"/>
            </a:xfrm>
            <a:prstGeom prst="rect">
              <a:avLst/>
            </a:prstGeom>
            <a:noFill/>
          </p:spPr>
          <p:txBody>
            <a:bodyPr wrap="square" rtlCol="0" anchor="ctr">
              <a:noAutofit/>
            </a:bodyPr>
            <a:lstStyle/>
            <a:p>
              <a:pPr algn="r"/>
              <a:r>
                <a:rPr lang="fr-FR" sz="1600" b="1">
                  <a:solidFill>
                    <a:srgbClr val="403DAD"/>
                  </a:solidFill>
                  <a:latin typeface="Arial Rounded MT Bold" panose="020F0704030504030204" pitchFamily="34" charset="0"/>
                </a:rPr>
                <a:t>Power  Pages</a:t>
              </a:r>
            </a:p>
          </p:txBody>
        </p:sp>
        <p:sp>
          <p:nvSpPr>
            <p:cNvPr id="93" name="ZoneTexte 92">
              <a:extLst>
                <a:ext uri="{FF2B5EF4-FFF2-40B4-BE49-F238E27FC236}">
                  <a16:creationId xmlns:a16="http://schemas.microsoft.com/office/drawing/2014/main" id="{310CEDD1-CE6B-7B6D-9D27-1338A9018CDD}"/>
                </a:ext>
              </a:extLst>
            </p:cNvPr>
            <p:cNvSpPr txBox="1"/>
            <p:nvPr/>
          </p:nvSpPr>
          <p:spPr>
            <a:xfrm>
              <a:off x="7155253" y="3078265"/>
              <a:ext cx="2122470" cy="369332"/>
            </a:xfrm>
            <a:prstGeom prst="rect">
              <a:avLst/>
            </a:prstGeom>
            <a:noFill/>
          </p:spPr>
          <p:txBody>
            <a:bodyPr wrap="square" rtlCol="0">
              <a:noAutofit/>
            </a:bodyPr>
            <a:lstStyle/>
            <a:p>
              <a:pPr algn="ctr"/>
              <a:r>
                <a:rPr lang="fr-FR" sz="1200"/>
                <a:t>Permets de concevoir des sites </a:t>
              </a:r>
              <a:r>
                <a:rPr lang="fr-FR" sz="1200" err="1"/>
                <a:t>webs</a:t>
              </a:r>
              <a:r>
                <a:rPr lang="fr-FR" sz="1200"/>
                <a:t> internes ou externes</a:t>
              </a:r>
            </a:p>
          </p:txBody>
        </p:sp>
        <p:pic>
          <p:nvPicPr>
            <p:cNvPr id="2054" name="Picture 6">
              <a:extLst>
                <a:ext uri="{FF2B5EF4-FFF2-40B4-BE49-F238E27FC236}">
                  <a16:creationId xmlns:a16="http://schemas.microsoft.com/office/drawing/2014/main" id="{2D5A360C-0D60-6960-742D-8B14671BB5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7216140" y="2445252"/>
              <a:ext cx="523329" cy="5197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1" name="Groupe 100">
            <a:extLst>
              <a:ext uri="{FF2B5EF4-FFF2-40B4-BE49-F238E27FC236}">
                <a16:creationId xmlns:a16="http://schemas.microsoft.com/office/drawing/2014/main" id="{844BA70C-A6E6-E2FC-B599-8A69572A392B}"/>
              </a:ext>
            </a:extLst>
          </p:cNvPr>
          <p:cNvGrpSpPr/>
          <p:nvPr/>
        </p:nvGrpSpPr>
        <p:grpSpPr>
          <a:xfrm>
            <a:off x="9423020" y="2394553"/>
            <a:ext cx="2124001" cy="1828800"/>
            <a:chOff x="9423020" y="2394553"/>
            <a:chExt cx="2124001" cy="1828800"/>
          </a:xfrm>
        </p:grpSpPr>
        <p:sp>
          <p:nvSpPr>
            <p:cNvPr id="96" name="Rectangle 95">
              <a:extLst>
                <a:ext uri="{FF2B5EF4-FFF2-40B4-BE49-F238E27FC236}">
                  <a16:creationId xmlns:a16="http://schemas.microsoft.com/office/drawing/2014/main" id="{C17B801B-80D0-E401-880C-E04836667CB1}"/>
                </a:ext>
              </a:extLst>
            </p:cNvPr>
            <p:cNvSpPr/>
            <p:nvPr/>
          </p:nvSpPr>
          <p:spPr>
            <a:xfrm>
              <a:off x="9423020" y="2394553"/>
              <a:ext cx="2124000" cy="18288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7" name="ZoneTexte 96">
              <a:extLst>
                <a:ext uri="{FF2B5EF4-FFF2-40B4-BE49-F238E27FC236}">
                  <a16:creationId xmlns:a16="http://schemas.microsoft.com/office/drawing/2014/main" id="{D0E2A9BF-650E-0A7A-2115-525678C3A62D}"/>
                </a:ext>
              </a:extLst>
            </p:cNvPr>
            <p:cNvSpPr txBox="1"/>
            <p:nvPr/>
          </p:nvSpPr>
          <p:spPr>
            <a:xfrm>
              <a:off x="9437195" y="2485188"/>
              <a:ext cx="2064659" cy="369332"/>
            </a:xfrm>
            <a:prstGeom prst="rect">
              <a:avLst/>
            </a:prstGeom>
            <a:noFill/>
          </p:spPr>
          <p:txBody>
            <a:bodyPr wrap="square" rtlCol="0" anchor="ctr">
              <a:noAutofit/>
            </a:bodyPr>
            <a:lstStyle/>
            <a:p>
              <a:pPr algn="r"/>
              <a:r>
                <a:rPr lang="fr-FR" sz="1600" b="1">
                  <a:solidFill>
                    <a:srgbClr val="E0A410"/>
                  </a:solidFill>
                  <a:latin typeface="Arial Rounded MT Bold" panose="020F0704030504030204" pitchFamily="34" charset="0"/>
                </a:rPr>
                <a:t>Power  BI</a:t>
              </a:r>
            </a:p>
          </p:txBody>
        </p:sp>
        <p:sp>
          <p:nvSpPr>
            <p:cNvPr id="98" name="ZoneTexte 97">
              <a:extLst>
                <a:ext uri="{FF2B5EF4-FFF2-40B4-BE49-F238E27FC236}">
                  <a16:creationId xmlns:a16="http://schemas.microsoft.com/office/drawing/2014/main" id="{61178D78-F88A-6F94-7A2B-1515B91E6AFD}"/>
                </a:ext>
              </a:extLst>
            </p:cNvPr>
            <p:cNvSpPr txBox="1"/>
            <p:nvPr/>
          </p:nvSpPr>
          <p:spPr>
            <a:xfrm>
              <a:off x="9424551" y="3078265"/>
              <a:ext cx="2122470" cy="369332"/>
            </a:xfrm>
            <a:prstGeom prst="rect">
              <a:avLst/>
            </a:prstGeom>
            <a:noFill/>
          </p:spPr>
          <p:txBody>
            <a:bodyPr wrap="square" rtlCol="0">
              <a:noAutofit/>
            </a:bodyPr>
            <a:lstStyle/>
            <a:p>
              <a:pPr algn="ctr"/>
              <a:r>
                <a:rPr lang="fr-FR" sz="1200"/>
                <a:t>Permets de concevoir des rapports de visualisation et de modélisation de données</a:t>
              </a:r>
            </a:p>
          </p:txBody>
        </p:sp>
        <p:pic>
          <p:nvPicPr>
            <p:cNvPr id="2056" name="Picture 8">
              <a:extLst>
                <a:ext uri="{FF2B5EF4-FFF2-40B4-BE49-F238E27FC236}">
                  <a16:creationId xmlns:a16="http://schemas.microsoft.com/office/drawing/2014/main" id="{58F0EF2C-CAE4-9B28-A49F-14771131E8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53321" y="2480789"/>
              <a:ext cx="370944" cy="370944"/>
            </a:xfrm>
            <a:prstGeom prst="rect">
              <a:avLst/>
            </a:prstGeom>
            <a:noFill/>
            <a:extLst>
              <a:ext uri="{909E8E84-426E-40DD-AFC4-6F175D3DCCD1}">
                <a14:hiddenFill xmlns:a14="http://schemas.microsoft.com/office/drawing/2010/main">
                  <a:solidFill>
                    <a:srgbClr val="FFFFFF"/>
                  </a:solidFill>
                </a14:hiddenFill>
              </a:ext>
            </a:extLst>
          </p:spPr>
        </p:pic>
      </p:grpSp>
      <p:sp>
        <p:nvSpPr>
          <p:cNvPr id="102" name="Rectangle 101">
            <a:extLst>
              <a:ext uri="{FF2B5EF4-FFF2-40B4-BE49-F238E27FC236}">
                <a16:creationId xmlns:a16="http://schemas.microsoft.com/office/drawing/2014/main" id="{F9ECFEF9-F62B-C83B-C789-658F75ECD0B4}"/>
              </a:ext>
            </a:extLst>
          </p:cNvPr>
          <p:cNvSpPr/>
          <p:nvPr/>
        </p:nvSpPr>
        <p:spPr>
          <a:xfrm>
            <a:off x="262476" y="4455182"/>
            <a:ext cx="10240986" cy="3994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b="1">
                <a:solidFill>
                  <a:schemeClr val="tx1">
                    <a:lumMod val="50000"/>
                  </a:schemeClr>
                </a:solidFill>
              </a:rPr>
              <a:t>…combinées à des </a:t>
            </a:r>
            <a:r>
              <a:rPr lang="fr-FR" b="1" u="sng">
                <a:solidFill>
                  <a:schemeClr val="tx1">
                    <a:lumMod val="50000"/>
                  </a:schemeClr>
                </a:solidFill>
              </a:rPr>
              <a:t>connecteurs </a:t>
            </a:r>
            <a:r>
              <a:rPr lang="fr-FR" b="1">
                <a:solidFill>
                  <a:schemeClr val="tx1">
                    <a:lumMod val="50000"/>
                  </a:schemeClr>
                </a:solidFill>
              </a:rPr>
              <a:t>pour réaliser des </a:t>
            </a:r>
            <a:r>
              <a:rPr lang="fr-FR" b="1" u="sng">
                <a:solidFill>
                  <a:schemeClr val="tx1">
                    <a:lumMod val="50000"/>
                  </a:schemeClr>
                </a:solidFill>
              </a:rPr>
              <a:t>actions</a:t>
            </a:r>
            <a:r>
              <a:rPr lang="fr-FR" b="1">
                <a:solidFill>
                  <a:schemeClr val="tx1">
                    <a:lumMod val="50000"/>
                  </a:schemeClr>
                </a:solidFill>
              </a:rPr>
              <a:t> &amp; interagir avec des </a:t>
            </a:r>
            <a:r>
              <a:rPr lang="fr-FR" b="1" u="sng">
                <a:solidFill>
                  <a:schemeClr val="tx1">
                    <a:lumMod val="50000"/>
                  </a:schemeClr>
                </a:solidFill>
              </a:rPr>
              <a:t>données</a:t>
            </a:r>
            <a:r>
              <a:rPr lang="fr-FR" b="1">
                <a:solidFill>
                  <a:schemeClr val="tx1">
                    <a:lumMod val="50000"/>
                  </a:schemeClr>
                </a:solidFill>
              </a:rPr>
              <a:t>.</a:t>
            </a:r>
          </a:p>
        </p:txBody>
      </p:sp>
      <p:grpSp>
        <p:nvGrpSpPr>
          <p:cNvPr id="150" name="Groupe 149">
            <a:extLst>
              <a:ext uri="{FF2B5EF4-FFF2-40B4-BE49-F238E27FC236}">
                <a16:creationId xmlns:a16="http://schemas.microsoft.com/office/drawing/2014/main" id="{FC23FA13-596D-1FCA-F241-65F57C55207A}"/>
              </a:ext>
            </a:extLst>
          </p:cNvPr>
          <p:cNvGrpSpPr/>
          <p:nvPr/>
        </p:nvGrpSpPr>
        <p:grpSpPr>
          <a:xfrm>
            <a:off x="6055063" y="4939642"/>
            <a:ext cx="1797893" cy="1093000"/>
            <a:chOff x="6055063" y="4939642"/>
            <a:chExt cx="1797893" cy="1093000"/>
          </a:xfrm>
        </p:grpSpPr>
        <p:grpSp>
          <p:nvGrpSpPr>
            <p:cNvPr id="120" name="Groupe 119">
              <a:extLst>
                <a:ext uri="{FF2B5EF4-FFF2-40B4-BE49-F238E27FC236}">
                  <a16:creationId xmlns:a16="http://schemas.microsoft.com/office/drawing/2014/main" id="{9AC7066F-4FB2-5907-6FE4-C486EB5FBBA5}"/>
                </a:ext>
              </a:extLst>
            </p:cNvPr>
            <p:cNvGrpSpPr/>
            <p:nvPr/>
          </p:nvGrpSpPr>
          <p:grpSpPr>
            <a:xfrm>
              <a:off x="6055063" y="4939642"/>
              <a:ext cx="1797893" cy="1093000"/>
              <a:chOff x="262475" y="4938661"/>
              <a:chExt cx="2123537" cy="1093000"/>
            </a:xfrm>
          </p:grpSpPr>
          <p:sp>
            <p:nvSpPr>
              <p:cNvPr id="121" name="Rectangle 120">
                <a:extLst>
                  <a:ext uri="{FF2B5EF4-FFF2-40B4-BE49-F238E27FC236}">
                    <a16:creationId xmlns:a16="http://schemas.microsoft.com/office/drawing/2014/main" id="{2C627326-A7C0-9D54-EE23-E7D6E0EDA51C}"/>
                  </a:ext>
                </a:extLst>
              </p:cNvPr>
              <p:cNvSpPr/>
              <p:nvPr/>
            </p:nvSpPr>
            <p:spPr>
              <a:xfrm>
                <a:off x="262475" y="4938661"/>
                <a:ext cx="2123537" cy="1093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2" name="TextBox 26">
                <a:extLst>
                  <a:ext uri="{FF2B5EF4-FFF2-40B4-BE49-F238E27FC236}">
                    <a16:creationId xmlns:a16="http://schemas.microsoft.com/office/drawing/2014/main" id="{3804BC53-240B-36B1-BA22-E38DC8CDB8D1}"/>
                  </a:ext>
                </a:extLst>
              </p:cNvPr>
              <p:cNvSpPr txBox="1"/>
              <p:nvPr/>
            </p:nvSpPr>
            <p:spPr>
              <a:xfrm>
                <a:off x="262475" y="5369952"/>
                <a:ext cx="2123537" cy="646331"/>
              </a:xfrm>
              <a:prstGeom prst="rect">
                <a:avLst/>
              </a:prstGeom>
              <a:noFill/>
            </p:spPr>
            <p:txBody>
              <a:bodyPr wrap="square" rtlCol="0">
                <a:spAutoFit/>
              </a:bodyPr>
              <a:lstStyle/>
              <a:p>
                <a:pPr algn="ctr"/>
                <a:r>
                  <a:rPr lang="fr-FR" sz="1200"/>
                  <a:t>Source de données </a:t>
                </a:r>
                <a:r>
                  <a:rPr lang="fr-FR" sz="1200" b="1" u="sng"/>
                  <a:t>standard Microsoft </a:t>
                </a:r>
                <a:r>
                  <a:rPr lang="fr-FR" sz="1200"/>
                  <a:t>(Excel ou SharePoint)</a:t>
                </a:r>
                <a:endParaRPr lang="fr-FR" sz="1200" b="1" u="sng"/>
              </a:p>
            </p:txBody>
          </p:sp>
        </p:grpSp>
        <p:pic>
          <p:nvPicPr>
            <p:cNvPr id="130" name="Image 129" descr="Une image contenant capture d’écran&#10;&#10;Description générée automatiquement">
              <a:extLst>
                <a:ext uri="{FF2B5EF4-FFF2-40B4-BE49-F238E27FC236}">
                  <a16:creationId xmlns:a16="http://schemas.microsoft.com/office/drawing/2014/main" id="{39110FC8-2FAA-2621-32B9-6A8E1948B35E}"/>
                </a:ext>
              </a:extLst>
            </p:cNvPr>
            <p:cNvPicPr>
              <a:picLocks noChangeAspect="1"/>
            </p:cNvPicPr>
            <p:nvPr/>
          </p:nvPicPr>
          <p:blipFill>
            <a:blip r:embed="rId8">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830243" y="4993440"/>
              <a:ext cx="380953" cy="380953"/>
            </a:xfrm>
            <a:prstGeom prst="rect">
              <a:avLst/>
            </a:prstGeom>
          </p:spPr>
        </p:pic>
      </p:grpSp>
      <p:grpSp>
        <p:nvGrpSpPr>
          <p:cNvPr id="151" name="Groupe 150">
            <a:extLst>
              <a:ext uri="{FF2B5EF4-FFF2-40B4-BE49-F238E27FC236}">
                <a16:creationId xmlns:a16="http://schemas.microsoft.com/office/drawing/2014/main" id="{6B3DECA7-2CBD-D28B-2482-53603AAD1C13}"/>
              </a:ext>
            </a:extLst>
          </p:cNvPr>
          <p:cNvGrpSpPr/>
          <p:nvPr/>
        </p:nvGrpSpPr>
        <p:grpSpPr>
          <a:xfrm>
            <a:off x="7916166" y="4923883"/>
            <a:ext cx="1797893" cy="1093000"/>
            <a:chOff x="7916166" y="4923883"/>
            <a:chExt cx="1797893" cy="1093000"/>
          </a:xfrm>
        </p:grpSpPr>
        <p:grpSp>
          <p:nvGrpSpPr>
            <p:cNvPr id="124" name="Groupe 123">
              <a:extLst>
                <a:ext uri="{FF2B5EF4-FFF2-40B4-BE49-F238E27FC236}">
                  <a16:creationId xmlns:a16="http://schemas.microsoft.com/office/drawing/2014/main" id="{4D62AD86-206E-19DC-A681-D1AC1C44C040}"/>
                </a:ext>
              </a:extLst>
            </p:cNvPr>
            <p:cNvGrpSpPr/>
            <p:nvPr/>
          </p:nvGrpSpPr>
          <p:grpSpPr>
            <a:xfrm>
              <a:off x="7916166" y="4923883"/>
              <a:ext cx="1797893" cy="1093000"/>
              <a:chOff x="262475" y="4938661"/>
              <a:chExt cx="2123537" cy="1093000"/>
            </a:xfrm>
          </p:grpSpPr>
          <p:sp>
            <p:nvSpPr>
              <p:cNvPr id="125" name="Rectangle 124">
                <a:extLst>
                  <a:ext uri="{FF2B5EF4-FFF2-40B4-BE49-F238E27FC236}">
                    <a16:creationId xmlns:a16="http://schemas.microsoft.com/office/drawing/2014/main" id="{82DEE5C4-715D-83C1-1FEC-E625659115FF}"/>
                  </a:ext>
                </a:extLst>
              </p:cNvPr>
              <p:cNvSpPr/>
              <p:nvPr/>
            </p:nvSpPr>
            <p:spPr>
              <a:xfrm>
                <a:off x="262475" y="4938661"/>
                <a:ext cx="2123537" cy="1093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6" name="TextBox 26">
                <a:extLst>
                  <a:ext uri="{FF2B5EF4-FFF2-40B4-BE49-F238E27FC236}">
                    <a16:creationId xmlns:a16="http://schemas.microsoft.com/office/drawing/2014/main" id="{C26C6C62-6C44-2CE2-459B-8B65CF23FBB3}"/>
                  </a:ext>
                </a:extLst>
              </p:cNvPr>
              <p:cNvSpPr txBox="1"/>
              <p:nvPr/>
            </p:nvSpPr>
            <p:spPr>
              <a:xfrm>
                <a:off x="262475" y="5369952"/>
                <a:ext cx="2123537" cy="646331"/>
              </a:xfrm>
              <a:prstGeom prst="rect">
                <a:avLst/>
              </a:prstGeom>
              <a:noFill/>
            </p:spPr>
            <p:txBody>
              <a:bodyPr wrap="square" rtlCol="0">
                <a:spAutoFit/>
              </a:bodyPr>
              <a:lstStyle/>
              <a:p>
                <a:pPr algn="ctr"/>
                <a:r>
                  <a:rPr lang="fr-FR" sz="1200"/>
                  <a:t>Source de données </a:t>
                </a:r>
                <a:r>
                  <a:rPr lang="fr-FR" sz="1200" b="1" u="sng"/>
                  <a:t>Premium Microsoft</a:t>
                </a:r>
                <a:r>
                  <a:rPr lang="fr-FR" sz="1200"/>
                  <a:t> (</a:t>
                </a:r>
                <a:r>
                  <a:rPr lang="fr-FR" sz="1200" err="1"/>
                  <a:t>Dataverse</a:t>
                </a:r>
                <a:r>
                  <a:rPr lang="fr-FR" sz="1200"/>
                  <a:t>)</a:t>
                </a:r>
                <a:endParaRPr lang="fr-FR" sz="1200" b="1" u="sng"/>
              </a:p>
            </p:txBody>
          </p:sp>
        </p:grpSp>
        <p:pic>
          <p:nvPicPr>
            <p:cNvPr id="2058" name="Picture 10" descr="Logo&#10;&#10;Description automatically generated with medium confidence">
              <a:extLst>
                <a:ext uri="{FF2B5EF4-FFF2-40B4-BE49-F238E27FC236}">
                  <a16:creationId xmlns:a16="http://schemas.microsoft.com/office/drawing/2014/main" id="{371DE01A-2B50-4B31-07A5-CD9CD39EEB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37814" y="4952404"/>
              <a:ext cx="372762" cy="3727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7" name="Groupe 146">
            <a:extLst>
              <a:ext uri="{FF2B5EF4-FFF2-40B4-BE49-F238E27FC236}">
                <a16:creationId xmlns:a16="http://schemas.microsoft.com/office/drawing/2014/main" id="{FF3164B5-2D25-5455-2D7E-CE106761313B}"/>
              </a:ext>
            </a:extLst>
          </p:cNvPr>
          <p:cNvGrpSpPr/>
          <p:nvPr/>
        </p:nvGrpSpPr>
        <p:grpSpPr>
          <a:xfrm>
            <a:off x="262475" y="4938661"/>
            <a:ext cx="1797893" cy="1093000"/>
            <a:chOff x="262475" y="4938661"/>
            <a:chExt cx="1797893" cy="1093000"/>
          </a:xfrm>
        </p:grpSpPr>
        <p:grpSp>
          <p:nvGrpSpPr>
            <p:cNvPr id="111" name="Groupe 110">
              <a:extLst>
                <a:ext uri="{FF2B5EF4-FFF2-40B4-BE49-F238E27FC236}">
                  <a16:creationId xmlns:a16="http://schemas.microsoft.com/office/drawing/2014/main" id="{2444B336-7F46-B935-0D27-542E5AEF459C}"/>
                </a:ext>
              </a:extLst>
            </p:cNvPr>
            <p:cNvGrpSpPr/>
            <p:nvPr/>
          </p:nvGrpSpPr>
          <p:grpSpPr>
            <a:xfrm>
              <a:off x="262475" y="4938661"/>
              <a:ext cx="1797893" cy="1093000"/>
              <a:chOff x="262475" y="4938661"/>
              <a:chExt cx="2123537" cy="1093000"/>
            </a:xfrm>
          </p:grpSpPr>
          <p:sp>
            <p:nvSpPr>
              <p:cNvPr id="110" name="Rectangle 109">
                <a:extLst>
                  <a:ext uri="{FF2B5EF4-FFF2-40B4-BE49-F238E27FC236}">
                    <a16:creationId xmlns:a16="http://schemas.microsoft.com/office/drawing/2014/main" id="{95BCC87A-8D85-2F3E-0401-E5B518783EDC}"/>
                  </a:ext>
                </a:extLst>
              </p:cNvPr>
              <p:cNvSpPr/>
              <p:nvPr/>
            </p:nvSpPr>
            <p:spPr>
              <a:xfrm>
                <a:off x="262475" y="4938661"/>
                <a:ext cx="2123537" cy="1093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8" name="TextBox 26">
                <a:extLst>
                  <a:ext uri="{FF2B5EF4-FFF2-40B4-BE49-F238E27FC236}">
                    <a16:creationId xmlns:a16="http://schemas.microsoft.com/office/drawing/2014/main" id="{21AC3A26-AAFB-C796-6153-141A72E6E2B2}"/>
                  </a:ext>
                </a:extLst>
              </p:cNvPr>
              <p:cNvSpPr txBox="1"/>
              <p:nvPr/>
            </p:nvSpPr>
            <p:spPr>
              <a:xfrm>
                <a:off x="262475" y="5401045"/>
                <a:ext cx="2123537" cy="461665"/>
              </a:xfrm>
              <a:prstGeom prst="rect">
                <a:avLst/>
              </a:prstGeom>
              <a:noFill/>
            </p:spPr>
            <p:txBody>
              <a:bodyPr wrap="square" rtlCol="0">
                <a:spAutoFit/>
              </a:bodyPr>
              <a:lstStyle/>
              <a:p>
                <a:pPr algn="ctr"/>
                <a:r>
                  <a:rPr lang="fr-FR" sz="1200"/>
                  <a:t>Connecteurs</a:t>
                </a:r>
              </a:p>
              <a:p>
                <a:pPr algn="ctr"/>
                <a:r>
                  <a:rPr lang="fr-FR" sz="1200" b="1" u="sng"/>
                  <a:t>Natifs Standards Microsoft</a:t>
                </a:r>
              </a:p>
            </p:txBody>
          </p:sp>
        </p:grpSp>
        <p:grpSp>
          <p:nvGrpSpPr>
            <p:cNvPr id="21" name="Group 1">
              <a:extLst>
                <a:ext uri="{FF2B5EF4-FFF2-40B4-BE49-F238E27FC236}">
                  <a16:creationId xmlns:a16="http://schemas.microsoft.com/office/drawing/2014/main" id="{1F3CBDB3-DA32-0A68-5707-417B5026FBDE}"/>
                </a:ext>
              </a:extLst>
            </p:cNvPr>
            <p:cNvGrpSpPr/>
            <p:nvPr/>
          </p:nvGrpSpPr>
          <p:grpSpPr>
            <a:xfrm>
              <a:off x="1060231" y="5077218"/>
              <a:ext cx="256537" cy="256536"/>
              <a:chOff x="1688084" y="5279113"/>
              <a:chExt cx="367665" cy="367665"/>
            </a:xfrm>
            <a:solidFill>
              <a:srgbClr val="00B050"/>
            </a:solidFill>
          </p:grpSpPr>
          <p:sp>
            <p:nvSpPr>
              <p:cNvPr id="22" name="Freeform 101">
                <a:extLst>
                  <a:ext uri="{FF2B5EF4-FFF2-40B4-BE49-F238E27FC236}">
                    <a16:creationId xmlns:a16="http://schemas.microsoft.com/office/drawing/2014/main" id="{9ED1D186-228D-F215-438A-6515AD458E1E}"/>
                  </a:ext>
                </a:extLst>
              </p:cNvPr>
              <p:cNvSpPr>
                <a:spLocks/>
              </p:cNvSpPr>
              <p:nvPr/>
            </p:nvSpPr>
            <p:spPr bwMode="auto">
              <a:xfrm>
                <a:off x="1918588" y="5509618"/>
                <a:ext cx="137160" cy="137160"/>
              </a:xfrm>
              <a:custGeom>
                <a:avLst/>
                <a:gdLst>
                  <a:gd name="T0" fmla="*/ 0 w 105"/>
                  <a:gd name="T1" fmla="*/ 105 h 106"/>
                  <a:gd name="T2" fmla="*/ 0 w 105"/>
                  <a:gd name="T3" fmla="*/ 105 h 106"/>
                  <a:gd name="T4" fmla="*/ 105 w 105"/>
                  <a:gd name="T5" fmla="*/ 106 h 106"/>
                  <a:gd name="T6" fmla="*/ 105 w 105"/>
                  <a:gd name="T7" fmla="*/ 0 h 106"/>
                  <a:gd name="T8" fmla="*/ 78 w 105"/>
                  <a:gd name="T9" fmla="*/ 0 h 106"/>
                  <a:gd name="T10" fmla="*/ 79 w 105"/>
                  <a:gd name="T11" fmla="*/ 60 h 106"/>
                  <a:gd name="T12" fmla="*/ 20 w 105"/>
                  <a:gd name="T13" fmla="*/ 2 h 106"/>
                  <a:gd name="T14" fmla="*/ 1 w 105"/>
                  <a:gd name="T15" fmla="*/ 21 h 106"/>
                  <a:gd name="T16" fmla="*/ 60 w 105"/>
                  <a:gd name="T17" fmla="*/ 79 h 106"/>
                  <a:gd name="T18" fmla="*/ 0 w 105"/>
                  <a:gd name="T19" fmla="*/ 79 h 106"/>
                  <a:gd name="T20" fmla="*/ 0 w 105"/>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106">
                    <a:moveTo>
                      <a:pt x="0" y="105"/>
                    </a:moveTo>
                    <a:lnTo>
                      <a:pt x="0" y="105"/>
                    </a:lnTo>
                    <a:lnTo>
                      <a:pt x="105" y="106"/>
                    </a:lnTo>
                    <a:lnTo>
                      <a:pt x="105" y="0"/>
                    </a:lnTo>
                    <a:lnTo>
                      <a:pt x="78" y="0"/>
                    </a:lnTo>
                    <a:lnTo>
                      <a:pt x="79" y="60"/>
                    </a:lnTo>
                    <a:lnTo>
                      <a:pt x="20" y="2"/>
                    </a:lnTo>
                    <a:lnTo>
                      <a:pt x="1" y="21"/>
                    </a:lnTo>
                    <a:lnTo>
                      <a:pt x="60" y="79"/>
                    </a:lnTo>
                    <a:lnTo>
                      <a:pt x="0" y="79"/>
                    </a:lnTo>
                    <a:lnTo>
                      <a:pt x="0" y="105"/>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38" name="Freeform 102">
                <a:extLst>
                  <a:ext uri="{FF2B5EF4-FFF2-40B4-BE49-F238E27FC236}">
                    <a16:creationId xmlns:a16="http://schemas.microsoft.com/office/drawing/2014/main" id="{86BF3ADC-C72A-F714-3D83-424D39255B66}"/>
                  </a:ext>
                </a:extLst>
              </p:cNvPr>
              <p:cNvSpPr>
                <a:spLocks/>
              </p:cNvSpPr>
              <p:nvPr/>
            </p:nvSpPr>
            <p:spPr bwMode="auto">
              <a:xfrm>
                <a:off x="1692846" y="5504856"/>
                <a:ext cx="137160" cy="137160"/>
              </a:xfrm>
              <a:custGeom>
                <a:avLst/>
                <a:gdLst>
                  <a:gd name="T0" fmla="*/ 84 w 106"/>
                  <a:gd name="T1" fmla="*/ 3 h 106"/>
                  <a:gd name="T2" fmla="*/ 84 w 106"/>
                  <a:gd name="T3" fmla="*/ 3 h 106"/>
                  <a:gd name="T4" fmla="*/ 27 w 106"/>
                  <a:gd name="T5" fmla="*/ 60 h 106"/>
                  <a:gd name="T6" fmla="*/ 27 w 106"/>
                  <a:gd name="T7" fmla="*/ 0 h 106"/>
                  <a:gd name="T8" fmla="*/ 0 w 106"/>
                  <a:gd name="T9" fmla="*/ 0 h 106"/>
                  <a:gd name="T10" fmla="*/ 0 w 106"/>
                  <a:gd name="T11" fmla="*/ 106 h 106"/>
                  <a:gd name="T12" fmla="*/ 106 w 106"/>
                  <a:gd name="T13" fmla="*/ 106 h 106"/>
                  <a:gd name="T14" fmla="*/ 106 w 106"/>
                  <a:gd name="T15" fmla="*/ 79 h 106"/>
                  <a:gd name="T16" fmla="*/ 46 w 106"/>
                  <a:gd name="T17" fmla="*/ 79 h 106"/>
                  <a:gd name="T18" fmla="*/ 101 w 106"/>
                  <a:gd name="T19" fmla="*/ 24 h 106"/>
                  <a:gd name="T20" fmla="*/ 82 w 106"/>
                  <a:gd name="T21" fmla="*/ 5 h 106"/>
                  <a:gd name="T22" fmla="*/ 84 w 106"/>
                  <a:gd name="T23" fmla="*/ 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06">
                    <a:moveTo>
                      <a:pt x="84" y="3"/>
                    </a:moveTo>
                    <a:lnTo>
                      <a:pt x="84" y="3"/>
                    </a:lnTo>
                    <a:lnTo>
                      <a:pt x="27" y="60"/>
                    </a:lnTo>
                    <a:lnTo>
                      <a:pt x="27" y="0"/>
                    </a:lnTo>
                    <a:lnTo>
                      <a:pt x="0" y="0"/>
                    </a:lnTo>
                    <a:lnTo>
                      <a:pt x="0" y="106"/>
                    </a:lnTo>
                    <a:lnTo>
                      <a:pt x="106" y="106"/>
                    </a:lnTo>
                    <a:lnTo>
                      <a:pt x="106" y="79"/>
                    </a:lnTo>
                    <a:lnTo>
                      <a:pt x="46" y="79"/>
                    </a:lnTo>
                    <a:lnTo>
                      <a:pt x="101" y="24"/>
                    </a:lnTo>
                    <a:lnTo>
                      <a:pt x="82" y="5"/>
                    </a:lnTo>
                    <a:lnTo>
                      <a:pt x="84" y="3"/>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48" name="Freeform 103">
                <a:extLst>
                  <a:ext uri="{FF2B5EF4-FFF2-40B4-BE49-F238E27FC236}">
                    <a16:creationId xmlns:a16="http://schemas.microsoft.com/office/drawing/2014/main" id="{E13D7BAB-F51E-F4DB-7111-5710F9BBFD6D}"/>
                  </a:ext>
                </a:extLst>
              </p:cNvPr>
              <p:cNvSpPr>
                <a:spLocks/>
              </p:cNvSpPr>
              <p:nvPr/>
            </p:nvSpPr>
            <p:spPr bwMode="auto">
              <a:xfrm>
                <a:off x="1688084" y="5279113"/>
                <a:ext cx="137160" cy="137160"/>
              </a:xfrm>
              <a:custGeom>
                <a:avLst/>
                <a:gdLst>
                  <a:gd name="T0" fmla="*/ 27 w 106"/>
                  <a:gd name="T1" fmla="*/ 45 h 106"/>
                  <a:gd name="T2" fmla="*/ 27 w 106"/>
                  <a:gd name="T3" fmla="*/ 45 h 106"/>
                  <a:gd name="T4" fmla="*/ 85 w 106"/>
                  <a:gd name="T5" fmla="*/ 103 h 106"/>
                  <a:gd name="T6" fmla="*/ 104 w 106"/>
                  <a:gd name="T7" fmla="*/ 85 h 106"/>
                  <a:gd name="T8" fmla="*/ 46 w 106"/>
                  <a:gd name="T9" fmla="*/ 26 h 106"/>
                  <a:gd name="T10" fmla="*/ 106 w 106"/>
                  <a:gd name="T11" fmla="*/ 27 h 106"/>
                  <a:gd name="T12" fmla="*/ 106 w 106"/>
                  <a:gd name="T13" fmla="*/ 0 h 106"/>
                  <a:gd name="T14" fmla="*/ 0 w 106"/>
                  <a:gd name="T15" fmla="*/ 0 h 106"/>
                  <a:gd name="T16" fmla="*/ 0 w 106"/>
                  <a:gd name="T17" fmla="*/ 106 h 106"/>
                  <a:gd name="T18" fmla="*/ 27 w 106"/>
                  <a:gd name="T19" fmla="*/ 106 h 106"/>
                  <a:gd name="T20" fmla="*/ 27 w 106"/>
                  <a:gd name="T21"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06">
                    <a:moveTo>
                      <a:pt x="27" y="45"/>
                    </a:moveTo>
                    <a:lnTo>
                      <a:pt x="27" y="45"/>
                    </a:lnTo>
                    <a:lnTo>
                      <a:pt x="85" y="103"/>
                    </a:lnTo>
                    <a:lnTo>
                      <a:pt x="104" y="85"/>
                    </a:lnTo>
                    <a:lnTo>
                      <a:pt x="46" y="26"/>
                    </a:lnTo>
                    <a:lnTo>
                      <a:pt x="106" y="27"/>
                    </a:lnTo>
                    <a:lnTo>
                      <a:pt x="106" y="0"/>
                    </a:lnTo>
                    <a:lnTo>
                      <a:pt x="0" y="0"/>
                    </a:lnTo>
                    <a:lnTo>
                      <a:pt x="0" y="106"/>
                    </a:lnTo>
                    <a:lnTo>
                      <a:pt x="27" y="106"/>
                    </a:lnTo>
                    <a:lnTo>
                      <a:pt x="27" y="45"/>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50" name="Freeform 104">
                <a:extLst>
                  <a:ext uri="{FF2B5EF4-FFF2-40B4-BE49-F238E27FC236}">
                    <a16:creationId xmlns:a16="http://schemas.microsoft.com/office/drawing/2014/main" id="{820A9BC1-EEAA-BA5B-27B8-2AEBFAA178C7}"/>
                  </a:ext>
                </a:extLst>
              </p:cNvPr>
              <p:cNvSpPr>
                <a:spLocks/>
              </p:cNvSpPr>
              <p:nvPr/>
            </p:nvSpPr>
            <p:spPr bwMode="auto">
              <a:xfrm>
                <a:off x="1796669" y="5279113"/>
                <a:ext cx="259080" cy="257175"/>
              </a:xfrm>
              <a:custGeom>
                <a:avLst/>
                <a:gdLst>
                  <a:gd name="T0" fmla="*/ 0 w 199"/>
                  <a:gd name="T1" fmla="*/ 180 h 198"/>
                  <a:gd name="T2" fmla="*/ 0 w 199"/>
                  <a:gd name="T3" fmla="*/ 180 h 198"/>
                  <a:gd name="T4" fmla="*/ 1 w 199"/>
                  <a:gd name="T5" fmla="*/ 179 h 198"/>
                  <a:gd name="T6" fmla="*/ 20 w 199"/>
                  <a:gd name="T7" fmla="*/ 198 h 198"/>
                  <a:gd name="T8" fmla="*/ 173 w 199"/>
                  <a:gd name="T9" fmla="*/ 45 h 198"/>
                  <a:gd name="T10" fmla="*/ 172 w 199"/>
                  <a:gd name="T11" fmla="*/ 106 h 198"/>
                  <a:gd name="T12" fmla="*/ 199 w 199"/>
                  <a:gd name="T13" fmla="*/ 106 h 198"/>
                  <a:gd name="T14" fmla="*/ 199 w 199"/>
                  <a:gd name="T15" fmla="*/ 0 h 198"/>
                  <a:gd name="T16" fmla="*/ 94 w 199"/>
                  <a:gd name="T17" fmla="*/ 0 h 198"/>
                  <a:gd name="T18" fmla="*/ 94 w 199"/>
                  <a:gd name="T19" fmla="*/ 26 h 198"/>
                  <a:gd name="T20" fmla="*/ 154 w 199"/>
                  <a:gd name="T21" fmla="*/ 26 h 198"/>
                  <a:gd name="T22" fmla="*/ 0 w 199"/>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98">
                    <a:moveTo>
                      <a:pt x="0" y="180"/>
                    </a:moveTo>
                    <a:lnTo>
                      <a:pt x="0" y="180"/>
                    </a:lnTo>
                    <a:lnTo>
                      <a:pt x="1" y="179"/>
                    </a:lnTo>
                    <a:lnTo>
                      <a:pt x="20" y="198"/>
                    </a:lnTo>
                    <a:lnTo>
                      <a:pt x="173" y="45"/>
                    </a:lnTo>
                    <a:lnTo>
                      <a:pt x="172" y="106"/>
                    </a:lnTo>
                    <a:lnTo>
                      <a:pt x="199" y="106"/>
                    </a:lnTo>
                    <a:lnTo>
                      <a:pt x="199" y="0"/>
                    </a:lnTo>
                    <a:lnTo>
                      <a:pt x="94" y="0"/>
                    </a:lnTo>
                    <a:lnTo>
                      <a:pt x="94" y="26"/>
                    </a:lnTo>
                    <a:lnTo>
                      <a:pt x="154" y="26"/>
                    </a:lnTo>
                    <a:lnTo>
                      <a:pt x="0" y="180"/>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grpSp>
      </p:grpSp>
      <p:grpSp>
        <p:nvGrpSpPr>
          <p:cNvPr id="148" name="Groupe 147">
            <a:extLst>
              <a:ext uri="{FF2B5EF4-FFF2-40B4-BE49-F238E27FC236}">
                <a16:creationId xmlns:a16="http://schemas.microsoft.com/office/drawing/2014/main" id="{18A95DEC-F387-0C3F-ABE3-F0E96AF15BB0}"/>
              </a:ext>
            </a:extLst>
          </p:cNvPr>
          <p:cNvGrpSpPr/>
          <p:nvPr/>
        </p:nvGrpSpPr>
        <p:grpSpPr>
          <a:xfrm>
            <a:off x="2175945" y="4948181"/>
            <a:ext cx="1797893" cy="1093000"/>
            <a:chOff x="2175945" y="4948181"/>
            <a:chExt cx="1797893" cy="1093000"/>
          </a:xfrm>
        </p:grpSpPr>
        <p:grpSp>
          <p:nvGrpSpPr>
            <p:cNvPr id="112" name="Groupe 111">
              <a:extLst>
                <a:ext uri="{FF2B5EF4-FFF2-40B4-BE49-F238E27FC236}">
                  <a16:creationId xmlns:a16="http://schemas.microsoft.com/office/drawing/2014/main" id="{C0992C37-88C5-1DD3-FECC-6305F998FD8E}"/>
                </a:ext>
              </a:extLst>
            </p:cNvPr>
            <p:cNvGrpSpPr/>
            <p:nvPr/>
          </p:nvGrpSpPr>
          <p:grpSpPr>
            <a:xfrm>
              <a:off x="2175945" y="4948181"/>
              <a:ext cx="1797893" cy="1093000"/>
              <a:chOff x="262475" y="4938661"/>
              <a:chExt cx="2123537" cy="1093000"/>
            </a:xfrm>
          </p:grpSpPr>
          <p:sp>
            <p:nvSpPr>
              <p:cNvPr id="113" name="Rectangle 112">
                <a:extLst>
                  <a:ext uri="{FF2B5EF4-FFF2-40B4-BE49-F238E27FC236}">
                    <a16:creationId xmlns:a16="http://schemas.microsoft.com/office/drawing/2014/main" id="{4C7F02FE-4218-EB50-3D04-BBE0F3065E64}"/>
                  </a:ext>
                </a:extLst>
              </p:cNvPr>
              <p:cNvSpPr/>
              <p:nvPr/>
            </p:nvSpPr>
            <p:spPr>
              <a:xfrm>
                <a:off x="262475" y="4938661"/>
                <a:ext cx="2123537" cy="1093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4" name="TextBox 26">
                <a:extLst>
                  <a:ext uri="{FF2B5EF4-FFF2-40B4-BE49-F238E27FC236}">
                    <a16:creationId xmlns:a16="http://schemas.microsoft.com/office/drawing/2014/main" id="{367272F4-27E6-5F40-8941-9FB5BC4DF00D}"/>
                  </a:ext>
                </a:extLst>
              </p:cNvPr>
              <p:cNvSpPr txBox="1"/>
              <p:nvPr/>
            </p:nvSpPr>
            <p:spPr>
              <a:xfrm>
                <a:off x="262475" y="5369952"/>
                <a:ext cx="2123537" cy="646331"/>
              </a:xfrm>
              <a:prstGeom prst="rect">
                <a:avLst/>
              </a:prstGeom>
              <a:noFill/>
            </p:spPr>
            <p:txBody>
              <a:bodyPr wrap="square" rtlCol="0">
                <a:spAutoFit/>
              </a:bodyPr>
              <a:lstStyle/>
              <a:p>
                <a:pPr algn="ctr"/>
                <a:r>
                  <a:rPr lang="fr-FR" sz="1200"/>
                  <a:t>Connecteurs</a:t>
                </a:r>
              </a:p>
              <a:p>
                <a:pPr algn="ctr"/>
                <a:r>
                  <a:rPr lang="fr-FR" sz="1200" b="1" u="sng"/>
                  <a:t>tiers Standards non Microsoft</a:t>
                </a:r>
              </a:p>
            </p:txBody>
          </p:sp>
        </p:grpSp>
        <p:grpSp>
          <p:nvGrpSpPr>
            <p:cNvPr id="131" name="Group 1">
              <a:extLst>
                <a:ext uri="{FF2B5EF4-FFF2-40B4-BE49-F238E27FC236}">
                  <a16:creationId xmlns:a16="http://schemas.microsoft.com/office/drawing/2014/main" id="{B041AB4E-1905-ED54-ABFC-4BF5EABEE6C0}"/>
                </a:ext>
              </a:extLst>
            </p:cNvPr>
            <p:cNvGrpSpPr/>
            <p:nvPr/>
          </p:nvGrpSpPr>
          <p:grpSpPr>
            <a:xfrm>
              <a:off x="2925667" y="5051876"/>
              <a:ext cx="256537" cy="256536"/>
              <a:chOff x="1688084" y="5279113"/>
              <a:chExt cx="367665" cy="367665"/>
            </a:xfrm>
            <a:solidFill>
              <a:schemeClr val="accent5"/>
            </a:solidFill>
          </p:grpSpPr>
          <p:sp>
            <p:nvSpPr>
              <p:cNvPr id="133" name="Freeform 101">
                <a:extLst>
                  <a:ext uri="{FF2B5EF4-FFF2-40B4-BE49-F238E27FC236}">
                    <a16:creationId xmlns:a16="http://schemas.microsoft.com/office/drawing/2014/main" id="{79D62B0B-C47D-C23E-074C-B442DAEB4220}"/>
                  </a:ext>
                </a:extLst>
              </p:cNvPr>
              <p:cNvSpPr>
                <a:spLocks/>
              </p:cNvSpPr>
              <p:nvPr/>
            </p:nvSpPr>
            <p:spPr bwMode="auto">
              <a:xfrm>
                <a:off x="1918588" y="5509618"/>
                <a:ext cx="137160" cy="137160"/>
              </a:xfrm>
              <a:custGeom>
                <a:avLst/>
                <a:gdLst>
                  <a:gd name="T0" fmla="*/ 0 w 105"/>
                  <a:gd name="T1" fmla="*/ 105 h 106"/>
                  <a:gd name="T2" fmla="*/ 0 w 105"/>
                  <a:gd name="T3" fmla="*/ 105 h 106"/>
                  <a:gd name="T4" fmla="*/ 105 w 105"/>
                  <a:gd name="T5" fmla="*/ 106 h 106"/>
                  <a:gd name="T6" fmla="*/ 105 w 105"/>
                  <a:gd name="T7" fmla="*/ 0 h 106"/>
                  <a:gd name="T8" fmla="*/ 78 w 105"/>
                  <a:gd name="T9" fmla="*/ 0 h 106"/>
                  <a:gd name="T10" fmla="*/ 79 w 105"/>
                  <a:gd name="T11" fmla="*/ 60 h 106"/>
                  <a:gd name="T12" fmla="*/ 20 w 105"/>
                  <a:gd name="T13" fmla="*/ 2 h 106"/>
                  <a:gd name="T14" fmla="*/ 1 w 105"/>
                  <a:gd name="T15" fmla="*/ 21 h 106"/>
                  <a:gd name="T16" fmla="*/ 60 w 105"/>
                  <a:gd name="T17" fmla="*/ 79 h 106"/>
                  <a:gd name="T18" fmla="*/ 0 w 105"/>
                  <a:gd name="T19" fmla="*/ 79 h 106"/>
                  <a:gd name="T20" fmla="*/ 0 w 105"/>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106">
                    <a:moveTo>
                      <a:pt x="0" y="105"/>
                    </a:moveTo>
                    <a:lnTo>
                      <a:pt x="0" y="105"/>
                    </a:lnTo>
                    <a:lnTo>
                      <a:pt x="105" y="106"/>
                    </a:lnTo>
                    <a:lnTo>
                      <a:pt x="105" y="0"/>
                    </a:lnTo>
                    <a:lnTo>
                      <a:pt x="78" y="0"/>
                    </a:lnTo>
                    <a:lnTo>
                      <a:pt x="79" y="60"/>
                    </a:lnTo>
                    <a:lnTo>
                      <a:pt x="20" y="2"/>
                    </a:lnTo>
                    <a:lnTo>
                      <a:pt x="1" y="21"/>
                    </a:lnTo>
                    <a:lnTo>
                      <a:pt x="60" y="79"/>
                    </a:lnTo>
                    <a:lnTo>
                      <a:pt x="0" y="79"/>
                    </a:lnTo>
                    <a:lnTo>
                      <a:pt x="0" y="105"/>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134" name="Freeform 102">
                <a:extLst>
                  <a:ext uri="{FF2B5EF4-FFF2-40B4-BE49-F238E27FC236}">
                    <a16:creationId xmlns:a16="http://schemas.microsoft.com/office/drawing/2014/main" id="{C4BD116B-3C6F-16D3-8278-6D0B9194D0E0}"/>
                  </a:ext>
                </a:extLst>
              </p:cNvPr>
              <p:cNvSpPr>
                <a:spLocks/>
              </p:cNvSpPr>
              <p:nvPr/>
            </p:nvSpPr>
            <p:spPr bwMode="auto">
              <a:xfrm>
                <a:off x="1692846" y="5504856"/>
                <a:ext cx="137160" cy="137160"/>
              </a:xfrm>
              <a:custGeom>
                <a:avLst/>
                <a:gdLst>
                  <a:gd name="T0" fmla="*/ 84 w 106"/>
                  <a:gd name="T1" fmla="*/ 3 h 106"/>
                  <a:gd name="T2" fmla="*/ 84 w 106"/>
                  <a:gd name="T3" fmla="*/ 3 h 106"/>
                  <a:gd name="T4" fmla="*/ 27 w 106"/>
                  <a:gd name="T5" fmla="*/ 60 h 106"/>
                  <a:gd name="T6" fmla="*/ 27 w 106"/>
                  <a:gd name="T7" fmla="*/ 0 h 106"/>
                  <a:gd name="T8" fmla="*/ 0 w 106"/>
                  <a:gd name="T9" fmla="*/ 0 h 106"/>
                  <a:gd name="T10" fmla="*/ 0 w 106"/>
                  <a:gd name="T11" fmla="*/ 106 h 106"/>
                  <a:gd name="T12" fmla="*/ 106 w 106"/>
                  <a:gd name="T13" fmla="*/ 106 h 106"/>
                  <a:gd name="T14" fmla="*/ 106 w 106"/>
                  <a:gd name="T15" fmla="*/ 79 h 106"/>
                  <a:gd name="T16" fmla="*/ 46 w 106"/>
                  <a:gd name="T17" fmla="*/ 79 h 106"/>
                  <a:gd name="T18" fmla="*/ 101 w 106"/>
                  <a:gd name="T19" fmla="*/ 24 h 106"/>
                  <a:gd name="T20" fmla="*/ 82 w 106"/>
                  <a:gd name="T21" fmla="*/ 5 h 106"/>
                  <a:gd name="T22" fmla="*/ 84 w 106"/>
                  <a:gd name="T23" fmla="*/ 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06">
                    <a:moveTo>
                      <a:pt x="84" y="3"/>
                    </a:moveTo>
                    <a:lnTo>
                      <a:pt x="84" y="3"/>
                    </a:lnTo>
                    <a:lnTo>
                      <a:pt x="27" y="60"/>
                    </a:lnTo>
                    <a:lnTo>
                      <a:pt x="27" y="0"/>
                    </a:lnTo>
                    <a:lnTo>
                      <a:pt x="0" y="0"/>
                    </a:lnTo>
                    <a:lnTo>
                      <a:pt x="0" y="106"/>
                    </a:lnTo>
                    <a:lnTo>
                      <a:pt x="106" y="106"/>
                    </a:lnTo>
                    <a:lnTo>
                      <a:pt x="106" y="79"/>
                    </a:lnTo>
                    <a:lnTo>
                      <a:pt x="46" y="79"/>
                    </a:lnTo>
                    <a:lnTo>
                      <a:pt x="101" y="24"/>
                    </a:lnTo>
                    <a:lnTo>
                      <a:pt x="82" y="5"/>
                    </a:lnTo>
                    <a:lnTo>
                      <a:pt x="84" y="3"/>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136" name="Freeform 103">
                <a:extLst>
                  <a:ext uri="{FF2B5EF4-FFF2-40B4-BE49-F238E27FC236}">
                    <a16:creationId xmlns:a16="http://schemas.microsoft.com/office/drawing/2014/main" id="{66D7670C-8433-6B3D-39D9-719FA716AD95}"/>
                  </a:ext>
                </a:extLst>
              </p:cNvPr>
              <p:cNvSpPr>
                <a:spLocks/>
              </p:cNvSpPr>
              <p:nvPr/>
            </p:nvSpPr>
            <p:spPr bwMode="auto">
              <a:xfrm>
                <a:off x="1688084" y="5279113"/>
                <a:ext cx="137160" cy="137160"/>
              </a:xfrm>
              <a:custGeom>
                <a:avLst/>
                <a:gdLst>
                  <a:gd name="T0" fmla="*/ 27 w 106"/>
                  <a:gd name="T1" fmla="*/ 45 h 106"/>
                  <a:gd name="T2" fmla="*/ 27 w 106"/>
                  <a:gd name="T3" fmla="*/ 45 h 106"/>
                  <a:gd name="T4" fmla="*/ 85 w 106"/>
                  <a:gd name="T5" fmla="*/ 103 h 106"/>
                  <a:gd name="T6" fmla="*/ 104 w 106"/>
                  <a:gd name="T7" fmla="*/ 85 h 106"/>
                  <a:gd name="T8" fmla="*/ 46 w 106"/>
                  <a:gd name="T9" fmla="*/ 26 h 106"/>
                  <a:gd name="T10" fmla="*/ 106 w 106"/>
                  <a:gd name="T11" fmla="*/ 27 h 106"/>
                  <a:gd name="T12" fmla="*/ 106 w 106"/>
                  <a:gd name="T13" fmla="*/ 0 h 106"/>
                  <a:gd name="T14" fmla="*/ 0 w 106"/>
                  <a:gd name="T15" fmla="*/ 0 h 106"/>
                  <a:gd name="T16" fmla="*/ 0 w 106"/>
                  <a:gd name="T17" fmla="*/ 106 h 106"/>
                  <a:gd name="T18" fmla="*/ 27 w 106"/>
                  <a:gd name="T19" fmla="*/ 106 h 106"/>
                  <a:gd name="T20" fmla="*/ 27 w 106"/>
                  <a:gd name="T21"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06">
                    <a:moveTo>
                      <a:pt x="27" y="45"/>
                    </a:moveTo>
                    <a:lnTo>
                      <a:pt x="27" y="45"/>
                    </a:lnTo>
                    <a:lnTo>
                      <a:pt x="85" y="103"/>
                    </a:lnTo>
                    <a:lnTo>
                      <a:pt x="104" y="85"/>
                    </a:lnTo>
                    <a:lnTo>
                      <a:pt x="46" y="26"/>
                    </a:lnTo>
                    <a:lnTo>
                      <a:pt x="106" y="27"/>
                    </a:lnTo>
                    <a:lnTo>
                      <a:pt x="106" y="0"/>
                    </a:lnTo>
                    <a:lnTo>
                      <a:pt x="0" y="0"/>
                    </a:lnTo>
                    <a:lnTo>
                      <a:pt x="0" y="106"/>
                    </a:lnTo>
                    <a:lnTo>
                      <a:pt x="27" y="106"/>
                    </a:lnTo>
                    <a:lnTo>
                      <a:pt x="27" y="45"/>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137" name="Freeform 104">
                <a:extLst>
                  <a:ext uri="{FF2B5EF4-FFF2-40B4-BE49-F238E27FC236}">
                    <a16:creationId xmlns:a16="http://schemas.microsoft.com/office/drawing/2014/main" id="{50CB7B34-3F84-E069-0534-3BECDBBF0D37}"/>
                  </a:ext>
                </a:extLst>
              </p:cNvPr>
              <p:cNvSpPr>
                <a:spLocks/>
              </p:cNvSpPr>
              <p:nvPr/>
            </p:nvSpPr>
            <p:spPr bwMode="auto">
              <a:xfrm>
                <a:off x="1796669" y="5279113"/>
                <a:ext cx="259080" cy="257175"/>
              </a:xfrm>
              <a:custGeom>
                <a:avLst/>
                <a:gdLst>
                  <a:gd name="T0" fmla="*/ 0 w 199"/>
                  <a:gd name="T1" fmla="*/ 180 h 198"/>
                  <a:gd name="T2" fmla="*/ 0 w 199"/>
                  <a:gd name="T3" fmla="*/ 180 h 198"/>
                  <a:gd name="T4" fmla="*/ 1 w 199"/>
                  <a:gd name="T5" fmla="*/ 179 h 198"/>
                  <a:gd name="T6" fmla="*/ 20 w 199"/>
                  <a:gd name="T7" fmla="*/ 198 h 198"/>
                  <a:gd name="T8" fmla="*/ 173 w 199"/>
                  <a:gd name="T9" fmla="*/ 45 h 198"/>
                  <a:gd name="T10" fmla="*/ 172 w 199"/>
                  <a:gd name="T11" fmla="*/ 106 h 198"/>
                  <a:gd name="T12" fmla="*/ 199 w 199"/>
                  <a:gd name="T13" fmla="*/ 106 h 198"/>
                  <a:gd name="T14" fmla="*/ 199 w 199"/>
                  <a:gd name="T15" fmla="*/ 0 h 198"/>
                  <a:gd name="T16" fmla="*/ 94 w 199"/>
                  <a:gd name="T17" fmla="*/ 0 h 198"/>
                  <a:gd name="T18" fmla="*/ 94 w 199"/>
                  <a:gd name="T19" fmla="*/ 26 h 198"/>
                  <a:gd name="T20" fmla="*/ 154 w 199"/>
                  <a:gd name="T21" fmla="*/ 26 h 198"/>
                  <a:gd name="T22" fmla="*/ 0 w 199"/>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98">
                    <a:moveTo>
                      <a:pt x="0" y="180"/>
                    </a:moveTo>
                    <a:lnTo>
                      <a:pt x="0" y="180"/>
                    </a:lnTo>
                    <a:lnTo>
                      <a:pt x="1" y="179"/>
                    </a:lnTo>
                    <a:lnTo>
                      <a:pt x="20" y="198"/>
                    </a:lnTo>
                    <a:lnTo>
                      <a:pt x="173" y="45"/>
                    </a:lnTo>
                    <a:lnTo>
                      <a:pt x="172" y="106"/>
                    </a:lnTo>
                    <a:lnTo>
                      <a:pt x="199" y="106"/>
                    </a:lnTo>
                    <a:lnTo>
                      <a:pt x="199" y="0"/>
                    </a:lnTo>
                    <a:lnTo>
                      <a:pt x="94" y="0"/>
                    </a:lnTo>
                    <a:lnTo>
                      <a:pt x="94" y="26"/>
                    </a:lnTo>
                    <a:lnTo>
                      <a:pt x="154" y="26"/>
                    </a:lnTo>
                    <a:lnTo>
                      <a:pt x="0" y="180"/>
                    </a:lnTo>
                    <a:close/>
                  </a:path>
                </a:pathLst>
              </a:custGeom>
              <a:grp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grpSp>
      </p:grpSp>
      <p:grpSp>
        <p:nvGrpSpPr>
          <p:cNvPr id="149" name="Groupe 148">
            <a:extLst>
              <a:ext uri="{FF2B5EF4-FFF2-40B4-BE49-F238E27FC236}">
                <a16:creationId xmlns:a16="http://schemas.microsoft.com/office/drawing/2014/main" id="{7F44572C-1DA9-23B1-B4D1-51F8611F2307}"/>
              </a:ext>
            </a:extLst>
          </p:cNvPr>
          <p:cNvGrpSpPr/>
          <p:nvPr/>
        </p:nvGrpSpPr>
        <p:grpSpPr>
          <a:xfrm>
            <a:off x="4071176" y="4938661"/>
            <a:ext cx="1806057" cy="1093000"/>
            <a:chOff x="4071176" y="4938661"/>
            <a:chExt cx="1806057" cy="1093000"/>
          </a:xfrm>
        </p:grpSpPr>
        <p:grpSp>
          <p:nvGrpSpPr>
            <p:cNvPr id="116" name="Groupe 115">
              <a:extLst>
                <a:ext uri="{FF2B5EF4-FFF2-40B4-BE49-F238E27FC236}">
                  <a16:creationId xmlns:a16="http://schemas.microsoft.com/office/drawing/2014/main" id="{D6BCD494-0A7A-A846-960A-821068C96FD2}"/>
                </a:ext>
              </a:extLst>
            </p:cNvPr>
            <p:cNvGrpSpPr/>
            <p:nvPr/>
          </p:nvGrpSpPr>
          <p:grpSpPr>
            <a:xfrm>
              <a:off x="4071176" y="4938661"/>
              <a:ext cx="1806057" cy="1093000"/>
              <a:chOff x="252832" y="4938661"/>
              <a:chExt cx="2133180" cy="1093000"/>
            </a:xfrm>
          </p:grpSpPr>
          <p:sp>
            <p:nvSpPr>
              <p:cNvPr id="117" name="Rectangle 116">
                <a:extLst>
                  <a:ext uri="{FF2B5EF4-FFF2-40B4-BE49-F238E27FC236}">
                    <a16:creationId xmlns:a16="http://schemas.microsoft.com/office/drawing/2014/main" id="{9C8884B8-34FE-49DD-6D2D-086945276369}"/>
                  </a:ext>
                </a:extLst>
              </p:cNvPr>
              <p:cNvSpPr/>
              <p:nvPr/>
            </p:nvSpPr>
            <p:spPr>
              <a:xfrm>
                <a:off x="252832" y="4938661"/>
                <a:ext cx="2123537" cy="1093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8" name="TextBox 26">
                <a:extLst>
                  <a:ext uri="{FF2B5EF4-FFF2-40B4-BE49-F238E27FC236}">
                    <a16:creationId xmlns:a16="http://schemas.microsoft.com/office/drawing/2014/main" id="{CA9067E4-DB3C-AC45-CFFF-7AE4FB03D0ED}"/>
                  </a:ext>
                </a:extLst>
              </p:cNvPr>
              <p:cNvSpPr txBox="1"/>
              <p:nvPr/>
            </p:nvSpPr>
            <p:spPr>
              <a:xfrm>
                <a:off x="262475" y="5369952"/>
                <a:ext cx="2123537" cy="461665"/>
              </a:xfrm>
              <a:prstGeom prst="rect">
                <a:avLst/>
              </a:prstGeom>
              <a:noFill/>
            </p:spPr>
            <p:txBody>
              <a:bodyPr wrap="square" rtlCol="0">
                <a:spAutoFit/>
              </a:bodyPr>
              <a:lstStyle/>
              <a:p>
                <a:pPr algn="ctr"/>
                <a:r>
                  <a:rPr lang="fr-FR" sz="1200"/>
                  <a:t>Connecteurs</a:t>
                </a:r>
              </a:p>
              <a:p>
                <a:pPr algn="ctr"/>
                <a:r>
                  <a:rPr lang="fr-FR" sz="1200" b="1" u="sng"/>
                  <a:t>Premium Microsoft ou non</a:t>
                </a:r>
              </a:p>
            </p:txBody>
          </p:sp>
        </p:grpSp>
        <p:grpSp>
          <p:nvGrpSpPr>
            <p:cNvPr id="138" name="Group 1">
              <a:extLst>
                <a:ext uri="{FF2B5EF4-FFF2-40B4-BE49-F238E27FC236}">
                  <a16:creationId xmlns:a16="http://schemas.microsoft.com/office/drawing/2014/main" id="{DEE309BC-1D5A-1549-912F-A7E4A8248A68}"/>
                </a:ext>
              </a:extLst>
            </p:cNvPr>
            <p:cNvGrpSpPr/>
            <p:nvPr/>
          </p:nvGrpSpPr>
          <p:grpSpPr>
            <a:xfrm>
              <a:off x="4869118" y="5065245"/>
              <a:ext cx="256537" cy="256536"/>
              <a:chOff x="1688084" y="5279113"/>
              <a:chExt cx="367665" cy="367665"/>
            </a:xfrm>
          </p:grpSpPr>
          <p:sp>
            <p:nvSpPr>
              <p:cNvPr id="139" name="Freeform 101">
                <a:extLst>
                  <a:ext uri="{FF2B5EF4-FFF2-40B4-BE49-F238E27FC236}">
                    <a16:creationId xmlns:a16="http://schemas.microsoft.com/office/drawing/2014/main" id="{79315959-2C37-09A7-9F63-7CE8DAC6F54A}"/>
                  </a:ext>
                </a:extLst>
              </p:cNvPr>
              <p:cNvSpPr>
                <a:spLocks/>
              </p:cNvSpPr>
              <p:nvPr/>
            </p:nvSpPr>
            <p:spPr bwMode="auto">
              <a:xfrm>
                <a:off x="1918588" y="5509618"/>
                <a:ext cx="137160" cy="137160"/>
              </a:xfrm>
              <a:custGeom>
                <a:avLst/>
                <a:gdLst>
                  <a:gd name="T0" fmla="*/ 0 w 105"/>
                  <a:gd name="T1" fmla="*/ 105 h 106"/>
                  <a:gd name="T2" fmla="*/ 0 w 105"/>
                  <a:gd name="T3" fmla="*/ 105 h 106"/>
                  <a:gd name="T4" fmla="*/ 105 w 105"/>
                  <a:gd name="T5" fmla="*/ 106 h 106"/>
                  <a:gd name="T6" fmla="*/ 105 w 105"/>
                  <a:gd name="T7" fmla="*/ 0 h 106"/>
                  <a:gd name="T8" fmla="*/ 78 w 105"/>
                  <a:gd name="T9" fmla="*/ 0 h 106"/>
                  <a:gd name="T10" fmla="*/ 79 w 105"/>
                  <a:gd name="T11" fmla="*/ 60 h 106"/>
                  <a:gd name="T12" fmla="*/ 20 w 105"/>
                  <a:gd name="T13" fmla="*/ 2 h 106"/>
                  <a:gd name="T14" fmla="*/ 1 w 105"/>
                  <a:gd name="T15" fmla="*/ 21 h 106"/>
                  <a:gd name="T16" fmla="*/ 60 w 105"/>
                  <a:gd name="T17" fmla="*/ 79 h 106"/>
                  <a:gd name="T18" fmla="*/ 0 w 105"/>
                  <a:gd name="T19" fmla="*/ 79 h 106"/>
                  <a:gd name="T20" fmla="*/ 0 w 105"/>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106">
                    <a:moveTo>
                      <a:pt x="0" y="105"/>
                    </a:moveTo>
                    <a:lnTo>
                      <a:pt x="0" y="105"/>
                    </a:lnTo>
                    <a:lnTo>
                      <a:pt x="105" y="106"/>
                    </a:lnTo>
                    <a:lnTo>
                      <a:pt x="105" y="0"/>
                    </a:lnTo>
                    <a:lnTo>
                      <a:pt x="78" y="0"/>
                    </a:lnTo>
                    <a:lnTo>
                      <a:pt x="79" y="60"/>
                    </a:lnTo>
                    <a:lnTo>
                      <a:pt x="20" y="2"/>
                    </a:lnTo>
                    <a:lnTo>
                      <a:pt x="1" y="21"/>
                    </a:lnTo>
                    <a:lnTo>
                      <a:pt x="60" y="79"/>
                    </a:lnTo>
                    <a:lnTo>
                      <a:pt x="0" y="79"/>
                    </a:lnTo>
                    <a:lnTo>
                      <a:pt x="0" y="105"/>
                    </a:lnTo>
                    <a:close/>
                  </a:path>
                </a:pathLst>
              </a:custGeom>
              <a:solidFill>
                <a:srgbClr val="B568B5"/>
              </a:solid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140" name="Freeform 102">
                <a:extLst>
                  <a:ext uri="{FF2B5EF4-FFF2-40B4-BE49-F238E27FC236}">
                    <a16:creationId xmlns:a16="http://schemas.microsoft.com/office/drawing/2014/main" id="{4296304C-4695-A326-991B-791C5A1F8E2D}"/>
                  </a:ext>
                </a:extLst>
              </p:cNvPr>
              <p:cNvSpPr>
                <a:spLocks/>
              </p:cNvSpPr>
              <p:nvPr/>
            </p:nvSpPr>
            <p:spPr bwMode="auto">
              <a:xfrm>
                <a:off x="1692846" y="5504856"/>
                <a:ext cx="137160" cy="137160"/>
              </a:xfrm>
              <a:custGeom>
                <a:avLst/>
                <a:gdLst>
                  <a:gd name="T0" fmla="*/ 84 w 106"/>
                  <a:gd name="T1" fmla="*/ 3 h 106"/>
                  <a:gd name="T2" fmla="*/ 84 w 106"/>
                  <a:gd name="T3" fmla="*/ 3 h 106"/>
                  <a:gd name="T4" fmla="*/ 27 w 106"/>
                  <a:gd name="T5" fmla="*/ 60 h 106"/>
                  <a:gd name="T6" fmla="*/ 27 w 106"/>
                  <a:gd name="T7" fmla="*/ 0 h 106"/>
                  <a:gd name="T8" fmla="*/ 0 w 106"/>
                  <a:gd name="T9" fmla="*/ 0 h 106"/>
                  <a:gd name="T10" fmla="*/ 0 w 106"/>
                  <a:gd name="T11" fmla="*/ 106 h 106"/>
                  <a:gd name="T12" fmla="*/ 106 w 106"/>
                  <a:gd name="T13" fmla="*/ 106 h 106"/>
                  <a:gd name="T14" fmla="*/ 106 w 106"/>
                  <a:gd name="T15" fmla="*/ 79 h 106"/>
                  <a:gd name="T16" fmla="*/ 46 w 106"/>
                  <a:gd name="T17" fmla="*/ 79 h 106"/>
                  <a:gd name="T18" fmla="*/ 101 w 106"/>
                  <a:gd name="T19" fmla="*/ 24 h 106"/>
                  <a:gd name="T20" fmla="*/ 82 w 106"/>
                  <a:gd name="T21" fmla="*/ 5 h 106"/>
                  <a:gd name="T22" fmla="*/ 84 w 106"/>
                  <a:gd name="T23" fmla="*/ 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06">
                    <a:moveTo>
                      <a:pt x="84" y="3"/>
                    </a:moveTo>
                    <a:lnTo>
                      <a:pt x="84" y="3"/>
                    </a:lnTo>
                    <a:lnTo>
                      <a:pt x="27" y="60"/>
                    </a:lnTo>
                    <a:lnTo>
                      <a:pt x="27" y="0"/>
                    </a:lnTo>
                    <a:lnTo>
                      <a:pt x="0" y="0"/>
                    </a:lnTo>
                    <a:lnTo>
                      <a:pt x="0" y="106"/>
                    </a:lnTo>
                    <a:lnTo>
                      <a:pt x="106" y="106"/>
                    </a:lnTo>
                    <a:lnTo>
                      <a:pt x="106" y="79"/>
                    </a:lnTo>
                    <a:lnTo>
                      <a:pt x="46" y="79"/>
                    </a:lnTo>
                    <a:lnTo>
                      <a:pt x="101" y="24"/>
                    </a:lnTo>
                    <a:lnTo>
                      <a:pt x="82" y="5"/>
                    </a:lnTo>
                    <a:lnTo>
                      <a:pt x="84" y="3"/>
                    </a:lnTo>
                    <a:close/>
                  </a:path>
                </a:pathLst>
              </a:custGeom>
              <a:solidFill>
                <a:srgbClr val="B568B5"/>
              </a:solid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141" name="Freeform 103">
                <a:extLst>
                  <a:ext uri="{FF2B5EF4-FFF2-40B4-BE49-F238E27FC236}">
                    <a16:creationId xmlns:a16="http://schemas.microsoft.com/office/drawing/2014/main" id="{2744BA94-B435-4A11-3DB3-F760373CD1A5}"/>
                  </a:ext>
                </a:extLst>
              </p:cNvPr>
              <p:cNvSpPr>
                <a:spLocks/>
              </p:cNvSpPr>
              <p:nvPr/>
            </p:nvSpPr>
            <p:spPr bwMode="auto">
              <a:xfrm>
                <a:off x="1688084" y="5279113"/>
                <a:ext cx="137160" cy="137160"/>
              </a:xfrm>
              <a:custGeom>
                <a:avLst/>
                <a:gdLst>
                  <a:gd name="T0" fmla="*/ 27 w 106"/>
                  <a:gd name="T1" fmla="*/ 45 h 106"/>
                  <a:gd name="T2" fmla="*/ 27 w 106"/>
                  <a:gd name="T3" fmla="*/ 45 h 106"/>
                  <a:gd name="T4" fmla="*/ 85 w 106"/>
                  <a:gd name="T5" fmla="*/ 103 h 106"/>
                  <a:gd name="T6" fmla="*/ 104 w 106"/>
                  <a:gd name="T7" fmla="*/ 85 h 106"/>
                  <a:gd name="T8" fmla="*/ 46 w 106"/>
                  <a:gd name="T9" fmla="*/ 26 h 106"/>
                  <a:gd name="T10" fmla="*/ 106 w 106"/>
                  <a:gd name="T11" fmla="*/ 27 h 106"/>
                  <a:gd name="T12" fmla="*/ 106 w 106"/>
                  <a:gd name="T13" fmla="*/ 0 h 106"/>
                  <a:gd name="T14" fmla="*/ 0 w 106"/>
                  <a:gd name="T15" fmla="*/ 0 h 106"/>
                  <a:gd name="T16" fmla="*/ 0 w 106"/>
                  <a:gd name="T17" fmla="*/ 106 h 106"/>
                  <a:gd name="T18" fmla="*/ 27 w 106"/>
                  <a:gd name="T19" fmla="*/ 106 h 106"/>
                  <a:gd name="T20" fmla="*/ 27 w 106"/>
                  <a:gd name="T21"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06">
                    <a:moveTo>
                      <a:pt x="27" y="45"/>
                    </a:moveTo>
                    <a:lnTo>
                      <a:pt x="27" y="45"/>
                    </a:lnTo>
                    <a:lnTo>
                      <a:pt x="85" y="103"/>
                    </a:lnTo>
                    <a:lnTo>
                      <a:pt x="104" y="85"/>
                    </a:lnTo>
                    <a:lnTo>
                      <a:pt x="46" y="26"/>
                    </a:lnTo>
                    <a:lnTo>
                      <a:pt x="106" y="27"/>
                    </a:lnTo>
                    <a:lnTo>
                      <a:pt x="106" y="0"/>
                    </a:lnTo>
                    <a:lnTo>
                      <a:pt x="0" y="0"/>
                    </a:lnTo>
                    <a:lnTo>
                      <a:pt x="0" y="106"/>
                    </a:lnTo>
                    <a:lnTo>
                      <a:pt x="27" y="106"/>
                    </a:lnTo>
                    <a:lnTo>
                      <a:pt x="27" y="45"/>
                    </a:lnTo>
                    <a:close/>
                  </a:path>
                </a:pathLst>
              </a:custGeom>
              <a:solidFill>
                <a:srgbClr val="B568B5"/>
              </a:solid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sp>
            <p:nvSpPr>
              <p:cNvPr id="142" name="Freeform 104">
                <a:extLst>
                  <a:ext uri="{FF2B5EF4-FFF2-40B4-BE49-F238E27FC236}">
                    <a16:creationId xmlns:a16="http://schemas.microsoft.com/office/drawing/2014/main" id="{7511807E-4006-D76D-21D6-EA9B7FAB83B6}"/>
                  </a:ext>
                </a:extLst>
              </p:cNvPr>
              <p:cNvSpPr>
                <a:spLocks/>
              </p:cNvSpPr>
              <p:nvPr/>
            </p:nvSpPr>
            <p:spPr bwMode="auto">
              <a:xfrm>
                <a:off x="1796669" y="5279113"/>
                <a:ext cx="259080" cy="257175"/>
              </a:xfrm>
              <a:custGeom>
                <a:avLst/>
                <a:gdLst>
                  <a:gd name="T0" fmla="*/ 0 w 199"/>
                  <a:gd name="T1" fmla="*/ 180 h 198"/>
                  <a:gd name="T2" fmla="*/ 0 w 199"/>
                  <a:gd name="T3" fmla="*/ 180 h 198"/>
                  <a:gd name="T4" fmla="*/ 1 w 199"/>
                  <a:gd name="T5" fmla="*/ 179 h 198"/>
                  <a:gd name="T6" fmla="*/ 20 w 199"/>
                  <a:gd name="T7" fmla="*/ 198 h 198"/>
                  <a:gd name="T8" fmla="*/ 173 w 199"/>
                  <a:gd name="T9" fmla="*/ 45 h 198"/>
                  <a:gd name="T10" fmla="*/ 172 w 199"/>
                  <a:gd name="T11" fmla="*/ 106 h 198"/>
                  <a:gd name="T12" fmla="*/ 199 w 199"/>
                  <a:gd name="T13" fmla="*/ 106 h 198"/>
                  <a:gd name="T14" fmla="*/ 199 w 199"/>
                  <a:gd name="T15" fmla="*/ 0 h 198"/>
                  <a:gd name="T16" fmla="*/ 94 w 199"/>
                  <a:gd name="T17" fmla="*/ 0 h 198"/>
                  <a:gd name="T18" fmla="*/ 94 w 199"/>
                  <a:gd name="T19" fmla="*/ 26 h 198"/>
                  <a:gd name="T20" fmla="*/ 154 w 199"/>
                  <a:gd name="T21" fmla="*/ 26 h 198"/>
                  <a:gd name="T22" fmla="*/ 0 w 199"/>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98">
                    <a:moveTo>
                      <a:pt x="0" y="180"/>
                    </a:moveTo>
                    <a:lnTo>
                      <a:pt x="0" y="180"/>
                    </a:lnTo>
                    <a:lnTo>
                      <a:pt x="1" y="179"/>
                    </a:lnTo>
                    <a:lnTo>
                      <a:pt x="20" y="198"/>
                    </a:lnTo>
                    <a:lnTo>
                      <a:pt x="173" y="45"/>
                    </a:lnTo>
                    <a:lnTo>
                      <a:pt x="172" y="106"/>
                    </a:lnTo>
                    <a:lnTo>
                      <a:pt x="199" y="106"/>
                    </a:lnTo>
                    <a:lnTo>
                      <a:pt x="199" y="0"/>
                    </a:lnTo>
                    <a:lnTo>
                      <a:pt x="94" y="0"/>
                    </a:lnTo>
                    <a:lnTo>
                      <a:pt x="94" y="26"/>
                    </a:lnTo>
                    <a:lnTo>
                      <a:pt x="154" y="26"/>
                    </a:lnTo>
                    <a:lnTo>
                      <a:pt x="0" y="180"/>
                    </a:lnTo>
                    <a:close/>
                  </a:path>
                </a:pathLst>
              </a:custGeom>
              <a:solidFill>
                <a:srgbClr val="742775"/>
              </a:solidFill>
              <a:ln w="0">
                <a:noFill/>
                <a:prstDash val="solid"/>
                <a:round/>
                <a:headEnd/>
                <a:tailEnd/>
              </a:ln>
            </p:spPr>
            <p:txBody>
              <a:bodyPr vert="horz" wrap="square" lIns="109712" tIns="54856" rIns="109712" bIns="54856"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92">
                  <a:defRPr/>
                </a:pPr>
                <a:endParaRPr lang="en-US" sz="1765" kern="0">
                  <a:solidFill>
                    <a:srgbClr val="3C3C41"/>
                  </a:solidFill>
                  <a:latin typeface="Segoe UI"/>
                </a:endParaRPr>
              </a:p>
            </p:txBody>
          </p:sp>
        </p:grpSp>
      </p:grpSp>
      <p:grpSp>
        <p:nvGrpSpPr>
          <p:cNvPr id="143" name="Groupe 142">
            <a:extLst>
              <a:ext uri="{FF2B5EF4-FFF2-40B4-BE49-F238E27FC236}">
                <a16:creationId xmlns:a16="http://schemas.microsoft.com/office/drawing/2014/main" id="{0A008D09-D710-5BB5-6F94-800C9481FD54}"/>
              </a:ext>
            </a:extLst>
          </p:cNvPr>
          <p:cNvGrpSpPr/>
          <p:nvPr/>
        </p:nvGrpSpPr>
        <p:grpSpPr>
          <a:xfrm>
            <a:off x="9791265" y="4929899"/>
            <a:ext cx="1797893" cy="1093000"/>
            <a:chOff x="262475" y="4938661"/>
            <a:chExt cx="2123537" cy="1093000"/>
          </a:xfrm>
        </p:grpSpPr>
        <p:sp>
          <p:nvSpPr>
            <p:cNvPr id="144" name="Rectangle 143">
              <a:extLst>
                <a:ext uri="{FF2B5EF4-FFF2-40B4-BE49-F238E27FC236}">
                  <a16:creationId xmlns:a16="http://schemas.microsoft.com/office/drawing/2014/main" id="{87AA16D2-BE46-29CC-D9F4-E0362AC3EFCE}"/>
                </a:ext>
              </a:extLst>
            </p:cNvPr>
            <p:cNvSpPr/>
            <p:nvPr/>
          </p:nvSpPr>
          <p:spPr>
            <a:xfrm>
              <a:off x="262475" y="4938661"/>
              <a:ext cx="2123537" cy="1093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5" name="TextBox 26">
              <a:extLst>
                <a:ext uri="{FF2B5EF4-FFF2-40B4-BE49-F238E27FC236}">
                  <a16:creationId xmlns:a16="http://schemas.microsoft.com/office/drawing/2014/main" id="{1092A8CA-9248-DB3D-59C7-371E5D115620}"/>
                </a:ext>
              </a:extLst>
            </p:cNvPr>
            <p:cNvSpPr txBox="1"/>
            <p:nvPr/>
          </p:nvSpPr>
          <p:spPr>
            <a:xfrm>
              <a:off x="262475" y="5369952"/>
              <a:ext cx="2123537" cy="646331"/>
            </a:xfrm>
            <a:prstGeom prst="rect">
              <a:avLst/>
            </a:prstGeom>
            <a:noFill/>
          </p:spPr>
          <p:txBody>
            <a:bodyPr wrap="square" rtlCol="0">
              <a:spAutoFit/>
            </a:bodyPr>
            <a:lstStyle/>
            <a:p>
              <a:pPr algn="ctr"/>
              <a:r>
                <a:rPr lang="fr-FR" sz="1200"/>
                <a:t>Source de données </a:t>
              </a:r>
              <a:r>
                <a:rPr lang="fr-FR" sz="1200" b="1" u="sng"/>
                <a:t>Premium tiers</a:t>
              </a:r>
            </a:p>
            <a:p>
              <a:pPr algn="ctr"/>
              <a:r>
                <a:rPr lang="fr-FR" sz="1200"/>
                <a:t>(SQL, on-</a:t>
              </a:r>
              <a:r>
                <a:rPr lang="fr-FR" sz="1200" err="1"/>
                <a:t>prem</a:t>
              </a:r>
              <a:r>
                <a:rPr lang="fr-FR" sz="1200"/>
                <a:t>, ..)</a:t>
              </a:r>
            </a:p>
          </p:txBody>
        </p:sp>
      </p:grpSp>
      <p:pic>
        <p:nvPicPr>
          <p:cNvPr id="152" name="Image 151" descr="Une image contenant capture d’écran&#10;&#10;Description générée automatiquement">
            <a:extLst>
              <a:ext uri="{FF2B5EF4-FFF2-40B4-BE49-F238E27FC236}">
                <a16:creationId xmlns:a16="http://schemas.microsoft.com/office/drawing/2014/main" id="{5E2772B7-3B6B-4F35-6728-F01AC38A6A20}"/>
              </a:ext>
            </a:extLst>
          </p:cNvPr>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524326" y="4964859"/>
            <a:ext cx="380953" cy="380953"/>
          </a:xfrm>
          <a:prstGeom prst="rect">
            <a:avLst/>
          </a:prstGeom>
        </p:spPr>
      </p:pic>
      <p:cxnSp>
        <p:nvCxnSpPr>
          <p:cNvPr id="3" name="Connecteur droit avec flèche 2">
            <a:extLst>
              <a:ext uri="{FF2B5EF4-FFF2-40B4-BE49-F238E27FC236}">
                <a16:creationId xmlns:a16="http://schemas.microsoft.com/office/drawing/2014/main" id="{072DBC73-B049-0F94-EFBB-E950D221720E}"/>
              </a:ext>
            </a:extLst>
          </p:cNvPr>
          <p:cNvCxnSpPr/>
          <p:nvPr/>
        </p:nvCxnSpPr>
        <p:spPr>
          <a:xfrm>
            <a:off x="298555" y="4370881"/>
            <a:ext cx="11251366" cy="2123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4" name="Google Shape;660;p44">
            <a:extLst>
              <a:ext uri="{FF2B5EF4-FFF2-40B4-BE49-F238E27FC236}">
                <a16:creationId xmlns:a16="http://schemas.microsoft.com/office/drawing/2014/main" id="{4AE1A105-2898-BA5A-3B25-87E86FB37126}"/>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Picture 2" descr="Power Platform 2021 in der Übersicht">
            <a:extLst>
              <a:ext uri="{FF2B5EF4-FFF2-40B4-BE49-F238E27FC236}">
                <a16:creationId xmlns:a16="http://schemas.microsoft.com/office/drawing/2014/main" id="{685B0B03-5794-2B51-8A20-874FA134BDD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178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384C484-F6F2-A867-D933-8E33D4C4BC87}"/>
              </a:ext>
            </a:extLst>
          </p:cNvPr>
          <p:cNvSpPr/>
          <p:nvPr/>
        </p:nvSpPr>
        <p:spPr>
          <a:xfrm>
            <a:off x="3091184" y="5196493"/>
            <a:ext cx="8507457" cy="897755"/>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55600" indent="0"/>
            <a:r>
              <a:rPr lang="fr-FR" sz="1200">
                <a:solidFill>
                  <a:schemeClr val="bg2"/>
                </a:solidFill>
              </a:rPr>
              <a:t>✅ Listes SharePoint                </a:t>
            </a:r>
          </a:p>
          <a:p>
            <a:pPr marL="355600" indent="0"/>
            <a:r>
              <a:rPr lang="fr-FR" sz="1200">
                <a:solidFill>
                  <a:schemeClr val="bg2"/>
                </a:solidFill>
              </a:rPr>
              <a:t>✅Fichiers Excel OneDrive</a:t>
            </a:r>
            <a:endParaRPr lang="fr-FR" sz="1200" kern="1200">
              <a:solidFill>
                <a:schemeClr val="bg2"/>
              </a:solidFill>
              <a:latin typeface="+mn-lt"/>
              <a:ea typeface="+mn-ea"/>
              <a:cs typeface="+mn-cs"/>
            </a:endParaRPr>
          </a:p>
        </p:txBody>
      </p:sp>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64335"/>
            <a:ext cx="10800000" cy="420833"/>
          </a:xfrm>
        </p:spPr>
        <p:txBody>
          <a:bodyPr lIns="91440" tIns="45720" rIns="91440" bIns="45720" anchor="t"/>
          <a:lstStyle/>
          <a:p>
            <a:r>
              <a:rPr lang="fr-FR"/>
              <a:t>POWER PLATFORM : OFFRE DE SERVICE V1</a:t>
            </a:r>
            <a:endParaRPr lang="en-US"/>
          </a:p>
        </p:txBody>
      </p:sp>
      <p:sp>
        <p:nvSpPr>
          <p:cNvPr id="2" name="Espace réservé de la date 4">
            <a:extLst>
              <a:ext uri="{FF2B5EF4-FFF2-40B4-BE49-F238E27FC236}">
                <a16:creationId xmlns:a16="http://schemas.microsoft.com/office/drawing/2014/main" id="{1B110C3C-3342-0570-1254-DDF1D96A37B8}"/>
              </a:ext>
            </a:extLst>
          </p:cNvPr>
          <p:cNvSpPr>
            <a:spLocks noGrp="1"/>
          </p:cNvSpPr>
          <p:nvPr>
            <p:ph type="dt" sz="half" idx="2"/>
          </p:nvPr>
        </p:nvSpPr>
        <p:spPr>
          <a:xfrm>
            <a:off x="1154537" y="6140151"/>
            <a:ext cx="828017" cy="252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FA84BB-3AB3-47E5-BE07-0E6DCEF5B947}"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20" name="Espace réservé du numéro de diapositive 5">
            <a:extLst>
              <a:ext uri="{FF2B5EF4-FFF2-40B4-BE49-F238E27FC236}">
                <a16:creationId xmlns:a16="http://schemas.microsoft.com/office/drawing/2014/main" id="{C938247E-1309-9124-223D-EB92A5F7BC4D}"/>
              </a:ext>
            </a:extLst>
          </p:cNvPr>
          <p:cNvSpPr>
            <a:spLocks noGrp="1"/>
          </p:cNvSpPr>
          <p:nvPr>
            <p:ph type="sldNum" sz="quarter" idx="4"/>
          </p:nvPr>
        </p:nvSpPr>
        <p:spPr>
          <a:xfrm>
            <a:off x="716056" y="6127757"/>
            <a:ext cx="540000" cy="252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7" name="ZoneTexte 6">
            <a:extLst>
              <a:ext uri="{FF2B5EF4-FFF2-40B4-BE49-F238E27FC236}">
                <a16:creationId xmlns:a16="http://schemas.microsoft.com/office/drawing/2014/main" id="{E85D8045-EC2E-EF9F-D129-99652C2F9285}"/>
              </a:ext>
            </a:extLst>
          </p:cNvPr>
          <p:cNvSpPr txBox="1"/>
          <p:nvPr/>
        </p:nvSpPr>
        <p:spPr>
          <a:xfrm>
            <a:off x="5164214" y="5322204"/>
            <a:ext cx="6097002" cy="646331"/>
          </a:xfrm>
          <a:prstGeom prst="rect">
            <a:avLst/>
          </a:prstGeom>
          <a:noFill/>
        </p:spPr>
        <p:txBody>
          <a:bodyPr wrap="square">
            <a:spAutoFit/>
          </a:bodyPr>
          <a:lstStyle/>
          <a:p>
            <a:pPr marL="355600" indent="0"/>
            <a:r>
              <a:rPr lang="fr-FR" sz="1200"/>
              <a:t>❌ </a:t>
            </a:r>
            <a:r>
              <a:rPr lang="fr-FR" sz="1200" err="1">
                <a:solidFill>
                  <a:schemeClr val="tx2"/>
                </a:solidFill>
              </a:rPr>
              <a:t>Dataverse</a:t>
            </a:r>
            <a:endParaRPr lang="fr-FR" sz="1200">
              <a:solidFill>
                <a:schemeClr val="tx2"/>
              </a:solidFill>
            </a:endParaRPr>
          </a:p>
          <a:p>
            <a:pPr marL="355600" indent="0"/>
            <a:r>
              <a:rPr lang="fr-FR" sz="1200">
                <a:solidFill>
                  <a:schemeClr val="tx2"/>
                </a:solidFill>
              </a:rPr>
              <a:t>❌ Données on-</a:t>
            </a:r>
            <a:r>
              <a:rPr lang="fr-FR" sz="1200" err="1">
                <a:solidFill>
                  <a:schemeClr val="tx2"/>
                </a:solidFill>
              </a:rPr>
              <a:t>premise</a:t>
            </a:r>
            <a:endParaRPr lang="fr-FR" sz="1200">
              <a:solidFill>
                <a:schemeClr val="tx2"/>
              </a:solidFill>
            </a:endParaRPr>
          </a:p>
          <a:p>
            <a:pPr marL="355600" indent="0"/>
            <a:r>
              <a:rPr lang="fr-FR" sz="1200">
                <a:solidFill>
                  <a:schemeClr val="tx2"/>
                </a:solidFill>
              </a:rPr>
              <a:t>❌ Bases diverses (SQL, …)</a:t>
            </a:r>
          </a:p>
        </p:txBody>
      </p:sp>
      <p:sp>
        <p:nvSpPr>
          <p:cNvPr id="9" name="Rectangle 8">
            <a:extLst>
              <a:ext uri="{FF2B5EF4-FFF2-40B4-BE49-F238E27FC236}">
                <a16:creationId xmlns:a16="http://schemas.microsoft.com/office/drawing/2014/main" id="{E72B2137-F417-0F5F-05A3-0CFE093DE742}"/>
              </a:ext>
            </a:extLst>
          </p:cNvPr>
          <p:cNvSpPr/>
          <p:nvPr/>
        </p:nvSpPr>
        <p:spPr>
          <a:xfrm>
            <a:off x="3097697" y="787870"/>
            <a:ext cx="8500945" cy="1562062"/>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FR" sz="1400" b="1">
                <a:solidFill>
                  <a:schemeClr val="bg2"/>
                </a:solidFill>
                <a:latin typeface="Arial Rounded MT Bold" panose="020F0704030504030204" pitchFamily="34" charset="0"/>
              </a:rPr>
              <a:t>Créer des flux ou des applications pour la productivité en termes d’usages collaboratifs ou bureautiques </a:t>
            </a:r>
          </a:p>
        </p:txBody>
      </p:sp>
      <p:sp>
        <p:nvSpPr>
          <p:cNvPr id="8" name="Rectangle 7">
            <a:extLst>
              <a:ext uri="{FF2B5EF4-FFF2-40B4-BE49-F238E27FC236}">
                <a16:creationId xmlns:a16="http://schemas.microsoft.com/office/drawing/2014/main" id="{8810305F-13AE-19C4-0BCA-3A98B35EB76F}"/>
              </a:ext>
            </a:extLst>
          </p:cNvPr>
          <p:cNvSpPr/>
          <p:nvPr/>
        </p:nvSpPr>
        <p:spPr>
          <a:xfrm>
            <a:off x="251213" y="787870"/>
            <a:ext cx="2750748" cy="156206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800" b="1">
                <a:solidFill>
                  <a:schemeClr val="bg1"/>
                </a:solidFill>
                <a:latin typeface="Arial Rounded MT Bold" panose="020F0704030504030204" pitchFamily="34" charset="0"/>
              </a:rPr>
              <a:t>Quels usages cibles ?</a:t>
            </a:r>
          </a:p>
        </p:txBody>
      </p:sp>
      <p:sp>
        <p:nvSpPr>
          <p:cNvPr id="17" name="Rectangle : coins arrondis 16">
            <a:extLst>
              <a:ext uri="{FF2B5EF4-FFF2-40B4-BE49-F238E27FC236}">
                <a16:creationId xmlns:a16="http://schemas.microsoft.com/office/drawing/2014/main" id="{EE41CE71-55C9-8D72-A115-088DA0DBD874}"/>
              </a:ext>
            </a:extLst>
          </p:cNvPr>
          <p:cNvSpPr/>
          <p:nvPr/>
        </p:nvSpPr>
        <p:spPr>
          <a:xfrm>
            <a:off x="3793873" y="1471476"/>
            <a:ext cx="7209612" cy="82220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fr-FR" sz="1100">
                <a:solidFill>
                  <a:schemeClr val="tx1"/>
                </a:solidFill>
              </a:rPr>
              <a:t>Remplacer des tableaux de bords Excel par une application</a:t>
            </a:r>
          </a:p>
          <a:p>
            <a:pPr marL="285750" indent="-285750" algn="just">
              <a:buFont typeface="Arial" panose="020B0604020202020204" pitchFamily="34" charset="0"/>
              <a:buChar char="•"/>
            </a:pPr>
            <a:r>
              <a:rPr lang="fr-FR" sz="1100">
                <a:solidFill>
                  <a:schemeClr val="tx1"/>
                </a:solidFill>
              </a:rPr>
              <a:t>Digitalisation des petits processus (validation mail, ..)</a:t>
            </a:r>
          </a:p>
          <a:p>
            <a:pPr marL="285750" indent="-285750" algn="just">
              <a:buFont typeface="Arial" panose="020B0604020202020204" pitchFamily="34" charset="0"/>
              <a:buChar char="•"/>
            </a:pPr>
            <a:r>
              <a:rPr lang="fr-FR" sz="1100">
                <a:solidFill>
                  <a:schemeClr val="tx1"/>
                </a:solidFill>
              </a:rPr>
              <a:t>Simplifications de certains processus récurrent à faible valeur ajoutée</a:t>
            </a:r>
          </a:p>
        </p:txBody>
      </p:sp>
      <p:pic>
        <p:nvPicPr>
          <p:cNvPr id="19" name="Image 18" descr="Une image contenant texte, Police, Graphique, capture d’écran&#10;&#10;Description générée automatiquement">
            <a:extLst>
              <a:ext uri="{FF2B5EF4-FFF2-40B4-BE49-F238E27FC236}">
                <a16:creationId xmlns:a16="http://schemas.microsoft.com/office/drawing/2014/main" id="{1BC91F4D-255C-7F95-1BDC-C52C631952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1846" y="1238725"/>
            <a:ext cx="464055" cy="464055"/>
          </a:xfrm>
          <a:prstGeom prst="rect">
            <a:avLst/>
          </a:prstGeom>
        </p:spPr>
      </p:pic>
      <p:sp>
        <p:nvSpPr>
          <p:cNvPr id="21" name="Rectangle 20">
            <a:extLst>
              <a:ext uri="{FF2B5EF4-FFF2-40B4-BE49-F238E27FC236}">
                <a16:creationId xmlns:a16="http://schemas.microsoft.com/office/drawing/2014/main" id="{A5D1E60D-E1A0-8C47-E6FA-5E9534FF1446}"/>
              </a:ext>
            </a:extLst>
          </p:cNvPr>
          <p:cNvSpPr/>
          <p:nvPr/>
        </p:nvSpPr>
        <p:spPr>
          <a:xfrm>
            <a:off x="251213" y="2405462"/>
            <a:ext cx="2750748" cy="82392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800" b="1">
                <a:solidFill>
                  <a:schemeClr val="bg1"/>
                </a:solidFill>
                <a:latin typeface="Arial Rounded MT Bold" panose="020F0704030504030204" pitchFamily="34" charset="0"/>
              </a:rPr>
              <a:t>Les services disponibles </a:t>
            </a:r>
          </a:p>
        </p:txBody>
      </p:sp>
      <p:sp>
        <p:nvSpPr>
          <p:cNvPr id="22" name="Rectangle 21">
            <a:extLst>
              <a:ext uri="{FF2B5EF4-FFF2-40B4-BE49-F238E27FC236}">
                <a16:creationId xmlns:a16="http://schemas.microsoft.com/office/drawing/2014/main" id="{2A7CCB27-1FBF-5A83-ACE8-CEFB25E2D9D9}"/>
              </a:ext>
            </a:extLst>
          </p:cNvPr>
          <p:cNvSpPr/>
          <p:nvPr/>
        </p:nvSpPr>
        <p:spPr>
          <a:xfrm>
            <a:off x="251213" y="3286600"/>
            <a:ext cx="2750748" cy="904267"/>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b="1">
                <a:solidFill>
                  <a:schemeClr val="bg1"/>
                </a:solidFill>
                <a:latin typeface="Arial Rounded MT Bold" panose="020F0704030504030204" pitchFamily="34" charset="0"/>
              </a:rPr>
              <a:t>Quelles licences ?</a:t>
            </a:r>
            <a:endParaRPr lang="fr-FR" sz="1800" b="1">
              <a:solidFill>
                <a:schemeClr val="bg1"/>
              </a:solidFill>
              <a:latin typeface="Arial Rounded MT Bold" panose="020F0704030504030204" pitchFamily="34" charset="0"/>
            </a:endParaRPr>
          </a:p>
        </p:txBody>
      </p:sp>
      <p:sp>
        <p:nvSpPr>
          <p:cNvPr id="23" name="Rectangle 22">
            <a:extLst>
              <a:ext uri="{FF2B5EF4-FFF2-40B4-BE49-F238E27FC236}">
                <a16:creationId xmlns:a16="http://schemas.microsoft.com/office/drawing/2014/main" id="{9910EE84-5F08-1C3A-8DFF-33FACCEE4D10}"/>
              </a:ext>
            </a:extLst>
          </p:cNvPr>
          <p:cNvSpPr/>
          <p:nvPr/>
        </p:nvSpPr>
        <p:spPr>
          <a:xfrm>
            <a:off x="251213" y="4239054"/>
            <a:ext cx="2750748" cy="89749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fr-FR" sz="1800" b="1" dirty="0">
                <a:solidFill>
                  <a:schemeClr val="bg1"/>
                </a:solidFill>
                <a:latin typeface="Arial Rounded MT Bold"/>
              </a:rPr>
              <a:t>Quel</a:t>
            </a:r>
            <a:r>
              <a:rPr lang="fr-FR" b="1" dirty="0">
                <a:solidFill>
                  <a:schemeClr val="bg1"/>
                </a:solidFill>
                <a:latin typeface="Arial Rounded MT Bold"/>
              </a:rPr>
              <a:t>s connecteurs &amp; données pour mes flux &amp; applications ?</a:t>
            </a:r>
            <a:endParaRPr lang="fr-FR" sz="1800" b="1" dirty="0">
              <a:solidFill>
                <a:schemeClr val="bg1"/>
              </a:solidFill>
              <a:latin typeface="Arial Rounded MT Bold"/>
            </a:endParaRPr>
          </a:p>
        </p:txBody>
      </p:sp>
      <p:sp>
        <p:nvSpPr>
          <p:cNvPr id="3" name="Rectangle 2">
            <a:extLst>
              <a:ext uri="{FF2B5EF4-FFF2-40B4-BE49-F238E27FC236}">
                <a16:creationId xmlns:a16="http://schemas.microsoft.com/office/drawing/2014/main" id="{746259B4-A366-9450-F382-8DF08FDD80FB}"/>
              </a:ext>
            </a:extLst>
          </p:cNvPr>
          <p:cNvSpPr/>
          <p:nvPr/>
        </p:nvSpPr>
        <p:spPr>
          <a:xfrm>
            <a:off x="3097697" y="2405462"/>
            <a:ext cx="8500945" cy="826114"/>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endParaRPr lang="fr-FR" sz="1400" b="1">
              <a:solidFill>
                <a:schemeClr val="bg2"/>
              </a:solidFill>
              <a:latin typeface="Arial Rounded MT Bold" panose="020F0704030504030204" pitchFamily="34" charset="0"/>
            </a:endParaRPr>
          </a:p>
        </p:txBody>
      </p:sp>
      <p:pic>
        <p:nvPicPr>
          <p:cNvPr id="10" name="Picture 2" descr="Une image contenant rose, Magenta, Lilas, Caractère coloré&#10;&#10;Description générée automatiquement">
            <a:extLst>
              <a:ext uri="{FF2B5EF4-FFF2-40B4-BE49-F238E27FC236}">
                <a16:creationId xmlns:a16="http://schemas.microsoft.com/office/drawing/2014/main" id="{3D0BFD20-5201-038E-EE0F-EB32417685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1120" y="2572029"/>
            <a:ext cx="464929" cy="468114"/>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15">
            <a:extLst>
              <a:ext uri="{FF2B5EF4-FFF2-40B4-BE49-F238E27FC236}">
                <a16:creationId xmlns:a16="http://schemas.microsoft.com/office/drawing/2014/main" id="{3C6D67E2-0A0E-4507-D29C-37D2F739CB30}"/>
              </a:ext>
            </a:extLst>
          </p:cNvPr>
          <p:cNvSpPr txBox="1"/>
          <p:nvPr/>
        </p:nvSpPr>
        <p:spPr>
          <a:xfrm>
            <a:off x="3362579" y="2611562"/>
            <a:ext cx="2002982" cy="369332"/>
          </a:xfrm>
          <a:prstGeom prst="rect">
            <a:avLst/>
          </a:prstGeom>
          <a:noFill/>
        </p:spPr>
        <p:txBody>
          <a:bodyPr wrap="square" rtlCol="0">
            <a:noAutofit/>
          </a:bodyPr>
          <a:lstStyle/>
          <a:p>
            <a:pPr algn="r"/>
            <a:r>
              <a:rPr lang="fr-FR" sz="1600" b="1">
                <a:solidFill>
                  <a:srgbClr val="942D8A"/>
                </a:solidFill>
                <a:latin typeface="Arial Rounded MT Bold" panose="020F0704030504030204" pitchFamily="34" charset="0"/>
              </a:rPr>
              <a:t>Power Apps</a:t>
            </a:r>
          </a:p>
        </p:txBody>
      </p:sp>
      <p:sp>
        <p:nvSpPr>
          <p:cNvPr id="24" name="ZoneTexte 23">
            <a:extLst>
              <a:ext uri="{FF2B5EF4-FFF2-40B4-BE49-F238E27FC236}">
                <a16:creationId xmlns:a16="http://schemas.microsoft.com/office/drawing/2014/main" id="{4B2FEE7A-ACCF-5771-AB61-A33E0707D890}"/>
              </a:ext>
            </a:extLst>
          </p:cNvPr>
          <p:cNvSpPr txBox="1"/>
          <p:nvPr/>
        </p:nvSpPr>
        <p:spPr>
          <a:xfrm>
            <a:off x="6141326" y="2598017"/>
            <a:ext cx="2064659" cy="369332"/>
          </a:xfrm>
          <a:prstGeom prst="rect">
            <a:avLst/>
          </a:prstGeom>
          <a:noFill/>
        </p:spPr>
        <p:txBody>
          <a:bodyPr wrap="square" rtlCol="0" anchor="ctr">
            <a:noAutofit/>
          </a:bodyPr>
          <a:lstStyle/>
          <a:p>
            <a:pPr algn="r"/>
            <a:r>
              <a:rPr lang="fr-FR" sz="1600" b="1">
                <a:solidFill>
                  <a:srgbClr val="104ECD"/>
                </a:solidFill>
                <a:latin typeface="Arial Rounded MT Bold" panose="020F0704030504030204" pitchFamily="34" charset="0"/>
              </a:rPr>
              <a:t>Power </a:t>
            </a:r>
          </a:p>
          <a:p>
            <a:pPr algn="r"/>
            <a:r>
              <a:rPr lang="fr-FR" sz="1600" b="1">
                <a:solidFill>
                  <a:srgbClr val="104ECD"/>
                </a:solidFill>
                <a:latin typeface="Arial Rounded MT Bold" panose="020F0704030504030204" pitchFamily="34" charset="0"/>
              </a:rPr>
              <a:t>Automate</a:t>
            </a:r>
          </a:p>
        </p:txBody>
      </p:sp>
      <p:pic>
        <p:nvPicPr>
          <p:cNvPr id="26" name="Picture 3" descr="Une image contenant Bleu électrique, capture d’écran, bleu, Caractère coloré&#10;&#10;Description générée automatiquement">
            <a:extLst>
              <a:ext uri="{FF2B5EF4-FFF2-40B4-BE49-F238E27FC236}">
                <a16:creationId xmlns:a16="http://schemas.microsoft.com/office/drawing/2014/main" id="{59E5B6AB-EDEF-5C59-4EAB-4EF04BC9E0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2677" y="2570035"/>
            <a:ext cx="554583" cy="554583"/>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D509D931-8D05-5404-B8C2-60F2937A3CB8}"/>
              </a:ext>
            </a:extLst>
          </p:cNvPr>
          <p:cNvSpPr txBox="1"/>
          <p:nvPr/>
        </p:nvSpPr>
        <p:spPr>
          <a:xfrm>
            <a:off x="9196557" y="2611562"/>
            <a:ext cx="2305297" cy="369332"/>
          </a:xfrm>
          <a:prstGeom prst="rect">
            <a:avLst/>
          </a:prstGeom>
          <a:noFill/>
        </p:spPr>
        <p:txBody>
          <a:bodyPr wrap="square" rtlCol="0" anchor="ctr">
            <a:noAutofit/>
          </a:bodyPr>
          <a:lstStyle/>
          <a:p>
            <a:pPr algn="r"/>
            <a:r>
              <a:rPr lang="fr-FR" sz="1600" b="1" dirty="0">
                <a:solidFill>
                  <a:srgbClr val="0F6E87"/>
                </a:solidFill>
                <a:latin typeface="Arial Rounded MT Bold" panose="020F0704030504030204" pitchFamily="34" charset="0"/>
              </a:rPr>
              <a:t>Power  </a:t>
            </a:r>
          </a:p>
          <a:p>
            <a:pPr algn="r"/>
            <a:r>
              <a:rPr lang="fr-FR" sz="1600" b="1" dirty="0">
                <a:solidFill>
                  <a:srgbClr val="0F6E87"/>
                </a:solidFill>
                <a:latin typeface="Arial Rounded MT Bold" panose="020F0704030504030204" pitchFamily="34" charset="0"/>
              </a:rPr>
              <a:t>Virtual Agents for Teams</a:t>
            </a:r>
          </a:p>
        </p:txBody>
      </p:sp>
      <p:pic>
        <p:nvPicPr>
          <p:cNvPr id="30" name="Picture 4" descr="Une image contenant symbole, capture d’écran&#10;&#10;Description générée automatiquement">
            <a:extLst>
              <a:ext uri="{FF2B5EF4-FFF2-40B4-BE49-F238E27FC236}">
                <a16:creationId xmlns:a16="http://schemas.microsoft.com/office/drawing/2014/main" id="{173295C6-ED40-3BF2-4CBC-1D9AC6A316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8733" y="2611562"/>
            <a:ext cx="461668" cy="458527"/>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D892C1BF-385A-D2C5-FF7D-758B4797F93B}"/>
              </a:ext>
            </a:extLst>
          </p:cNvPr>
          <p:cNvSpPr/>
          <p:nvPr/>
        </p:nvSpPr>
        <p:spPr>
          <a:xfrm>
            <a:off x="3097698" y="3291693"/>
            <a:ext cx="8507457" cy="897755"/>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fr-FR" sz="1200">
                <a:solidFill>
                  <a:srgbClr val="707173"/>
                </a:solidFill>
                <a:latin typeface="Arial"/>
              </a:rPr>
              <a:t>         Licence Microsoft 365 E3 ou E5 (Offre intégrée)</a:t>
            </a:r>
            <a:r>
              <a:rPr lang="fr-FR" sz="1200">
                <a:solidFill>
                  <a:srgbClr val="707173"/>
                </a:solidFill>
                <a:latin typeface="Arial"/>
                <a:ea typeface="Arial"/>
                <a:cs typeface="Arial"/>
              </a:rPr>
              <a:t>​</a:t>
            </a:r>
            <a:endParaRPr lang="fr-FR" sz="1400" b="1">
              <a:solidFill>
                <a:schemeClr val="bg2"/>
              </a:solidFill>
              <a:latin typeface="Arial Rounded MT Bold" panose="020F0704030504030204" pitchFamily="34" charset="0"/>
            </a:endParaRPr>
          </a:p>
        </p:txBody>
      </p:sp>
      <p:sp>
        <p:nvSpPr>
          <p:cNvPr id="6" name="Rectangle 5">
            <a:extLst>
              <a:ext uri="{FF2B5EF4-FFF2-40B4-BE49-F238E27FC236}">
                <a16:creationId xmlns:a16="http://schemas.microsoft.com/office/drawing/2014/main" id="{A8F120D0-5FD2-6480-1D3E-C657BDFF0B4D}"/>
              </a:ext>
            </a:extLst>
          </p:cNvPr>
          <p:cNvSpPr/>
          <p:nvPr/>
        </p:nvSpPr>
        <p:spPr>
          <a:xfrm>
            <a:off x="3091185" y="4232948"/>
            <a:ext cx="8507457" cy="897755"/>
          </a:xfrm>
          <a:prstGeom prst="rect">
            <a:avLst/>
          </a:prstGeom>
          <a:solidFill>
            <a:srgbClr val="EC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55600" indent="0"/>
            <a:r>
              <a:rPr lang="fr-FR" sz="1200">
                <a:solidFill>
                  <a:schemeClr val="bg2"/>
                </a:solidFill>
              </a:rPr>
              <a:t>✅Connecteurs Microsoft (Exchange, Teams, ..)</a:t>
            </a:r>
          </a:p>
          <a:p>
            <a:pPr marL="355600" indent="0"/>
            <a:r>
              <a:rPr lang="fr-FR" sz="1200">
                <a:solidFill>
                  <a:schemeClr val="tx2"/>
                </a:solidFill>
              </a:rPr>
              <a:t>❌ Connecteurs standards tiers (autorisé en exception)</a:t>
            </a:r>
          </a:p>
          <a:p>
            <a:pPr marL="355600" indent="0"/>
            <a:r>
              <a:rPr lang="fr-FR" sz="1200"/>
              <a:t>❌ </a:t>
            </a:r>
            <a:r>
              <a:rPr lang="fr-FR" sz="1200">
                <a:solidFill>
                  <a:schemeClr val="tx2"/>
                </a:solidFill>
              </a:rPr>
              <a:t>Connecteurs premium</a:t>
            </a:r>
          </a:p>
        </p:txBody>
      </p:sp>
      <p:sp>
        <p:nvSpPr>
          <p:cNvPr id="11" name="Rectangle 10">
            <a:extLst>
              <a:ext uri="{FF2B5EF4-FFF2-40B4-BE49-F238E27FC236}">
                <a16:creationId xmlns:a16="http://schemas.microsoft.com/office/drawing/2014/main" id="{F467935C-4955-0FB2-76D8-6D9E7A3A29EB}"/>
              </a:ext>
            </a:extLst>
          </p:cNvPr>
          <p:cNvSpPr/>
          <p:nvPr/>
        </p:nvSpPr>
        <p:spPr>
          <a:xfrm>
            <a:off x="251213" y="5184740"/>
            <a:ext cx="2750748" cy="89749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800" b="1">
                <a:solidFill>
                  <a:schemeClr val="bg1"/>
                </a:solidFill>
                <a:latin typeface="Arial Rounded MT Bold" panose="020F0704030504030204" pitchFamily="34" charset="0"/>
              </a:rPr>
              <a:t>Quel</a:t>
            </a:r>
            <a:r>
              <a:rPr lang="fr-FR" b="1">
                <a:solidFill>
                  <a:schemeClr val="bg1"/>
                </a:solidFill>
                <a:latin typeface="Arial Rounded MT Bold" panose="020F0704030504030204" pitchFamily="34" charset="0"/>
              </a:rPr>
              <a:t>s types de données ?</a:t>
            </a:r>
            <a:endParaRPr lang="fr-FR" sz="1800" b="1">
              <a:solidFill>
                <a:schemeClr val="bg1"/>
              </a:solidFill>
              <a:latin typeface="Arial Rounded MT Bold" panose="020F0704030504030204" pitchFamily="34" charset="0"/>
            </a:endParaRPr>
          </a:p>
        </p:txBody>
      </p:sp>
      <p:sp>
        <p:nvSpPr>
          <p:cNvPr id="12" name="Google Shape;660;p44">
            <a:extLst>
              <a:ext uri="{FF2B5EF4-FFF2-40B4-BE49-F238E27FC236}">
                <a16:creationId xmlns:a16="http://schemas.microsoft.com/office/drawing/2014/main" id="{7CC14D52-D7A9-5A74-1F1D-47DF736429F7}"/>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Picture 2" descr="Power Platform 2021 in der Übersicht">
            <a:extLst>
              <a:ext uri="{FF2B5EF4-FFF2-40B4-BE49-F238E27FC236}">
                <a16:creationId xmlns:a16="http://schemas.microsoft.com/office/drawing/2014/main" id="{14A79437-6EEF-A707-987A-48053E2AB4C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84023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re 9">
            <a:extLst>
              <a:ext uri="{FF2B5EF4-FFF2-40B4-BE49-F238E27FC236}">
                <a16:creationId xmlns:a16="http://schemas.microsoft.com/office/drawing/2014/main" id="{9007893F-DE3F-4277-8B72-135CF4773651}"/>
              </a:ext>
            </a:extLst>
          </p:cNvPr>
          <p:cNvSpPr>
            <a:spLocks noGrp="1"/>
          </p:cNvSpPr>
          <p:nvPr>
            <p:ph type="title"/>
          </p:nvPr>
        </p:nvSpPr>
        <p:spPr>
          <a:xfrm>
            <a:off x="0" y="164335"/>
            <a:ext cx="10800000" cy="420833"/>
          </a:xfrm>
        </p:spPr>
        <p:txBody>
          <a:bodyPr lIns="91440" tIns="45720" rIns="91440" bIns="45720" anchor="t"/>
          <a:lstStyle/>
          <a:p>
            <a:r>
              <a:rPr lang="fr-FR"/>
              <a:t>Déployer l’offre v1 dans votre entité : Deux approches possibles</a:t>
            </a:r>
            <a:endParaRPr lang="en-US"/>
          </a:p>
        </p:txBody>
      </p:sp>
      <p:sp>
        <p:nvSpPr>
          <p:cNvPr id="3" name="Rectangle : coins arrondis 2">
            <a:extLst>
              <a:ext uri="{FF2B5EF4-FFF2-40B4-BE49-F238E27FC236}">
                <a16:creationId xmlns:a16="http://schemas.microsoft.com/office/drawing/2014/main" id="{6A4B4431-0B0F-60AC-8B65-DFC12BC14633}"/>
              </a:ext>
            </a:extLst>
          </p:cNvPr>
          <p:cNvSpPr/>
          <p:nvPr/>
        </p:nvSpPr>
        <p:spPr>
          <a:xfrm>
            <a:off x="6446352" y="1321607"/>
            <a:ext cx="4947130" cy="1875725"/>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chemeClr val="tx1"/>
                </a:solidFill>
              </a:rPr>
              <a:t>Tout ou partie des utilisateurs de l’entité pourront concevoir des petites applications ou flux</a:t>
            </a:r>
          </a:p>
          <a:p>
            <a:pPr algn="ctr"/>
            <a:endParaRPr lang="fr-FR" sz="1100">
              <a:solidFill>
                <a:schemeClr val="tx1"/>
              </a:solidFill>
            </a:endParaRPr>
          </a:p>
          <a:p>
            <a:pPr marL="171450" indent="-171450" algn="l" fontAlgn="base">
              <a:buFont typeface="Arial" panose="020B0604020202020204" pitchFamily="34" charset="0"/>
              <a:buChar char="•"/>
            </a:pPr>
            <a:r>
              <a:rPr lang="fr-FR" sz="1100" b="1">
                <a:solidFill>
                  <a:schemeClr val="bg2"/>
                </a:solidFill>
              </a:rPr>
              <a:t>Les équipes métiers </a:t>
            </a:r>
            <a:r>
              <a:rPr lang="fr-FR" sz="1100">
                <a:solidFill>
                  <a:srgbClr val="707173"/>
                </a:solidFill>
              </a:rPr>
              <a:t>créent </a:t>
            </a:r>
            <a:r>
              <a:rPr lang="fr-FR" sz="1100" b="0" i="0">
                <a:solidFill>
                  <a:srgbClr val="707173"/>
                </a:solidFill>
                <a:effectLst/>
                <a:latin typeface="Segoe UI" panose="020B0502040204020203" pitchFamily="34" charset="0"/>
              </a:rPr>
              <a:t>leurs propres applications No/Low Code​</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1">
                <a:solidFill>
                  <a:schemeClr val="bg2"/>
                </a:solidFill>
              </a:rPr>
              <a:t>Les équipes informatiques </a:t>
            </a:r>
            <a:r>
              <a:rPr lang="fr-FR" sz="1100">
                <a:solidFill>
                  <a:srgbClr val="707173"/>
                </a:solidFill>
              </a:rPr>
              <a:t>fournissent </a:t>
            </a:r>
            <a:r>
              <a:rPr lang="fr-FR" sz="1100" b="0" i="0">
                <a:solidFill>
                  <a:srgbClr val="707173"/>
                </a:solidFill>
                <a:effectLst/>
                <a:latin typeface="Segoe UI" panose="020B0502040204020203" pitchFamily="34" charset="0"/>
              </a:rPr>
              <a:t>des accélérateurs pour monter en compétence, du coaching, de la formation ainsi qu’un cadre d’usage​</a:t>
            </a:r>
            <a:endParaRPr lang="fr-FR" sz="880" b="0" i="0">
              <a:solidFill>
                <a:srgbClr val="707173"/>
              </a:solidFill>
              <a:effectLst/>
              <a:latin typeface="Segoe UI" panose="020B0502040204020203" pitchFamily="34" charset="0"/>
            </a:endParaRPr>
          </a:p>
          <a:p>
            <a:pPr algn="ctr"/>
            <a:endParaRPr lang="fr-FR" sz="1100">
              <a:solidFill>
                <a:schemeClr val="tx1"/>
              </a:solidFill>
            </a:endParaRPr>
          </a:p>
        </p:txBody>
      </p:sp>
      <p:sp>
        <p:nvSpPr>
          <p:cNvPr id="2" name="Rectangle : coins arrondis 1">
            <a:extLst>
              <a:ext uri="{FF2B5EF4-FFF2-40B4-BE49-F238E27FC236}">
                <a16:creationId xmlns:a16="http://schemas.microsoft.com/office/drawing/2014/main" id="{B65939C1-95BF-7E85-6FAC-E8EC95FC2195}"/>
              </a:ext>
            </a:extLst>
          </p:cNvPr>
          <p:cNvSpPr/>
          <p:nvPr/>
        </p:nvSpPr>
        <p:spPr>
          <a:xfrm>
            <a:off x="1983971" y="1321607"/>
            <a:ext cx="4450721" cy="1875725"/>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chemeClr val="tx1"/>
                </a:solidFill>
              </a:rPr>
              <a:t>L’entité structure un Centre d’excellence de conception Power Platform</a:t>
            </a:r>
          </a:p>
          <a:p>
            <a:pPr algn="ctr"/>
            <a:endParaRPr lang="fr-FR" sz="1100" b="1">
              <a:solidFill>
                <a:schemeClr val="tx1"/>
              </a:solidFill>
            </a:endParaRPr>
          </a:p>
          <a:p>
            <a:pPr marL="171450" indent="-171450" algn="l" fontAlgn="base">
              <a:buFont typeface="Arial" panose="020B0604020202020204" pitchFamily="34" charset="0"/>
              <a:buChar char="•"/>
            </a:pPr>
            <a:r>
              <a:rPr lang="fr-FR" sz="1100" b="1">
                <a:solidFill>
                  <a:schemeClr val="bg2"/>
                </a:solidFill>
              </a:rPr>
              <a:t>Les </a:t>
            </a:r>
            <a:r>
              <a:rPr lang="fr-FR" sz="1100" b="1" i="0">
                <a:solidFill>
                  <a:schemeClr val="bg2"/>
                </a:solidFill>
                <a:effectLst/>
              </a:rPr>
              <a:t>équipes métiers </a:t>
            </a:r>
            <a:r>
              <a:rPr lang="fr-FR" sz="1100" b="0" i="0">
                <a:solidFill>
                  <a:srgbClr val="707173"/>
                </a:solidFill>
                <a:effectLst/>
              </a:rPr>
              <a:t>identifient leurs besoins et participent à leur qualification​</a:t>
            </a:r>
            <a:endParaRPr lang="fr-FR" sz="880">
              <a:solidFill>
                <a:srgbClr val="707173"/>
              </a:solidFill>
            </a:endParaRPr>
          </a:p>
          <a:p>
            <a:pPr marL="171450" indent="-171450" algn="l" fontAlgn="base">
              <a:buFont typeface="Arial" panose="020B0604020202020204" pitchFamily="34" charset="0"/>
              <a:buChar char="•"/>
            </a:pPr>
            <a:r>
              <a:rPr lang="fr-FR" sz="1100" b="1">
                <a:solidFill>
                  <a:schemeClr val="bg2"/>
                </a:solidFill>
              </a:rPr>
              <a:t>Les </a:t>
            </a:r>
            <a:r>
              <a:rPr lang="fr-FR" sz="1100" b="1" i="0">
                <a:solidFill>
                  <a:schemeClr val="bg2"/>
                </a:solidFill>
                <a:effectLst/>
              </a:rPr>
              <a:t>équipes informatiques </a:t>
            </a:r>
            <a:r>
              <a:rPr lang="fr-FR" sz="1100" b="0" i="0">
                <a:solidFill>
                  <a:srgbClr val="707173"/>
                </a:solidFill>
                <a:effectLst/>
              </a:rPr>
              <a:t>conçoivent et développent les cas d’usages au sein d’un cadre qu’elles s’imposent​</a:t>
            </a:r>
            <a:endParaRPr lang="fr-FR" sz="1100" b="1">
              <a:solidFill>
                <a:schemeClr val="tx1"/>
              </a:solidFill>
            </a:endParaRPr>
          </a:p>
          <a:p>
            <a:pPr algn="ctr"/>
            <a:endParaRPr lang="fr-FR" sz="1100" b="1">
              <a:solidFill>
                <a:schemeClr val="tx1"/>
              </a:solidFill>
            </a:endParaRPr>
          </a:p>
        </p:txBody>
      </p:sp>
      <p:sp>
        <p:nvSpPr>
          <p:cNvPr id="7" name="Rectangle : coins arrondis 6">
            <a:extLst>
              <a:ext uri="{FF2B5EF4-FFF2-40B4-BE49-F238E27FC236}">
                <a16:creationId xmlns:a16="http://schemas.microsoft.com/office/drawing/2014/main" id="{5A09925F-824F-265D-785F-22BB6EF15B3C}"/>
              </a:ext>
            </a:extLst>
          </p:cNvPr>
          <p:cNvSpPr/>
          <p:nvPr/>
        </p:nvSpPr>
        <p:spPr>
          <a:xfrm>
            <a:off x="2846860" y="1193680"/>
            <a:ext cx="2750400" cy="208723"/>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latin typeface="Arial Rounded MT Bold" panose="020F0704030504030204" pitchFamily="34" charset="0"/>
              </a:rPr>
              <a:t>APPROCHE IT FACTORY</a:t>
            </a:r>
          </a:p>
        </p:txBody>
      </p:sp>
      <p:sp>
        <p:nvSpPr>
          <p:cNvPr id="14" name="Rectangle 1">
            <a:extLst>
              <a:ext uri="{FF2B5EF4-FFF2-40B4-BE49-F238E27FC236}">
                <a16:creationId xmlns:a16="http://schemas.microsoft.com/office/drawing/2014/main" id="{9436DF50-7A53-B5F4-1E18-64401ABFF6DB}"/>
              </a:ext>
            </a:extLst>
          </p:cNvPr>
          <p:cNvSpPr>
            <a:spLocks noChangeArrowheads="1"/>
          </p:cNvSpPr>
          <p:nvPr/>
        </p:nvSpPr>
        <p:spPr bwMode="auto">
          <a:xfrm>
            <a:off x="1180988" y="1824583"/>
            <a:ext cx="1128803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fr-FR" altLang="fr-FR"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pic>
        <p:nvPicPr>
          <p:cNvPr id="1027" name="Picture 3">
            <a:extLst>
              <a:ext uri="{FF2B5EF4-FFF2-40B4-BE49-F238E27FC236}">
                <a16:creationId xmlns:a16="http://schemas.microsoft.com/office/drawing/2014/main" id="{ABB97CD2-864A-8FBC-1577-B17C0A7950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774" y="1668302"/>
            <a:ext cx="878904" cy="9588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au 7">
            <a:extLst>
              <a:ext uri="{FF2B5EF4-FFF2-40B4-BE49-F238E27FC236}">
                <a16:creationId xmlns:a16="http://schemas.microsoft.com/office/drawing/2014/main" id="{A9FCA178-D444-0629-7A57-2C1E72C1EA7E}"/>
              </a:ext>
            </a:extLst>
          </p:cNvPr>
          <p:cNvGraphicFramePr>
            <a:graphicFrameLocks noGrp="1"/>
          </p:cNvGraphicFramePr>
          <p:nvPr>
            <p:extLst>
              <p:ext uri="{D42A27DB-BD31-4B8C-83A1-F6EECF244321}">
                <p14:modId xmlns:p14="http://schemas.microsoft.com/office/powerpoint/2010/main" val="303170590"/>
              </p:ext>
            </p:extLst>
          </p:nvPr>
        </p:nvGraphicFramePr>
        <p:xfrm>
          <a:off x="271613" y="3933206"/>
          <a:ext cx="11121869" cy="2131656"/>
        </p:xfrm>
        <a:graphic>
          <a:graphicData uri="http://schemas.openxmlformats.org/drawingml/2006/table">
            <a:tbl>
              <a:tblPr/>
              <a:tblGrid>
                <a:gridCol w="1712974">
                  <a:extLst>
                    <a:ext uri="{9D8B030D-6E8A-4147-A177-3AD203B41FA5}">
                      <a16:colId xmlns:a16="http://schemas.microsoft.com/office/drawing/2014/main" val="2358899076"/>
                    </a:ext>
                  </a:extLst>
                </a:gridCol>
                <a:gridCol w="4463626">
                  <a:extLst>
                    <a:ext uri="{9D8B030D-6E8A-4147-A177-3AD203B41FA5}">
                      <a16:colId xmlns:a16="http://schemas.microsoft.com/office/drawing/2014/main" val="1166889905"/>
                    </a:ext>
                  </a:extLst>
                </a:gridCol>
                <a:gridCol w="4945269">
                  <a:extLst>
                    <a:ext uri="{9D8B030D-6E8A-4147-A177-3AD203B41FA5}">
                      <a16:colId xmlns:a16="http://schemas.microsoft.com/office/drawing/2014/main" val="721312341"/>
                    </a:ext>
                  </a:extLst>
                </a:gridCol>
              </a:tblGrid>
              <a:tr h="1065828">
                <a:tc>
                  <a:txBody>
                    <a:bodyPr/>
                    <a:lstStyle/>
                    <a:p>
                      <a:pPr algn="l" fontAlgn="auto"/>
                      <a:r>
                        <a:rPr lang="fr-FR" sz="1600" b="1" i="0">
                          <a:solidFill>
                            <a:srgbClr val="FFFFFF"/>
                          </a:solidFill>
                          <a:effectLst/>
                          <a:latin typeface="Segoe UI" panose="020B0502040204020203" pitchFamily="34" charset="0"/>
                        </a:rPr>
                        <a:t>​</a:t>
                      </a:r>
                    </a:p>
                  </a:txBody>
                  <a:tcPr anchor="ctr">
                    <a:lnL w="825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255" cap="flat" cmpd="sng" algn="ctr">
                      <a:solidFill>
                        <a:srgbClr val="009597"/>
                      </a:solidFill>
                      <a:prstDash val="solid"/>
                      <a:round/>
                      <a:headEnd type="none" w="med" len="med"/>
                      <a:tailEnd type="none" w="med" len="med"/>
                    </a:lnT>
                    <a:lnB w="8255" cap="flat" cmpd="sng" algn="ctr">
                      <a:solidFill>
                        <a:srgbClr val="009597"/>
                      </a:solidFill>
                      <a:prstDash val="solid"/>
                      <a:round/>
                      <a:headEnd type="none" w="med" len="med"/>
                      <a:tailEnd type="none" w="med" len="med"/>
                    </a:lnB>
                  </a:tcPr>
                </a:tc>
                <a:tc>
                  <a:txBody>
                    <a:bodyPr/>
                    <a:lstStyle/>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Homogénéité des applications garanties ​</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Time to market en réponse aux besoins métiers rapide​</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Satisfaction des métiers augmentée​</a:t>
                      </a:r>
                      <a:endParaRPr lang="fr-FR" sz="880" b="0" i="0">
                        <a:solidFill>
                          <a:srgbClr val="707173"/>
                        </a:solidFill>
                        <a:effectLst/>
                        <a:latin typeface="Segoe UI" panose="020B0502040204020203"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255" cap="flat" cmpd="sng" algn="ctr">
                      <a:solidFill>
                        <a:srgbClr val="009597"/>
                      </a:solidFill>
                      <a:prstDash val="solid"/>
                      <a:round/>
                      <a:headEnd type="none" w="med" len="med"/>
                      <a:tailEnd type="none" w="med" len="med"/>
                    </a:lnT>
                    <a:lnB w="8255" cap="flat" cmpd="sng" algn="ctr">
                      <a:solidFill>
                        <a:srgbClr val="009597"/>
                      </a:solidFill>
                      <a:prstDash val="solid"/>
                      <a:round/>
                      <a:headEnd type="none" w="med" len="med"/>
                      <a:tailEnd type="none" w="med" len="med"/>
                    </a:lnB>
                    <a:solidFill>
                      <a:srgbClr val="E8F6CF"/>
                    </a:solidFill>
                  </a:tcPr>
                </a:tc>
                <a:tc>
                  <a:txBody>
                    <a:bodyPr/>
                    <a:lstStyle/>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Autonomisation des métiers sur la digitalisation et la résolution   de problèmes simples​</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Favorisation de l’innovation pour et par les collaborateurs​</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Démultiplication des capacités à faire​</a:t>
                      </a:r>
                      <a:endParaRPr lang="fr-FR" sz="880" b="0" i="0">
                        <a:solidFill>
                          <a:srgbClr val="707173"/>
                        </a:solidFill>
                        <a:effectLst/>
                        <a:latin typeface="Segoe UI" panose="020B0502040204020203" pitchFamily="34" charset="0"/>
                      </a:endParaRPr>
                    </a:p>
                    <a:p>
                      <a:pPr algn="ctr" fontAlgn="base"/>
                      <a:r>
                        <a:rPr lang="fr-FR" sz="1100" b="0" i="0">
                          <a:solidFill>
                            <a:srgbClr val="707173"/>
                          </a:solidFill>
                          <a:effectLst/>
                          <a:latin typeface="Segoe UI" panose="020B0502040204020203" pitchFamily="34" charset="0"/>
                        </a:rPr>
                        <a:t>​</a:t>
                      </a:r>
                      <a:endParaRPr lang="fr-FR" b="0" i="0">
                        <a:solidFill>
                          <a:srgbClr val="707173"/>
                        </a:solidFill>
                        <a:effectLst/>
                        <a:latin typeface="Segoe UI" panose="020B0502040204020203" pitchFamily="34" charset="0"/>
                      </a:endParaRPr>
                    </a:p>
                  </a:txBody>
                  <a:tcPr anchor="ctr">
                    <a:lnL w="12700" cap="flat" cmpd="sng" algn="ctr">
                      <a:solidFill>
                        <a:srgbClr val="FFFFFF"/>
                      </a:solidFill>
                      <a:prstDash val="solid"/>
                      <a:round/>
                      <a:headEnd type="none" w="med" len="med"/>
                      <a:tailEnd type="none" w="med" len="med"/>
                    </a:lnL>
                    <a:lnR w="8255" cap="flat" cmpd="sng" algn="ctr">
                      <a:solidFill>
                        <a:srgbClr val="FFFFFF"/>
                      </a:solidFill>
                      <a:prstDash val="solid"/>
                      <a:round/>
                      <a:headEnd type="none" w="med" len="med"/>
                      <a:tailEnd type="none" w="med" len="med"/>
                    </a:lnR>
                    <a:lnT w="8255" cap="flat" cmpd="sng" algn="ctr">
                      <a:solidFill>
                        <a:srgbClr val="009597"/>
                      </a:solidFill>
                      <a:prstDash val="solid"/>
                      <a:round/>
                      <a:headEnd type="none" w="med" len="med"/>
                      <a:tailEnd type="none" w="med" len="med"/>
                    </a:lnT>
                    <a:lnB w="8255" cap="flat" cmpd="sng" algn="ctr">
                      <a:solidFill>
                        <a:srgbClr val="009597"/>
                      </a:solidFill>
                      <a:prstDash val="solid"/>
                      <a:round/>
                      <a:headEnd type="none" w="med" len="med"/>
                      <a:tailEnd type="none" w="med" len="med"/>
                    </a:lnB>
                    <a:solidFill>
                      <a:srgbClr val="E8F6CF"/>
                    </a:solidFill>
                  </a:tcPr>
                </a:tc>
                <a:extLst>
                  <a:ext uri="{0D108BD9-81ED-4DB2-BD59-A6C34878D82A}">
                    <a16:rowId xmlns:a16="http://schemas.microsoft.com/office/drawing/2014/main" val="2784815260"/>
                  </a:ext>
                </a:extLst>
              </a:tr>
              <a:tr h="1065828">
                <a:tc>
                  <a:txBody>
                    <a:bodyPr/>
                    <a:lstStyle/>
                    <a:p>
                      <a:pPr algn="l" fontAlgn="auto"/>
                      <a:r>
                        <a:rPr lang="fr-FR" sz="1600" b="1" i="0">
                          <a:solidFill>
                            <a:srgbClr val="FFFFFF"/>
                          </a:solidFill>
                          <a:effectLst/>
                          <a:latin typeface="Segoe UI" panose="020B0502040204020203" pitchFamily="34" charset="0"/>
                        </a:rPr>
                        <a:t>​</a:t>
                      </a:r>
                    </a:p>
                  </a:txBody>
                  <a:tcPr anchor="ctr">
                    <a:lnL w="825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255" cap="flat" cmpd="sng" algn="ctr">
                      <a:solidFill>
                        <a:srgbClr val="009597"/>
                      </a:solidFill>
                      <a:prstDash val="solid"/>
                      <a:round/>
                      <a:headEnd type="none" w="med" len="med"/>
                      <a:tailEnd type="none" w="med" len="med"/>
                    </a:lnT>
                    <a:lnB w="8255" cap="flat" cmpd="sng" algn="ctr">
                      <a:solidFill>
                        <a:srgbClr val="FFFFFF"/>
                      </a:solidFill>
                      <a:prstDash val="solid"/>
                      <a:round/>
                      <a:headEnd type="none" w="med" len="med"/>
                      <a:tailEnd type="none" w="med" len="med"/>
                    </a:lnB>
                  </a:tcPr>
                </a:tc>
                <a:tc>
                  <a:txBody>
                    <a:bodyPr/>
                    <a:lstStyle/>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Capacité limitée à démultiplier l’usage du Citizen IT uniquement pour les sachants IT​</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Nécessité de ressources complémentaires​</a:t>
                      </a:r>
                      <a:endParaRPr lang="fr-FR" sz="880" b="0" i="0">
                        <a:solidFill>
                          <a:srgbClr val="707173"/>
                        </a:solidFill>
                        <a:effectLst/>
                        <a:latin typeface="Segoe UI" panose="020B0502040204020203"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8255" cap="flat" cmpd="sng" algn="ctr">
                      <a:solidFill>
                        <a:srgbClr val="009597"/>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D1D5"/>
                    </a:solidFill>
                  </a:tcPr>
                </a:tc>
                <a:tc>
                  <a:txBody>
                    <a:bodyPr/>
                    <a:lstStyle/>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Time to market potentiellement plus long​</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Nécessité de renforcer les contrôles pour garantir l'homogénéité​</a:t>
                      </a:r>
                      <a:endParaRPr lang="fr-FR" sz="880" b="0" i="0">
                        <a:solidFill>
                          <a:srgbClr val="707173"/>
                        </a:solidFill>
                        <a:effectLst/>
                        <a:latin typeface="Segoe UI" panose="020B0502040204020203" pitchFamily="34" charset="0"/>
                      </a:endParaRPr>
                    </a:p>
                    <a:p>
                      <a:pPr marL="171450" indent="-171450" algn="l" fontAlgn="base">
                        <a:buFont typeface="Arial" panose="020B0604020202020204" pitchFamily="34" charset="0"/>
                        <a:buChar char="•"/>
                      </a:pPr>
                      <a:r>
                        <a:rPr lang="fr-FR" sz="1100" b="0" i="0">
                          <a:solidFill>
                            <a:srgbClr val="707173"/>
                          </a:solidFill>
                          <a:effectLst/>
                          <a:latin typeface="Segoe UI" panose="020B0502040204020203" pitchFamily="34" charset="0"/>
                        </a:rPr>
                        <a:t> Implique tout de même un renforcement des équipes IT&amp;D pour coacher et accompagner les métiers​​</a:t>
                      </a:r>
                      <a:endParaRPr lang="fr-FR" b="0" i="0">
                        <a:solidFill>
                          <a:srgbClr val="707173"/>
                        </a:solidFill>
                        <a:effectLst/>
                        <a:latin typeface="Segoe UI" panose="020B0502040204020203" pitchFamily="34" charset="0"/>
                      </a:endParaRPr>
                    </a:p>
                  </a:txBody>
                  <a:tcPr anchor="ctr">
                    <a:lnL w="12700" cap="flat" cmpd="sng" algn="ctr">
                      <a:solidFill>
                        <a:srgbClr val="FFFFFF"/>
                      </a:solidFill>
                      <a:prstDash val="solid"/>
                      <a:round/>
                      <a:headEnd type="none" w="med" len="med"/>
                      <a:tailEnd type="none" w="med" len="med"/>
                    </a:lnL>
                    <a:lnR w="8255" cap="flat" cmpd="sng" algn="ctr">
                      <a:solidFill>
                        <a:srgbClr val="FFFFFF"/>
                      </a:solidFill>
                      <a:prstDash val="solid"/>
                      <a:round/>
                      <a:headEnd type="none" w="med" len="med"/>
                      <a:tailEnd type="none" w="med" len="med"/>
                    </a:lnR>
                    <a:lnT w="8255" cap="flat" cmpd="sng" algn="ctr">
                      <a:solidFill>
                        <a:srgbClr val="009597"/>
                      </a:solidFill>
                      <a:prstDash val="solid"/>
                      <a:round/>
                      <a:headEnd type="none" w="med" len="med"/>
                      <a:tailEnd type="none" w="med" len="med"/>
                    </a:lnT>
                    <a:lnB w="8255" cap="flat" cmpd="sng" algn="ctr">
                      <a:solidFill>
                        <a:srgbClr val="FFFFFF"/>
                      </a:solidFill>
                      <a:prstDash val="solid"/>
                      <a:round/>
                      <a:headEnd type="none" w="med" len="med"/>
                      <a:tailEnd type="none" w="med" len="med"/>
                    </a:lnB>
                    <a:solidFill>
                      <a:srgbClr val="FBD1D5"/>
                    </a:solidFill>
                  </a:tcPr>
                </a:tc>
                <a:extLst>
                  <a:ext uri="{0D108BD9-81ED-4DB2-BD59-A6C34878D82A}">
                    <a16:rowId xmlns:a16="http://schemas.microsoft.com/office/drawing/2014/main" val="631918858"/>
                  </a:ext>
                </a:extLst>
              </a:tr>
            </a:tbl>
          </a:graphicData>
        </a:graphic>
      </p:graphicFrame>
      <p:pic>
        <p:nvPicPr>
          <p:cNvPr id="9" name="Picture 5">
            <a:extLst>
              <a:ext uri="{FF2B5EF4-FFF2-40B4-BE49-F238E27FC236}">
                <a16:creationId xmlns:a16="http://schemas.microsoft.com/office/drawing/2014/main" id="{C6E76D24-F8A2-83AE-78EE-4D06E8D7E0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4565" y="4156083"/>
            <a:ext cx="643322" cy="6609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a:extLst>
              <a:ext uri="{FF2B5EF4-FFF2-40B4-BE49-F238E27FC236}">
                <a16:creationId xmlns:a16="http://schemas.microsoft.com/office/drawing/2014/main" id="{A08514DB-0F57-D7EC-D48E-BBC2904017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565" y="5222449"/>
            <a:ext cx="643322" cy="66098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AFE7EB35-BA91-355A-CDBC-E80D54F50D5F}"/>
              </a:ext>
            </a:extLst>
          </p:cNvPr>
          <p:cNvSpPr/>
          <p:nvPr/>
        </p:nvSpPr>
        <p:spPr>
          <a:xfrm>
            <a:off x="271613" y="3460937"/>
            <a:ext cx="6391118" cy="39946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b="1">
                <a:solidFill>
                  <a:schemeClr val="tx1">
                    <a:lumMod val="50000"/>
                  </a:schemeClr>
                </a:solidFill>
              </a:rPr>
              <a:t>Quelques clés pour choisir son approche dans l’entité</a:t>
            </a:r>
            <a:endParaRPr lang="fr-FR" b="1" u="sng">
              <a:solidFill>
                <a:schemeClr val="tx1">
                  <a:lumMod val="50000"/>
                </a:schemeClr>
              </a:solidFill>
            </a:endParaRPr>
          </a:p>
        </p:txBody>
      </p:sp>
      <p:sp>
        <p:nvSpPr>
          <p:cNvPr id="12" name="Rectangle : coins arrondis 11">
            <a:extLst>
              <a:ext uri="{FF2B5EF4-FFF2-40B4-BE49-F238E27FC236}">
                <a16:creationId xmlns:a16="http://schemas.microsoft.com/office/drawing/2014/main" id="{D56092B8-8569-53AC-FC0F-EF8F81222A7A}"/>
              </a:ext>
            </a:extLst>
          </p:cNvPr>
          <p:cNvSpPr/>
          <p:nvPr/>
        </p:nvSpPr>
        <p:spPr>
          <a:xfrm>
            <a:off x="7341485" y="1187999"/>
            <a:ext cx="3156863" cy="208723"/>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latin typeface="Arial Rounded MT Bold" panose="020F0704030504030204" pitchFamily="34" charset="0"/>
              </a:rPr>
              <a:t>APPROCHE CITIZEN DEVELOPER</a:t>
            </a:r>
          </a:p>
        </p:txBody>
      </p:sp>
      <p:sp>
        <p:nvSpPr>
          <p:cNvPr id="6" name="Google Shape;660;p44">
            <a:extLst>
              <a:ext uri="{FF2B5EF4-FFF2-40B4-BE49-F238E27FC236}">
                <a16:creationId xmlns:a16="http://schemas.microsoft.com/office/drawing/2014/main" id="{580D59CD-7BD1-C273-3D3C-2AAD6982072F}"/>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3" name="Picture 2" descr="Power Platform 2021 in der Übersicht">
            <a:extLst>
              <a:ext uri="{FF2B5EF4-FFF2-40B4-BE49-F238E27FC236}">
                <a16:creationId xmlns:a16="http://schemas.microsoft.com/office/drawing/2014/main" id="{E6DDA7F3-AD2C-D608-AF0C-098FCCC45D2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C93555-F3D3-69C4-B7F3-69DC1A25F6DD}"/>
              </a:ext>
            </a:extLst>
          </p:cNvPr>
          <p:cNvSpPr txBox="1"/>
          <p:nvPr/>
        </p:nvSpPr>
        <p:spPr>
          <a:xfrm>
            <a:off x="5953793" y="1027390"/>
            <a:ext cx="1031158" cy="369332"/>
          </a:xfrm>
          <a:prstGeom prst="rect">
            <a:avLst/>
          </a:prstGeom>
          <a:noFill/>
        </p:spPr>
        <p:txBody>
          <a:bodyPr wrap="square" rtlCol="0">
            <a:spAutoFit/>
          </a:bodyPr>
          <a:lstStyle/>
          <a:p>
            <a:r>
              <a:rPr lang="fr-FR" b="1">
                <a:solidFill>
                  <a:schemeClr val="tx1">
                    <a:lumMod val="50000"/>
                  </a:schemeClr>
                </a:solidFill>
              </a:rPr>
              <a:t>ET/OU</a:t>
            </a:r>
          </a:p>
        </p:txBody>
      </p:sp>
    </p:spTree>
    <p:extLst>
      <p:ext uri="{BB962C8B-B14F-4D97-AF65-F5344CB8AC3E}">
        <p14:creationId xmlns:p14="http://schemas.microsoft.com/office/powerpoint/2010/main" val="3775618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A73CE2-A5CA-4AD5-CA1E-6A7FCB3533A0}"/>
              </a:ext>
            </a:extLst>
          </p:cNvPr>
          <p:cNvSpPr>
            <a:spLocks noGrp="1"/>
          </p:cNvSpPr>
          <p:nvPr>
            <p:ph type="title"/>
          </p:nvPr>
        </p:nvSpPr>
        <p:spPr>
          <a:xfrm>
            <a:off x="0" y="102758"/>
            <a:ext cx="11879249" cy="900000"/>
          </a:xfrm>
        </p:spPr>
        <p:txBody>
          <a:bodyPr/>
          <a:lstStyle/>
          <a:p>
            <a:r>
              <a:rPr lang="fr-FR" sz="2400"/>
              <a:t>PARTAGE DE RESPONSABILITES ENTRE CA-GIP ET ENTITES CLIENTES dans l’usage de la Power Platform</a:t>
            </a:r>
          </a:p>
        </p:txBody>
      </p:sp>
      <p:sp>
        <p:nvSpPr>
          <p:cNvPr id="3" name="Espace réservé du numéro de diapositive 2">
            <a:extLst>
              <a:ext uri="{FF2B5EF4-FFF2-40B4-BE49-F238E27FC236}">
                <a16:creationId xmlns:a16="http://schemas.microsoft.com/office/drawing/2014/main" id="{FAEEDEFE-2F2E-CD30-D5EE-A8EE0119249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2880A2EC-45AF-2F97-A191-74B969D9FD7D}"/>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grpSp>
        <p:nvGrpSpPr>
          <p:cNvPr id="5" name="Groupe 4">
            <a:extLst>
              <a:ext uri="{FF2B5EF4-FFF2-40B4-BE49-F238E27FC236}">
                <a16:creationId xmlns:a16="http://schemas.microsoft.com/office/drawing/2014/main" id="{7F44CA57-C77A-6DDD-AF2F-51FAC0CA25AD}"/>
              </a:ext>
            </a:extLst>
          </p:cNvPr>
          <p:cNvGrpSpPr/>
          <p:nvPr/>
        </p:nvGrpSpPr>
        <p:grpSpPr>
          <a:xfrm>
            <a:off x="996951" y="1023634"/>
            <a:ext cx="10198099" cy="4810731"/>
            <a:chOff x="1966255" y="1237664"/>
            <a:chExt cx="8116942" cy="4267516"/>
          </a:xfrm>
        </p:grpSpPr>
        <p:sp>
          <p:nvSpPr>
            <p:cNvPr id="6" name="Rectangle 5">
              <a:extLst>
                <a:ext uri="{FF2B5EF4-FFF2-40B4-BE49-F238E27FC236}">
                  <a16:creationId xmlns:a16="http://schemas.microsoft.com/office/drawing/2014/main" id="{7DDEC043-D9F2-7829-6CC3-3977DBEC8976}"/>
                </a:ext>
              </a:extLst>
            </p:cNvPr>
            <p:cNvSpPr/>
            <p:nvPr/>
          </p:nvSpPr>
          <p:spPr>
            <a:xfrm>
              <a:off x="1966255" y="1352820"/>
              <a:ext cx="8116942" cy="4152360"/>
            </a:xfrm>
            <a:prstGeom prst="rect">
              <a:avLst/>
            </a:prstGeom>
            <a:solidFill>
              <a:srgbClr val="F7FFFF"/>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
                </a:spcBef>
                <a:spcAft>
                  <a:spcPts val="100"/>
                </a:spcAft>
                <a:buClr>
                  <a:srgbClr val="6E9615"/>
                </a:buClr>
                <a:buSzTx/>
                <a:buFontTx/>
                <a:buNone/>
                <a:tabLst/>
                <a:defRPr/>
              </a:pPr>
              <a:endParaRPr kumimoji="0" lang="fr-FR" sz="1400" b="0" i="0" u="none" strike="noStrike" kern="1200" cap="none" spc="0" normalizeH="0" baseline="0" noProof="0">
                <a:ln>
                  <a:noFill/>
                </a:ln>
                <a:solidFill>
                  <a:schemeClr val="tx1"/>
                </a:solidFill>
                <a:effectLst/>
                <a:uLnTx/>
                <a:uFillTx/>
                <a:latin typeface="Arial"/>
                <a:ea typeface="+mn-ea"/>
                <a:cs typeface="+mn-cs"/>
              </a:endParaRPr>
            </a:p>
          </p:txBody>
        </p:sp>
        <p:sp>
          <p:nvSpPr>
            <p:cNvPr id="7" name="Rectangle 6">
              <a:extLst>
                <a:ext uri="{FF2B5EF4-FFF2-40B4-BE49-F238E27FC236}">
                  <a16:creationId xmlns:a16="http://schemas.microsoft.com/office/drawing/2014/main" id="{53B4307C-27B6-CFB2-99CE-BD6CCFB8BBD6}"/>
                </a:ext>
              </a:extLst>
            </p:cNvPr>
            <p:cNvSpPr/>
            <p:nvPr/>
          </p:nvSpPr>
          <p:spPr>
            <a:xfrm>
              <a:off x="2436055" y="3263978"/>
              <a:ext cx="7215512" cy="218653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
                </a:spcBef>
                <a:spcAft>
                  <a:spcPts val="100"/>
                </a:spcAft>
                <a:buClr>
                  <a:srgbClr val="6E9615"/>
                </a:buClr>
                <a:buSzTx/>
                <a:buFontTx/>
                <a:buNone/>
                <a:tabLst/>
                <a:defRPr/>
              </a:pPr>
              <a:endParaRPr kumimoji="0" lang="fr-FR" sz="1400" b="0" i="0" u="none" strike="noStrike" kern="1200" cap="none" spc="0" normalizeH="0" baseline="0" noProof="0">
                <a:ln>
                  <a:noFill/>
                </a:ln>
                <a:solidFill>
                  <a:schemeClr val="tx1"/>
                </a:solidFill>
                <a:effectLst/>
                <a:uLnTx/>
                <a:uFillTx/>
                <a:latin typeface="Arial"/>
                <a:ea typeface="+mn-ea"/>
                <a:cs typeface="+mn-cs"/>
              </a:endParaRPr>
            </a:p>
          </p:txBody>
        </p:sp>
        <p:sp>
          <p:nvSpPr>
            <p:cNvPr id="8" name="Rectangle 7">
              <a:extLst>
                <a:ext uri="{FF2B5EF4-FFF2-40B4-BE49-F238E27FC236}">
                  <a16:creationId xmlns:a16="http://schemas.microsoft.com/office/drawing/2014/main" id="{861D10C9-8B80-2DD9-AC32-6286F6514B73}"/>
                </a:ext>
              </a:extLst>
            </p:cNvPr>
            <p:cNvSpPr/>
            <p:nvPr/>
          </p:nvSpPr>
          <p:spPr>
            <a:xfrm>
              <a:off x="2253967" y="3111725"/>
              <a:ext cx="7215512" cy="218653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
                </a:spcBef>
                <a:spcAft>
                  <a:spcPts val="100"/>
                </a:spcAft>
                <a:buClr>
                  <a:srgbClr val="6E9615"/>
                </a:buClr>
                <a:buSzTx/>
                <a:buFontTx/>
                <a:buNone/>
                <a:tabLst/>
                <a:defRPr/>
              </a:pPr>
              <a:endParaRPr kumimoji="0" lang="fr-FR" sz="1400" b="0" i="0" u="none" strike="noStrike" kern="1200" cap="none" spc="0" normalizeH="0" baseline="0" noProof="0">
                <a:ln>
                  <a:noFill/>
                </a:ln>
                <a:solidFill>
                  <a:schemeClr val="tx1"/>
                </a:solidFill>
                <a:effectLst/>
                <a:uLnTx/>
                <a:uFillTx/>
                <a:latin typeface="Arial"/>
                <a:ea typeface="+mn-ea"/>
                <a:cs typeface="+mn-cs"/>
              </a:endParaRPr>
            </a:p>
          </p:txBody>
        </p:sp>
        <p:sp>
          <p:nvSpPr>
            <p:cNvPr id="9" name="Rectangle : coins arrondis 8">
              <a:extLst>
                <a:ext uri="{FF2B5EF4-FFF2-40B4-BE49-F238E27FC236}">
                  <a16:creationId xmlns:a16="http://schemas.microsoft.com/office/drawing/2014/main" id="{67A23027-D12D-3B79-F28E-BFF00CE59A85}"/>
                </a:ext>
              </a:extLst>
            </p:cNvPr>
            <p:cNvSpPr/>
            <p:nvPr/>
          </p:nvSpPr>
          <p:spPr>
            <a:xfrm>
              <a:off x="2862375" y="1237664"/>
              <a:ext cx="1204079" cy="269066"/>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b="1">
                  <a:solidFill>
                    <a:schemeClr val="bg1">
                      <a:lumMod val="95000"/>
                    </a:schemeClr>
                  </a:solidFill>
                </a:rPr>
                <a:t>CA-GIP</a:t>
              </a:r>
            </a:p>
          </p:txBody>
        </p:sp>
        <p:grpSp>
          <p:nvGrpSpPr>
            <p:cNvPr id="10" name="Groupe 9">
              <a:extLst>
                <a:ext uri="{FF2B5EF4-FFF2-40B4-BE49-F238E27FC236}">
                  <a16:creationId xmlns:a16="http://schemas.microsoft.com/office/drawing/2014/main" id="{D4B429BE-C017-B215-C83F-B7752B76BB88}"/>
                </a:ext>
              </a:extLst>
            </p:cNvPr>
            <p:cNvGrpSpPr/>
            <p:nvPr/>
          </p:nvGrpSpPr>
          <p:grpSpPr>
            <a:xfrm>
              <a:off x="4555199" y="1642203"/>
              <a:ext cx="4026924" cy="1036069"/>
              <a:chOff x="3035029" y="1524005"/>
              <a:chExt cx="5115588" cy="1110978"/>
            </a:xfrm>
          </p:grpSpPr>
          <p:sp>
            <p:nvSpPr>
              <p:cNvPr id="22" name="Rectangle 21">
                <a:extLst>
                  <a:ext uri="{FF2B5EF4-FFF2-40B4-BE49-F238E27FC236}">
                    <a16:creationId xmlns:a16="http://schemas.microsoft.com/office/drawing/2014/main" id="{65B53531-FEB1-1752-8DC1-9A69908A6D64}"/>
                  </a:ext>
                </a:extLst>
              </p:cNvPr>
              <p:cNvSpPr/>
              <p:nvPr/>
            </p:nvSpPr>
            <p:spPr>
              <a:xfrm>
                <a:off x="3035030" y="1524005"/>
                <a:ext cx="5115587" cy="111097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buFont typeface="Arial" panose="020B0604020202020204" pitchFamily="34" charset="0"/>
                  <a:buChar char="•"/>
                </a:pPr>
                <a:r>
                  <a:rPr lang="fr-FR" sz="1000">
                    <a:solidFill>
                      <a:schemeClr val="tx1"/>
                    </a:solidFill>
                  </a:rPr>
                  <a:t>Met à disposition des environnements </a:t>
                </a:r>
              </a:p>
              <a:p>
                <a:pPr marL="171450" indent="-171450">
                  <a:buFont typeface="Arial" panose="020B0604020202020204" pitchFamily="34" charset="0"/>
                  <a:buChar char="•"/>
                </a:pPr>
                <a:r>
                  <a:rPr lang="fr-FR" sz="1000">
                    <a:solidFill>
                      <a:schemeClr val="tx1"/>
                    </a:solidFill>
                  </a:rPr>
                  <a:t>Administre et monitore la disponibilité de la plateforme commune Power Platform</a:t>
                </a:r>
              </a:p>
              <a:p>
                <a:pPr marL="171450" indent="-171450">
                  <a:buFont typeface="Arial" panose="020B0604020202020204" pitchFamily="34" charset="0"/>
                  <a:buChar char="•"/>
                </a:pPr>
                <a:r>
                  <a:rPr lang="fr-FR" sz="1000">
                    <a:solidFill>
                      <a:schemeClr val="tx1"/>
                    </a:solidFill>
                  </a:rPr>
                  <a:t>Maintient les règles de sécurisation</a:t>
                </a:r>
              </a:p>
              <a:p>
                <a:pPr marL="171450" indent="-171450">
                  <a:buFont typeface="Arial" panose="020B0604020202020204" pitchFamily="34" charset="0"/>
                  <a:buChar char="•"/>
                </a:pPr>
                <a:r>
                  <a:rPr lang="fr-FR" sz="1000">
                    <a:solidFill>
                      <a:schemeClr val="tx1"/>
                    </a:solidFill>
                  </a:rPr>
                  <a:t>Partage les mises à jour de règles de gouvernance transverse</a:t>
                </a:r>
                <a:endParaRPr lang="fr-FR" sz="1000"/>
              </a:p>
            </p:txBody>
          </p:sp>
          <p:sp>
            <p:nvSpPr>
              <p:cNvPr id="23" name="Rectangle : coins arrondis 22">
                <a:extLst>
                  <a:ext uri="{FF2B5EF4-FFF2-40B4-BE49-F238E27FC236}">
                    <a16:creationId xmlns:a16="http://schemas.microsoft.com/office/drawing/2014/main" id="{4F90FDB6-2F77-C323-D9F2-41C9D871805F}"/>
                  </a:ext>
                </a:extLst>
              </p:cNvPr>
              <p:cNvSpPr/>
              <p:nvPr/>
            </p:nvSpPr>
            <p:spPr>
              <a:xfrm>
                <a:off x="3035029" y="1528038"/>
                <a:ext cx="5115587" cy="3607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b="1">
                    <a:solidFill>
                      <a:schemeClr val="bg1"/>
                    </a:solidFill>
                  </a:rPr>
                  <a:t>GESTION DE LA PLATEFORME</a:t>
                </a:r>
              </a:p>
              <a:p>
                <a:pPr algn="ctr"/>
                <a:r>
                  <a:rPr lang="fr-FR" sz="1100" b="1">
                    <a:solidFill>
                      <a:schemeClr val="bg1"/>
                    </a:solidFill>
                  </a:rPr>
                  <a:t>OFFRE CAGIP POWER PLATFORM V1</a:t>
                </a:r>
              </a:p>
            </p:txBody>
          </p:sp>
        </p:grpSp>
        <p:pic>
          <p:nvPicPr>
            <p:cNvPr id="11" name="Picture 2" descr="Power Platform 2021 in der Übersicht">
              <a:extLst>
                <a:ext uri="{FF2B5EF4-FFF2-40B4-BE49-F238E27FC236}">
                  <a16:creationId xmlns:a16="http://schemas.microsoft.com/office/drawing/2014/main" id="{6413227F-39F9-653F-2AC6-4540481669A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700" r="39294" b="71270"/>
            <a:stretch/>
          </p:blipFill>
          <p:spPr bwMode="auto">
            <a:xfrm>
              <a:off x="4262847" y="1346368"/>
              <a:ext cx="826807" cy="900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E6C96A3-0E0B-8E90-37E1-00C252A2BDE9}"/>
                </a:ext>
              </a:extLst>
            </p:cNvPr>
            <p:cNvSpPr/>
            <p:nvPr/>
          </p:nvSpPr>
          <p:spPr>
            <a:xfrm>
              <a:off x="2071879" y="2974256"/>
              <a:ext cx="7215512" cy="218653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00"/>
                </a:spcBef>
                <a:spcAft>
                  <a:spcPts val="100"/>
                </a:spcAft>
                <a:buClr>
                  <a:srgbClr val="6E9615"/>
                </a:buClr>
                <a:buSzTx/>
                <a:buFontTx/>
                <a:buNone/>
                <a:tabLst/>
                <a:defRPr/>
              </a:pPr>
              <a:endParaRPr kumimoji="0" lang="fr-FR" sz="1400" b="0" i="0" u="none" strike="noStrike" kern="1200" cap="none" spc="0" normalizeH="0" baseline="0" noProof="0">
                <a:ln>
                  <a:noFill/>
                </a:ln>
                <a:solidFill>
                  <a:schemeClr val="tx1"/>
                </a:solidFill>
                <a:effectLst/>
                <a:uLnTx/>
                <a:uFillTx/>
                <a:latin typeface="Arial"/>
                <a:ea typeface="+mn-ea"/>
                <a:cs typeface="+mn-cs"/>
              </a:endParaRPr>
            </a:p>
          </p:txBody>
        </p:sp>
        <p:sp>
          <p:nvSpPr>
            <p:cNvPr id="13" name="Rectangle : coins arrondis 12">
              <a:extLst>
                <a:ext uri="{FF2B5EF4-FFF2-40B4-BE49-F238E27FC236}">
                  <a16:creationId xmlns:a16="http://schemas.microsoft.com/office/drawing/2014/main" id="{09C42DC4-1E6B-EA28-F2BD-6B165D765EAE}"/>
                </a:ext>
              </a:extLst>
            </p:cNvPr>
            <p:cNvSpPr/>
            <p:nvPr/>
          </p:nvSpPr>
          <p:spPr>
            <a:xfrm>
              <a:off x="2847243" y="2832074"/>
              <a:ext cx="1204079" cy="269066"/>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b="1">
                  <a:solidFill>
                    <a:schemeClr val="bg1">
                      <a:lumMod val="95000"/>
                    </a:schemeClr>
                  </a:solidFill>
                </a:rPr>
                <a:t>Chaque entité</a:t>
              </a:r>
            </a:p>
          </p:txBody>
        </p:sp>
        <p:grpSp>
          <p:nvGrpSpPr>
            <p:cNvPr id="14" name="Groupe 13">
              <a:extLst>
                <a:ext uri="{FF2B5EF4-FFF2-40B4-BE49-F238E27FC236}">
                  <a16:creationId xmlns:a16="http://schemas.microsoft.com/office/drawing/2014/main" id="{4E125024-418F-58E8-695C-72C56B0DE93A}"/>
                </a:ext>
              </a:extLst>
            </p:cNvPr>
            <p:cNvGrpSpPr/>
            <p:nvPr/>
          </p:nvGrpSpPr>
          <p:grpSpPr>
            <a:xfrm>
              <a:off x="4607078" y="3512927"/>
              <a:ext cx="3924463" cy="1496039"/>
              <a:chOff x="3024296" y="1528039"/>
              <a:chExt cx="4985427" cy="1604205"/>
            </a:xfrm>
          </p:grpSpPr>
          <p:sp>
            <p:nvSpPr>
              <p:cNvPr id="20" name="Rectangle 19">
                <a:extLst>
                  <a:ext uri="{FF2B5EF4-FFF2-40B4-BE49-F238E27FC236}">
                    <a16:creationId xmlns:a16="http://schemas.microsoft.com/office/drawing/2014/main" id="{E586E30D-8775-9CDD-3A43-36A01493F548}"/>
                  </a:ext>
                </a:extLst>
              </p:cNvPr>
              <p:cNvSpPr/>
              <p:nvPr/>
            </p:nvSpPr>
            <p:spPr>
              <a:xfrm>
                <a:off x="3024296" y="1659624"/>
                <a:ext cx="4974695" cy="147262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buFont typeface="Arial" panose="020B0604020202020204" pitchFamily="34" charset="0"/>
                  <a:buChar char="•"/>
                </a:pPr>
                <a:r>
                  <a:rPr lang="fr-FR" sz="1000">
                    <a:solidFill>
                      <a:schemeClr val="tx1"/>
                    </a:solidFill>
                  </a:rPr>
                  <a:t>Structure son équipe Power Platform et définit ses processus (cycle de vie applicative, processus de déploiement,…)</a:t>
                </a:r>
              </a:p>
              <a:p>
                <a:pPr marL="171450" indent="-171450">
                  <a:buFont typeface="Arial" panose="020B0604020202020204" pitchFamily="34" charset="0"/>
                  <a:buChar char="•"/>
                </a:pPr>
                <a:r>
                  <a:rPr lang="fr-FR" sz="1000">
                    <a:solidFill>
                      <a:schemeClr val="tx1"/>
                    </a:solidFill>
                  </a:rPr>
                  <a:t>Opère au quotidien ses environnements (ajout/suppression d’utilisateur, suppression d’application, …)</a:t>
                </a:r>
              </a:p>
              <a:p>
                <a:pPr marL="171450" indent="-171450">
                  <a:buFont typeface="Arial" panose="020B0604020202020204" pitchFamily="34" charset="0"/>
                  <a:buChar char="•"/>
                </a:pPr>
                <a:r>
                  <a:rPr lang="fr-FR" sz="1000">
                    <a:solidFill>
                      <a:schemeClr val="tx1"/>
                    </a:solidFill>
                  </a:rPr>
                  <a:t>Anime &amp; forme sa communauté de développeurs</a:t>
                </a:r>
              </a:p>
              <a:p>
                <a:pPr marL="171450" indent="-171450">
                  <a:buFont typeface="Arial" panose="020B0604020202020204" pitchFamily="34" charset="0"/>
                  <a:buChar char="•"/>
                </a:pPr>
                <a:r>
                  <a:rPr lang="fr-FR" sz="1000">
                    <a:solidFill>
                      <a:schemeClr val="tx1"/>
                    </a:solidFill>
                  </a:rPr>
                  <a:t>Aide à concevoir et déployer des flux &amp; applications</a:t>
                </a:r>
              </a:p>
              <a:p>
                <a:pPr marL="171450" indent="-171450">
                  <a:buFont typeface="Arial" panose="020B0604020202020204" pitchFamily="34" charset="0"/>
                  <a:buChar char="•"/>
                </a:pPr>
                <a:endParaRPr lang="fr-FR" sz="800">
                  <a:solidFill>
                    <a:schemeClr val="tx1"/>
                  </a:solidFill>
                </a:endParaRPr>
              </a:p>
            </p:txBody>
          </p:sp>
          <p:sp>
            <p:nvSpPr>
              <p:cNvPr id="21" name="Rectangle : coins arrondis 20">
                <a:extLst>
                  <a:ext uri="{FF2B5EF4-FFF2-40B4-BE49-F238E27FC236}">
                    <a16:creationId xmlns:a16="http://schemas.microsoft.com/office/drawing/2014/main" id="{12A89518-AECC-B5FC-CA13-357652A5AD24}"/>
                  </a:ext>
                </a:extLst>
              </p:cNvPr>
              <p:cNvSpPr/>
              <p:nvPr/>
            </p:nvSpPr>
            <p:spPr>
              <a:xfrm>
                <a:off x="3035028" y="1528039"/>
                <a:ext cx="4974695" cy="422740"/>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sz="1050" b="1">
                  <a:solidFill>
                    <a:schemeClr val="bg1"/>
                  </a:solidFill>
                </a:endParaRPr>
              </a:p>
              <a:p>
                <a:pPr algn="ctr"/>
                <a:r>
                  <a:rPr lang="fr-FR" sz="1050" b="1">
                    <a:solidFill>
                      <a:schemeClr val="bg1"/>
                    </a:solidFill>
                  </a:rPr>
                  <a:t>LES APPLICATIONS &amp; FLUX</a:t>
                </a:r>
              </a:p>
              <a:p>
                <a:pPr algn="ctr"/>
                <a:r>
                  <a:rPr lang="fr-FR" sz="1050" b="1">
                    <a:solidFill>
                      <a:schemeClr val="bg1"/>
                    </a:solidFill>
                  </a:rPr>
                  <a:t>(OFFRE ENTITÉ)</a:t>
                </a:r>
              </a:p>
              <a:p>
                <a:pPr algn="ctr"/>
                <a:endParaRPr lang="fr-FR" sz="1050" b="1">
                  <a:solidFill>
                    <a:schemeClr val="bg1"/>
                  </a:solidFill>
                </a:endParaRPr>
              </a:p>
            </p:txBody>
          </p:sp>
        </p:grpSp>
        <p:pic>
          <p:nvPicPr>
            <p:cNvPr id="15" name="Image 14">
              <a:extLst>
                <a:ext uri="{FF2B5EF4-FFF2-40B4-BE49-F238E27FC236}">
                  <a16:creationId xmlns:a16="http://schemas.microsoft.com/office/drawing/2014/main" id="{48F5AF82-E749-AF6F-FC9E-EF51739D8E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2847" y="3418305"/>
              <a:ext cx="366880" cy="356978"/>
            </a:xfrm>
            <a:prstGeom prst="rect">
              <a:avLst/>
            </a:prstGeom>
          </p:spPr>
        </p:pic>
        <p:sp>
          <p:nvSpPr>
            <p:cNvPr id="16" name="Rectangle 15">
              <a:extLst>
                <a:ext uri="{FF2B5EF4-FFF2-40B4-BE49-F238E27FC236}">
                  <a16:creationId xmlns:a16="http://schemas.microsoft.com/office/drawing/2014/main" id="{1E0C6B58-9971-88D8-D120-EC094EDD7B58}"/>
                </a:ext>
              </a:extLst>
            </p:cNvPr>
            <p:cNvSpPr/>
            <p:nvPr/>
          </p:nvSpPr>
          <p:spPr>
            <a:xfrm>
              <a:off x="2183496" y="1800433"/>
              <a:ext cx="1665779" cy="905554"/>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fr-FR" sz="1100">
                  <a:solidFill>
                    <a:schemeClr val="tx1"/>
                  </a:solidFill>
                </a:rPr>
                <a:t>Est garant de la </a:t>
              </a:r>
              <a:r>
                <a:rPr lang="fr-FR" sz="1100" b="1">
                  <a:solidFill>
                    <a:schemeClr val="bg2"/>
                  </a:solidFill>
                </a:rPr>
                <a:t>mise en œuvre des fondations</a:t>
              </a:r>
              <a:r>
                <a:rPr lang="fr-FR" sz="1100">
                  <a:solidFill>
                    <a:schemeClr val="bg2"/>
                  </a:solidFill>
                </a:rPr>
                <a:t> </a:t>
              </a:r>
              <a:r>
                <a:rPr lang="fr-FR" sz="1100">
                  <a:solidFill>
                    <a:schemeClr val="tx1"/>
                  </a:solidFill>
                </a:rPr>
                <a:t>et </a:t>
              </a:r>
              <a:r>
                <a:rPr lang="fr-FR" sz="1100" b="1">
                  <a:solidFill>
                    <a:schemeClr val="bg2"/>
                  </a:solidFill>
                </a:rPr>
                <a:t>socle de technique de la plateforme</a:t>
              </a:r>
            </a:p>
          </p:txBody>
        </p:sp>
        <p:pic>
          <p:nvPicPr>
            <p:cNvPr id="17" name="Image 16" descr="Une image contenant cercle, Caractère coloré, Graphique&#10;&#10;Description générée automatiquement">
              <a:extLst>
                <a:ext uri="{FF2B5EF4-FFF2-40B4-BE49-F238E27FC236}">
                  <a16:creationId xmlns:a16="http://schemas.microsoft.com/office/drawing/2014/main" id="{EF1376B3-22D7-4F77-331F-0475E9D123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1879" y="1512216"/>
              <a:ext cx="332754" cy="323772"/>
            </a:xfrm>
            <a:prstGeom prst="rect">
              <a:avLst/>
            </a:prstGeom>
          </p:spPr>
        </p:pic>
        <p:sp>
          <p:nvSpPr>
            <p:cNvPr id="18" name="Rectangle 17">
              <a:extLst>
                <a:ext uri="{FF2B5EF4-FFF2-40B4-BE49-F238E27FC236}">
                  <a16:creationId xmlns:a16="http://schemas.microsoft.com/office/drawing/2014/main" id="{B7474CDE-DB08-D7DD-D891-C8586C543819}"/>
                </a:ext>
              </a:extLst>
            </p:cNvPr>
            <p:cNvSpPr/>
            <p:nvPr/>
          </p:nvSpPr>
          <p:spPr>
            <a:xfrm>
              <a:off x="2246031" y="3484694"/>
              <a:ext cx="1665779" cy="1022399"/>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fr-FR" sz="1100">
                  <a:solidFill>
                    <a:schemeClr val="tx1"/>
                  </a:solidFill>
                </a:rPr>
                <a:t>Est garant </a:t>
              </a:r>
              <a:r>
                <a:rPr lang="fr-FR" sz="1100" b="1">
                  <a:solidFill>
                    <a:schemeClr val="bg2"/>
                  </a:solidFill>
                </a:rPr>
                <a:t>des applications </a:t>
              </a:r>
              <a:r>
                <a:rPr lang="fr-FR" sz="1100" b="1" err="1">
                  <a:solidFill>
                    <a:schemeClr val="bg2"/>
                  </a:solidFill>
                </a:rPr>
                <a:t>concues</a:t>
              </a:r>
              <a:r>
                <a:rPr lang="fr-FR" sz="1100">
                  <a:solidFill>
                    <a:schemeClr val="tx1"/>
                  </a:solidFill>
                </a:rPr>
                <a:t> sur son socle technique répondant aux  </a:t>
              </a:r>
              <a:r>
                <a:rPr lang="fr-FR" sz="1100" b="1">
                  <a:solidFill>
                    <a:schemeClr val="bg2"/>
                  </a:solidFill>
                </a:rPr>
                <a:t>besoins de son métier</a:t>
              </a:r>
              <a:r>
                <a:rPr lang="fr-FR" sz="1100">
                  <a:solidFill>
                    <a:schemeClr val="tx1"/>
                  </a:solidFill>
                </a:rPr>
                <a:t> </a:t>
              </a:r>
              <a:endParaRPr lang="fr-FR" sz="1100" b="1">
                <a:solidFill>
                  <a:schemeClr val="tx1"/>
                </a:solidFill>
                <a:cs typeface="Arial"/>
              </a:endParaRPr>
            </a:p>
          </p:txBody>
        </p:sp>
        <p:pic>
          <p:nvPicPr>
            <p:cNvPr id="19" name="Image 18" descr="Une image contenant cercle, Caractère coloré, Graphique&#10;&#10;Description générée automatiquement">
              <a:extLst>
                <a:ext uri="{FF2B5EF4-FFF2-40B4-BE49-F238E27FC236}">
                  <a16:creationId xmlns:a16="http://schemas.microsoft.com/office/drawing/2014/main" id="{3ECB329E-50B9-12F9-D6A4-CD2F1913D5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4537" y="3177241"/>
              <a:ext cx="378859" cy="368633"/>
            </a:xfrm>
            <a:prstGeom prst="rect">
              <a:avLst/>
            </a:prstGeom>
          </p:spPr>
        </p:pic>
      </p:grpSp>
      <p:sp>
        <p:nvSpPr>
          <p:cNvPr id="24" name="Google Shape;660;p44">
            <a:extLst>
              <a:ext uri="{FF2B5EF4-FFF2-40B4-BE49-F238E27FC236}">
                <a16:creationId xmlns:a16="http://schemas.microsoft.com/office/drawing/2014/main" id="{A57706E3-AF5F-9AB8-784C-412C95442DDD}"/>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5" name="Picture 2" descr="Power Platform 2021 in der Übersicht">
            <a:extLst>
              <a:ext uri="{FF2B5EF4-FFF2-40B4-BE49-F238E27FC236}">
                <a16:creationId xmlns:a16="http://schemas.microsoft.com/office/drawing/2014/main" id="{5510D795-715A-5583-F800-5B4E4B21C85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265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4AAC5D-75E2-8F48-96B4-CDD96C7FC34F}"/>
              </a:ext>
            </a:extLst>
          </p:cNvPr>
          <p:cNvSpPr>
            <a:spLocks noGrp="1"/>
          </p:cNvSpPr>
          <p:nvPr>
            <p:ph type="title"/>
          </p:nvPr>
        </p:nvSpPr>
        <p:spPr>
          <a:xfrm>
            <a:off x="154389" y="143731"/>
            <a:ext cx="11817651" cy="900000"/>
          </a:xfrm>
        </p:spPr>
        <p:txBody>
          <a:bodyPr/>
          <a:lstStyle/>
          <a:p>
            <a:r>
              <a:rPr lang="fr-FR"/>
              <a:t>Catalogue de demandes &amp; incidents disponibles dans le cadre de l’offre v1</a:t>
            </a:r>
          </a:p>
        </p:txBody>
      </p:sp>
      <p:sp>
        <p:nvSpPr>
          <p:cNvPr id="3" name="Espace réservé du numéro de diapositive 2">
            <a:extLst>
              <a:ext uri="{FF2B5EF4-FFF2-40B4-BE49-F238E27FC236}">
                <a16:creationId xmlns:a16="http://schemas.microsoft.com/office/drawing/2014/main" id="{75D51D45-EFE2-B477-32A7-E174112630A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3DA650A0-D26A-731D-C946-347343EC253A}"/>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7" name="Google Shape;716;p46">
            <a:extLst>
              <a:ext uri="{FF2B5EF4-FFF2-40B4-BE49-F238E27FC236}">
                <a16:creationId xmlns:a16="http://schemas.microsoft.com/office/drawing/2014/main" id="{797EDE8F-2783-0CA0-F756-320AD9F4E75D}"/>
              </a:ext>
            </a:extLst>
          </p:cNvPr>
          <p:cNvSpPr/>
          <p:nvPr/>
        </p:nvSpPr>
        <p:spPr>
          <a:xfrm>
            <a:off x="2225446" y="1123688"/>
            <a:ext cx="3183075" cy="333300"/>
          </a:xfrm>
          <a:prstGeom prst="roundRect">
            <a:avLst>
              <a:gd name="adj" fmla="val 50000"/>
            </a:avLst>
          </a:prstGeom>
          <a:solidFill>
            <a:schemeClr val="accent2"/>
          </a:solidFill>
          <a:ln>
            <a:noFill/>
          </a:ln>
        </p:spPr>
        <p:txBody>
          <a:bodyPr spcFirstLastPara="1" wrap="square" lIns="91425" tIns="91425" rIns="91425" bIns="91425" anchor="ctr"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rtl="0">
              <a:spcBef>
                <a:spcPts val="0"/>
              </a:spcBef>
              <a:spcAft>
                <a:spcPts val="0"/>
              </a:spcAft>
              <a:buNone/>
            </a:pPr>
            <a:r>
              <a:rPr lang="fr-FR" sz="1600" b="1" cap="small">
                <a:solidFill>
                  <a:schemeClr val="bg1"/>
                </a:solidFill>
                <a:latin typeface="Arial Rounded MT Bold" panose="020F0704030504030204" pitchFamily="34" charset="0"/>
                <a:ea typeface="Caveat"/>
                <a:cs typeface="Caveat"/>
                <a:sym typeface="Caveat"/>
              </a:rPr>
              <a:t>1. La Plateforme</a:t>
            </a:r>
            <a:endParaRPr lang="fr-FR" sz="1600" b="0" i="0" u="none" strike="noStrike" cap="none">
              <a:solidFill>
                <a:schemeClr val="bg1"/>
              </a:solidFill>
              <a:latin typeface="Arial Rounded MT Bold" panose="020F0704030504030204" pitchFamily="34" charset="0"/>
              <a:ea typeface="Caveat"/>
              <a:cs typeface="Caveat"/>
              <a:sym typeface="Caveat"/>
            </a:endParaRPr>
          </a:p>
        </p:txBody>
      </p:sp>
      <p:sp>
        <p:nvSpPr>
          <p:cNvPr id="8" name="Google Shape;716;p46">
            <a:extLst>
              <a:ext uri="{FF2B5EF4-FFF2-40B4-BE49-F238E27FC236}">
                <a16:creationId xmlns:a16="http://schemas.microsoft.com/office/drawing/2014/main" id="{757DD6D8-49BF-D97A-5065-180520480E55}"/>
              </a:ext>
            </a:extLst>
          </p:cNvPr>
          <p:cNvSpPr/>
          <p:nvPr/>
        </p:nvSpPr>
        <p:spPr>
          <a:xfrm>
            <a:off x="5437282" y="1099513"/>
            <a:ext cx="3183075" cy="333300"/>
          </a:xfrm>
          <a:prstGeom prst="roundRect">
            <a:avLst>
              <a:gd name="adj" fmla="val 50000"/>
            </a:avLst>
          </a:prstGeom>
          <a:solidFill>
            <a:schemeClr val="accent4"/>
          </a:solidFill>
          <a:ln>
            <a:noFill/>
          </a:ln>
        </p:spPr>
        <p:txBody>
          <a:bodyPr spcFirstLastPara="1" wrap="square" lIns="91425" tIns="91425" rIns="91425" bIns="91425" anchor="ctr"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rtl="0">
              <a:spcBef>
                <a:spcPts val="0"/>
              </a:spcBef>
              <a:spcAft>
                <a:spcPts val="0"/>
              </a:spcAft>
              <a:buNone/>
            </a:pPr>
            <a:r>
              <a:rPr lang="fr-FR" sz="1600" b="1" cap="small">
                <a:solidFill>
                  <a:schemeClr val="bg1"/>
                </a:solidFill>
                <a:latin typeface="Arial Rounded MT Bold" panose="020F0704030504030204" pitchFamily="34" charset="0"/>
                <a:ea typeface="Caveat"/>
                <a:cs typeface="Caveat"/>
                <a:sym typeface="Caveat"/>
              </a:rPr>
              <a:t>2. Les environnements</a:t>
            </a:r>
            <a:endParaRPr lang="fr-FR" sz="1600" b="0" i="0" u="none" strike="noStrike" cap="none">
              <a:solidFill>
                <a:schemeClr val="bg1"/>
              </a:solidFill>
              <a:latin typeface="Arial Rounded MT Bold" panose="020F0704030504030204" pitchFamily="34" charset="0"/>
              <a:ea typeface="Caveat"/>
              <a:cs typeface="Caveat"/>
              <a:sym typeface="Caveat"/>
            </a:endParaRPr>
          </a:p>
        </p:txBody>
      </p:sp>
      <p:sp>
        <p:nvSpPr>
          <p:cNvPr id="9" name="Google Shape;716;p46">
            <a:extLst>
              <a:ext uri="{FF2B5EF4-FFF2-40B4-BE49-F238E27FC236}">
                <a16:creationId xmlns:a16="http://schemas.microsoft.com/office/drawing/2014/main" id="{7CF69919-73EC-FCB3-28D2-58CE928FA21C}"/>
              </a:ext>
            </a:extLst>
          </p:cNvPr>
          <p:cNvSpPr/>
          <p:nvPr/>
        </p:nvSpPr>
        <p:spPr>
          <a:xfrm>
            <a:off x="8667856" y="1099513"/>
            <a:ext cx="3183075" cy="333300"/>
          </a:xfrm>
          <a:prstGeom prst="roundRect">
            <a:avLst>
              <a:gd name="adj" fmla="val 50000"/>
            </a:avLst>
          </a:prstGeom>
          <a:solidFill>
            <a:schemeClr val="bg2"/>
          </a:solidFill>
          <a:ln>
            <a:noFill/>
          </a:ln>
        </p:spPr>
        <p:txBody>
          <a:bodyPr spcFirstLastPara="1" wrap="square" lIns="91425" tIns="91425" rIns="91425" bIns="91425" anchor="ctr" anchorCtr="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rtl="0">
              <a:spcBef>
                <a:spcPts val="0"/>
              </a:spcBef>
              <a:spcAft>
                <a:spcPts val="0"/>
              </a:spcAft>
              <a:buNone/>
            </a:pPr>
            <a:r>
              <a:rPr lang="fr-FR" sz="1400" b="1" cap="small">
                <a:solidFill>
                  <a:schemeClr val="bg1"/>
                </a:solidFill>
                <a:latin typeface="Arial Rounded MT Bold" panose="020F0704030504030204" pitchFamily="34" charset="0"/>
                <a:ea typeface="Caveat"/>
                <a:cs typeface="Caveat"/>
                <a:sym typeface="Caveat"/>
              </a:rPr>
              <a:t>3. Les applications, flux &amp; </a:t>
            </a:r>
            <a:r>
              <a:rPr lang="fr-FR" sz="1400" b="1" cap="small" err="1">
                <a:solidFill>
                  <a:schemeClr val="bg1"/>
                </a:solidFill>
                <a:latin typeface="Arial Rounded MT Bold" panose="020F0704030504030204" pitchFamily="34" charset="0"/>
                <a:ea typeface="Caveat"/>
                <a:cs typeface="Caveat"/>
                <a:sym typeface="Caveat"/>
              </a:rPr>
              <a:t>users</a:t>
            </a:r>
            <a:endParaRPr lang="fr-FR" sz="1400" b="0" i="0" u="none" strike="noStrike" cap="none">
              <a:solidFill>
                <a:schemeClr val="bg1"/>
              </a:solidFill>
              <a:latin typeface="Arial Rounded MT Bold" panose="020F0704030504030204" pitchFamily="34" charset="0"/>
              <a:ea typeface="Caveat"/>
              <a:cs typeface="Caveat"/>
              <a:sym typeface="Caveat"/>
            </a:endParaRPr>
          </a:p>
        </p:txBody>
      </p:sp>
      <p:graphicFrame>
        <p:nvGraphicFramePr>
          <p:cNvPr id="12" name="Tableau 12">
            <a:extLst>
              <a:ext uri="{FF2B5EF4-FFF2-40B4-BE49-F238E27FC236}">
                <a16:creationId xmlns:a16="http://schemas.microsoft.com/office/drawing/2014/main" id="{ABA6CD4F-5633-13C9-175B-B70D16BCA14B}"/>
              </a:ext>
            </a:extLst>
          </p:cNvPr>
          <p:cNvGraphicFramePr>
            <a:graphicFrameLocks noGrp="1"/>
          </p:cNvGraphicFramePr>
          <p:nvPr>
            <p:extLst>
              <p:ext uri="{D42A27DB-BD31-4B8C-83A1-F6EECF244321}">
                <p14:modId xmlns:p14="http://schemas.microsoft.com/office/powerpoint/2010/main" val="3088206087"/>
              </p:ext>
            </p:extLst>
          </p:nvPr>
        </p:nvGraphicFramePr>
        <p:xfrm>
          <a:off x="239230" y="1571200"/>
          <a:ext cx="11732810" cy="4480560"/>
        </p:xfrm>
        <a:graphic>
          <a:graphicData uri="http://schemas.openxmlformats.org/drawingml/2006/table">
            <a:tbl>
              <a:tblPr bandRow="1">
                <a:tableStyleId>{5C22544A-7EE6-4342-B048-85BDC9FD1C3A}</a:tableStyleId>
              </a:tblPr>
              <a:tblGrid>
                <a:gridCol w="1952819">
                  <a:extLst>
                    <a:ext uri="{9D8B030D-6E8A-4147-A177-3AD203B41FA5}">
                      <a16:colId xmlns:a16="http://schemas.microsoft.com/office/drawing/2014/main" val="1796400351"/>
                    </a:ext>
                  </a:extLst>
                </a:gridCol>
                <a:gridCol w="3259997">
                  <a:extLst>
                    <a:ext uri="{9D8B030D-6E8A-4147-A177-3AD203B41FA5}">
                      <a16:colId xmlns:a16="http://schemas.microsoft.com/office/drawing/2014/main" val="1726667871"/>
                    </a:ext>
                  </a:extLst>
                </a:gridCol>
                <a:gridCol w="3259997">
                  <a:extLst>
                    <a:ext uri="{9D8B030D-6E8A-4147-A177-3AD203B41FA5}">
                      <a16:colId xmlns:a16="http://schemas.microsoft.com/office/drawing/2014/main" val="3422353075"/>
                    </a:ext>
                  </a:extLst>
                </a:gridCol>
                <a:gridCol w="3259997">
                  <a:extLst>
                    <a:ext uri="{9D8B030D-6E8A-4147-A177-3AD203B41FA5}">
                      <a16:colId xmlns:a16="http://schemas.microsoft.com/office/drawing/2014/main" val="3727664918"/>
                    </a:ext>
                  </a:extLst>
                </a:gridCol>
              </a:tblGrid>
              <a:tr h="1432560">
                <a:tc>
                  <a:txBody>
                    <a:bodyPr/>
                    <a:lstStyle/>
                    <a:p>
                      <a:pPr algn="ctr"/>
                      <a:r>
                        <a:rPr lang="fr-FR" sz="1600" b="0" i="0" kern="1200">
                          <a:solidFill>
                            <a:schemeClr val="dk1"/>
                          </a:solidFill>
                          <a:effectLst/>
                          <a:latin typeface="+mn-lt"/>
                          <a:ea typeface="+mn-ea"/>
                          <a:cs typeface="+mn-cs"/>
                        </a:rPr>
                        <a:t>⚙️</a:t>
                      </a:r>
                      <a:r>
                        <a:rPr lang="fr-FR" sz="1400"/>
                        <a:t>Exploitation</a:t>
                      </a:r>
                      <a:r>
                        <a:rPr lang="fr-FR" sz="1600"/>
                        <a:t> </a:t>
                      </a:r>
                    </a:p>
                  </a:txBody>
                  <a:tcPr anchor="ctr">
                    <a:lnR w="12700" cmpd="sng">
                      <a:noFill/>
                    </a:lnR>
                    <a:solidFill>
                      <a:schemeClr val="tx1">
                        <a:lumMod val="20000"/>
                        <a:lumOff val="80000"/>
                      </a:schemeClr>
                    </a:solidFill>
                  </a:tcPr>
                </a:tc>
                <a:tc>
                  <a:txBody>
                    <a:bodyPr/>
                    <a:lstStyle/>
                    <a:p>
                      <a:pPr marL="171450" indent="-171450" algn="l">
                        <a:buFont typeface="Arial" panose="020B0604020202020204" pitchFamily="34" charset="0"/>
                        <a:buChar char="•"/>
                      </a:pPr>
                      <a:r>
                        <a:rPr lang="fr-FR" sz="1000" kern="1200">
                          <a:solidFill>
                            <a:schemeClr val="dk1"/>
                          </a:solidFill>
                          <a:latin typeface="+mn-lt"/>
                          <a:ea typeface="+mn-ea"/>
                          <a:cs typeface="+mn-cs"/>
                        </a:rPr>
                        <a:t>Gestion de l’achat et de la refacturation des licences</a:t>
                      </a: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fontAlgn="base">
                        <a:buFont typeface="Arial" panose="020B0604020202020204" pitchFamily="34" charset="0"/>
                        <a:buChar char="•"/>
                      </a:pPr>
                      <a:r>
                        <a:rPr lang="fr-FR" sz="1000" kern="1200">
                          <a:solidFill>
                            <a:schemeClr val="dk1"/>
                          </a:solidFill>
                          <a:latin typeface="+mn-lt"/>
                          <a:ea typeface="+mn-ea"/>
                          <a:cs typeface="+mn-cs"/>
                        </a:rPr>
                        <a:t>Création d’un environnement « Citizen IT »</a:t>
                      </a:r>
                      <a:r>
                        <a:rPr lang="en-US" sz="1000" kern="1200">
                          <a:solidFill>
                            <a:schemeClr val="dk1"/>
                          </a:solidFill>
                          <a:latin typeface="+mn-lt"/>
                          <a:ea typeface="+mn-ea"/>
                          <a:cs typeface="+mn-cs"/>
                        </a:rPr>
                        <a:t>​</a:t>
                      </a:r>
                    </a:p>
                    <a:p>
                      <a:pPr marL="171450" indent="-171450" rtl="0" fontAlgn="base">
                        <a:buFont typeface="Arial" panose="020B0604020202020204" pitchFamily="34" charset="0"/>
                        <a:buChar char="•"/>
                      </a:pPr>
                      <a:r>
                        <a:rPr lang="fr-FR" sz="1000" kern="1200">
                          <a:solidFill>
                            <a:schemeClr val="dk1"/>
                          </a:solidFill>
                          <a:latin typeface="+mn-lt"/>
                          <a:ea typeface="+mn-ea"/>
                          <a:cs typeface="+mn-cs"/>
                        </a:rPr>
                        <a:t>Création d’un environnement « IT </a:t>
                      </a:r>
                      <a:r>
                        <a:rPr lang="fr-FR" sz="1000" kern="1200" err="1">
                          <a:solidFill>
                            <a:schemeClr val="dk1"/>
                          </a:solidFill>
                          <a:latin typeface="+mn-lt"/>
                          <a:ea typeface="+mn-ea"/>
                          <a:cs typeface="+mn-cs"/>
                        </a:rPr>
                        <a:t>Factory</a:t>
                      </a:r>
                      <a:r>
                        <a:rPr lang="fr-FR" sz="1000" kern="1200">
                          <a:solidFill>
                            <a:schemeClr val="dk1"/>
                          </a:solidFill>
                          <a:latin typeface="+mn-lt"/>
                          <a:ea typeface="+mn-ea"/>
                          <a:cs typeface="+mn-cs"/>
                        </a:rPr>
                        <a:t> – Dev / Prod »</a:t>
                      </a:r>
                      <a:r>
                        <a:rPr lang="en-US" sz="1000" kern="1200">
                          <a:solidFill>
                            <a:schemeClr val="dk1"/>
                          </a:solidFill>
                          <a:latin typeface="+mn-lt"/>
                          <a:ea typeface="+mn-ea"/>
                          <a:cs typeface="+mn-cs"/>
                        </a:rPr>
                        <a:t>​</a:t>
                      </a:r>
                    </a:p>
                    <a:p>
                      <a:pPr marL="171450" indent="-171450" rtl="0" fontAlgn="base">
                        <a:buFont typeface="Arial" panose="020B0604020202020204" pitchFamily="34" charset="0"/>
                        <a:buChar char="•"/>
                      </a:pPr>
                      <a:r>
                        <a:rPr lang="fr-FR" sz="1000" kern="1200">
                          <a:solidFill>
                            <a:schemeClr val="dk1"/>
                          </a:solidFill>
                          <a:latin typeface="+mn-lt"/>
                          <a:ea typeface="+mn-ea"/>
                          <a:cs typeface="+mn-cs"/>
                        </a:rPr>
                        <a:t>Création d’un environnement « Projet spécifique »</a:t>
                      </a:r>
                      <a:r>
                        <a:rPr lang="en-US" sz="1000" kern="1200">
                          <a:solidFill>
                            <a:schemeClr val="dk1"/>
                          </a:solidFill>
                          <a:latin typeface="+mn-lt"/>
                          <a:ea typeface="+mn-ea"/>
                          <a:cs typeface="+mn-cs"/>
                        </a:rPr>
                        <a:t>​</a:t>
                      </a:r>
                    </a:p>
                    <a:p>
                      <a:pPr marL="171450" indent="-171450" rtl="0" fontAlgn="base">
                        <a:buFont typeface="Arial" panose="020B0604020202020204" pitchFamily="34" charset="0"/>
                        <a:buChar char="•"/>
                      </a:pPr>
                      <a:r>
                        <a:rPr lang="fr-FR" sz="1000" kern="1200">
                          <a:solidFill>
                            <a:schemeClr val="dk1"/>
                          </a:solidFill>
                          <a:latin typeface="+mn-lt"/>
                          <a:ea typeface="+mn-ea"/>
                          <a:cs typeface="+mn-cs"/>
                        </a:rPr>
                        <a:t>Création / Mise à jour d’une DLP </a:t>
                      </a:r>
                      <a:r>
                        <a:rPr lang="en-US" sz="1000" kern="1200">
                          <a:solidFill>
                            <a:schemeClr val="dk1"/>
                          </a:solidFill>
                          <a:latin typeface="+mn-lt"/>
                          <a:ea typeface="+mn-ea"/>
                          <a:cs typeface="+mn-cs"/>
                        </a:rPr>
                        <a:t>​</a:t>
                      </a:r>
                    </a:p>
                    <a:p>
                      <a:pPr marL="171450" indent="-171450" rtl="0" fontAlgn="base">
                        <a:buFont typeface="Arial" panose="020B0604020202020204" pitchFamily="34" charset="0"/>
                        <a:buChar char="•"/>
                      </a:pPr>
                      <a:r>
                        <a:rPr lang="fr-FR" sz="1000" kern="1200">
                          <a:solidFill>
                            <a:schemeClr val="dk1"/>
                          </a:solidFill>
                          <a:latin typeface="+mn-lt"/>
                          <a:ea typeface="+mn-ea"/>
                          <a:cs typeface="+mn-cs"/>
                        </a:rPr>
                        <a:t>Création/Suppression d’un environnement « </a:t>
                      </a:r>
                      <a:r>
                        <a:rPr lang="fr-FR" sz="1000" kern="1200" err="1">
                          <a:solidFill>
                            <a:schemeClr val="dk1"/>
                          </a:solidFill>
                          <a:latin typeface="+mn-lt"/>
                          <a:ea typeface="+mn-ea"/>
                          <a:cs typeface="+mn-cs"/>
                        </a:rPr>
                        <a:t>Dataverse</a:t>
                      </a:r>
                      <a:r>
                        <a:rPr lang="fr-FR" sz="1000" kern="1200">
                          <a:solidFill>
                            <a:schemeClr val="dk1"/>
                          </a:solidFill>
                          <a:latin typeface="+mn-lt"/>
                          <a:ea typeface="+mn-ea"/>
                          <a:cs typeface="+mn-cs"/>
                        </a:rPr>
                        <a:t> for Teams »</a:t>
                      </a:r>
                      <a:endParaRPr lang="en-US"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Mise à disposition d’un compte « non-utilisateur » pour exécuter des flux</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Gestion des licences utilisateurs (assignation/retrait)</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ctivation/Retrait du service PP utilisateur</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jout/Suppression du droit maker à un utilisateur</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jout/Suppression d’un </a:t>
                      </a:r>
                      <a:r>
                        <a:rPr lang="fr-FR" sz="1000" kern="1200" err="1">
                          <a:solidFill>
                            <a:schemeClr val="dk1"/>
                          </a:solidFill>
                          <a:latin typeface="+mn-lt"/>
                          <a:ea typeface="+mn-ea"/>
                          <a:cs typeface="+mn-cs"/>
                        </a:rPr>
                        <a:t>environment</a:t>
                      </a:r>
                      <a:r>
                        <a:rPr lang="fr-FR" sz="1000" kern="1200">
                          <a:solidFill>
                            <a:schemeClr val="dk1"/>
                          </a:solidFill>
                          <a:latin typeface="+mn-lt"/>
                          <a:ea typeface="+mn-ea"/>
                          <a:cs typeface="+mn-cs"/>
                        </a:rPr>
                        <a:t> admin</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Export/Import d’un flux/application d’un environnement à l’autre</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Restaurer une application/flux supprimé</a:t>
                      </a:r>
                      <a:r>
                        <a:rPr lang="en-US" sz="1000" kern="1200">
                          <a:solidFill>
                            <a:schemeClr val="dk1"/>
                          </a:solidFill>
                          <a:latin typeface="+mn-lt"/>
                          <a:ea typeface="+mn-ea"/>
                          <a:cs typeface="+mn-cs"/>
                        </a:rPr>
                        <a:t>​</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7975190"/>
                  </a:ext>
                </a:extLst>
              </a:tr>
              <a:tr h="1432560">
                <a:tc>
                  <a:txBody>
                    <a:bodyPr/>
                    <a:lstStyle/>
                    <a:p>
                      <a:pPr algn="ctr"/>
                      <a:r>
                        <a:rPr lang="fr-FR" sz="1600" b="0" i="0" kern="1200">
                          <a:solidFill>
                            <a:schemeClr val="dk1"/>
                          </a:solidFill>
                          <a:effectLst/>
                          <a:latin typeface="+mn-lt"/>
                          <a:ea typeface="+mn-ea"/>
                          <a:cs typeface="+mn-cs"/>
                        </a:rPr>
                        <a:t>🔎 </a:t>
                      </a:r>
                      <a:r>
                        <a:rPr lang="fr-FR" sz="1400"/>
                        <a:t>Supervision et contrôle </a:t>
                      </a:r>
                      <a:endParaRPr lang="fr-FR" sz="1600"/>
                    </a:p>
                  </a:txBody>
                  <a:tcPr anchor="ctr">
                    <a:lnR w="12700" cmpd="sng">
                      <a:noFill/>
                    </a:lnR>
                    <a:solidFill>
                      <a:schemeClr val="tx1">
                        <a:lumMod val="20000"/>
                        <a:lumOff val="80000"/>
                      </a:schemeClr>
                    </a:solidFill>
                  </a:tcPr>
                </a:tc>
                <a:tc>
                  <a:txBody>
                    <a:bodyPr/>
                    <a:lstStyle/>
                    <a:p>
                      <a:pPr marL="171450" indent="-171450" algn="l">
                        <a:buFont typeface="Arial" panose="020B0604020202020204" pitchFamily="34" charset="0"/>
                        <a:buChar char="•"/>
                      </a:pPr>
                      <a:r>
                        <a:rPr lang="fr-FR" sz="1000" kern="1200">
                          <a:solidFill>
                            <a:schemeClr val="dk1"/>
                          </a:solidFill>
                          <a:latin typeface="+mn-lt"/>
                          <a:ea typeface="+mn-ea"/>
                          <a:cs typeface="+mn-cs"/>
                        </a:rPr>
                        <a:t>Processus de mise à jour du </a:t>
                      </a:r>
                      <a:r>
                        <a:rPr lang="fr-FR" sz="1000" kern="1200" err="1">
                          <a:solidFill>
                            <a:schemeClr val="dk1"/>
                          </a:solidFill>
                          <a:latin typeface="+mn-lt"/>
                          <a:ea typeface="+mn-ea"/>
                          <a:cs typeface="+mn-cs"/>
                        </a:rPr>
                        <a:t>CoE</a:t>
                      </a:r>
                      <a:endParaRPr lang="fr-FR" sz="1000" kern="1200">
                        <a:solidFill>
                          <a:schemeClr val="dk1"/>
                        </a:solidFill>
                        <a:latin typeface="+mn-lt"/>
                        <a:ea typeface="+mn-ea"/>
                        <a:cs typeface="+mn-cs"/>
                      </a:endParaRPr>
                    </a:p>
                    <a:p>
                      <a:pPr marL="171450" indent="-171450" algn="l" rtl="0" fontAlgn="base">
                        <a:buFont typeface="Arial" panose="020B0604020202020204" pitchFamily="34" charset="0"/>
                        <a:buChar char="•"/>
                      </a:pPr>
                      <a:r>
                        <a:rPr lang="fr-FR" sz="1000" kern="1200">
                          <a:solidFill>
                            <a:schemeClr val="dk1"/>
                          </a:solidFill>
                          <a:latin typeface="+mn-lt"/>
                          <a:ea typeface="+mn-ea"/>
                          <a:cs typeface="+mn-cs"/>
                        </a:rPr>
                        <a:t>Suivi et monitoring de l’état du service Power Platform</a:t>
                      </a:r>
                      <a:r>
                        <a:rPr lang="en-US" sz="1000" kern="1200">
                          <a:solidFill>
                            <a:schemeClr val="dk1"/>
                          </a:solidFill>
                          <a:latin typeface="+mn-lt"/>
                          <a:ea typeface="+mn-ea"/>
                          <a:cs typeface="+mn-cs"/>
                        </a:rPr>
                        <a:t>​</a:t>
                      </a:r>
                    </a:p>
                    <a:p>
                      <a:pPr marL="171450" indent="-171450" algn="l" rtl="0" fontAlgn="base">
                        <a:buFont typeface="Arial" panose="020B0604020202020204" pitchFamily="34" charset="0"/>
                        <a:buChar char="•"/>
                      </a:pPr>
                      <a:r>
                        <a:rPr lang="fr-FR" sz="1000" kern="1200">
                          <a:solidFill>
                            <a:schemeClr val="dk1"/>
                          </a:solidFill>
                          <a:latin typeface="+mn-lt"/>
                          <a:ea typeface="+mn-ea"/>
                          <a:cs typeface="+mn-cs"/>
                        </a:rPr>
                        <a:t>Suivi du stockage disponible &amp; consommé sur la plateforme</a:t>
                      </a:r>
                      <a:r>
                        <a:rPr lang="en-US" sz="1000" kern="1200">
                          <a:solidFill>
                            <a:schemeClr val="dk1"/>
                          </a:solidFill>
                          <a:latin typeface="+mn-lt"/>
                          <a:ea typeface="+mn-ea"/>
                          <a:cs typeface="+mn-cs"/>
                        </a:rPr>
                        <a:t>​</a:t>
                      </a:r>
                    </a:p>
                    <a:p>
                      <a:pPr marL="171450" indent="-171450" algn="l" rtl="0" fontAlgn="base">
                        <a:buFont typeface="Arial" panose="020B0604020202020204" pitchFamily="34" charset="0"/>
                        <a:buChar char="•"/>
                      </a:pPr>
                      <a:r>
                        <a:rPr lang="fr-FR" sz="1000" kern="1200">
                          <a:solidFill>
                            <a:schemeClr val="dk1"/>
                          </a:solidFill>
                          <a:latin typeface="+mn-lt"/>
                          <a:ea typeface="+mn-ea"/>
                          <a:cs typeface="+mn-cs"/>
                        </a:rPr>
                        <a:t>Processus d’escalade &amp; de gestion des incidents sur la plateforme</a:t>
                      </a:r>
                      <a:r>
                        <a:rPr lang="en-US" sz="1000" kern="1200">
                          <a:solidFill>
                            <a:schemeClr val="dk1"/>
                          </a:solidFill>
                          <a:latin typeface="+mn-lt"/>
                          <a:ea typeface="+mn-ea"/>
                          <a:cs typeface="+mn-cs"/>
                        </a:rPr>
                        <a:t>​</a:t>
                      </a:r>
                    </a:p>
                  </a:txBody>
                  <a:tcPr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jout de stockage à un environnement</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Mise à disposition d’indicateurs de suivi spécifique non disponibles dans le PPAV</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Mise en œuvre et mise à disposition des PPAV aux </a:t>
                      </a:r>
                      <a:r>
                        <a:rPr lang="fr-FR" sz="1000" kern="1200" err="1">
                          <a:solidFill>
                            <a:schemeClr val="dk1"/>
                          </a:solidFill>
                          <a:latin typeface="+mn-lt"/>
                          <a:ea typeface="+mn-ea"/>
                          <a:cs typeface="+mn-cs"/>
                        </a:rPr>
                        <a:t>environment</a:t>
                      </a:r>
                      <a:r>
                        <a:rPr lang="fr-FR" sz="1000" kern="1200">
                          <a:solidFill>
                            <a:schemeClr val="dk1"/>
                          </a:solidFill>
                          <a:latin typeface="+mn-lt"/>
                          <a:ea typeface="+mn-ea"/>
                          <a:cs typeface="+mn-cs"/>
                        </a:rPr>
                        <a:t> maker</a:t>
                      </a:r>
                      <a:endParaRPr lang="en-US" sz="10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jout d’un utilisateur à une application</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jout d’un « co-propriétaire» à une application/flux (orpheline ou non)</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Mise à disposition de mécanismes d’</a:t>
                      </a:r>
                      <a:r>
                        <a:rPr lang="fr-FR" sz="1000" kern="1200" err="1">
                          <a:solidFill>
                            <a:schemeClr val="dk1"/>
                          </a:solidFill>
                          <a:latin typeface="+mn-lt"/>
                          <a:ea typeface="+mn-ea"/>
                          <a:cs typeface="+mn-cs"/>
                        </a:rPr>
                        <a:t>alerting</a:t>
                      </a:r>
                      <a:r>
                        <a:rPr lang="fr-FR" sz="1000" kern="1200">
                          <a:solidFill>
                            <a:schemeClr val="dk1"/>
                          </a:solidFill>
                          <a:latin typeface="+mn-lt"/>
                          <a:ea typeface="+mn-ea"/>
                          <a:cs typeface="+mn-cs"/>
                        </a:rPr>
                        <a:t> pour le suivi des applications/flux orphelins , application/flux inactifs, application/flux non conforme</a:t>
                      </a:r>
                      <a:r>
                        <a:rPr lang="en-US" sz="1000" kern="1200">
                          <a:solidFill>
                            <a:schemeClr val="dk1"/>
                          </a:solidFill>
                          <a:latin typeface="+mn-lt"/>
                          <a:ea typeface="+mn-ea"/>
                          <a:cs typeface="+mn-cs"/>
                        </a:rPr>
                        <a:t>​</a:t>
                      </a:r>
                    </a:p>
                    <a:p>
                      <a:endParaRPr lang="fr-FR"/>
                    </a:p>
                  </a:txBody>
                  <a:tcPr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5102412"/>
                  </a:ext>
                </a:extLst>
              </a:tr>
              <a:tr h="1432560">
                <a:tc>
                  <a:txBody>
                    <a:bodyPr/>
                    <a:lstStyle/>
                    <a:p>
                      <a:pPr algn="ctr"/>
                      <a:r>
                        <a:rPr lang="fr-FR" sz="1400" b="0" i="0" kern="1200">
                          <a:solidFill>
                            <a:schemeClr val="dk1"/>
                          </a:solidFill>
                          <a:effectLst/>
                          <a:latin typeface="+mn-lt"/>
                          <a:ea typeface="+mn-ea"/>
                          <a:cs typeface="+mn-cs"/>
                        </a:rPr>
                        <a:t>🚀</a:t>
                      </a:r>
                      <a:r>
                        <a:rPr lang="fr-FR" sz="1400"/>
                        <a:t>Amélioration continue</a:t>
                      </a:r>
                    </a:p>
                  </a:txBody>
                  <a:tcPr anchor="ctr">
                    <a:lnR w="12700" cmpd="sng">
                      <a:noFill/>
                    </a:lnR>
                    <a:solidFill>
                      <a:schemeClr val="tx1">
                        <a:lumMod val="20000"/>
                        <a:lumOff val="80000"/>
                      </a:schemeClr>
                    </a:solidFill>
                  </a:tcPr>
                </a:tc>
                <a:tc>
                  <a:txBody>
                    <a:bodyPr/>
                    <a:lstStyle/>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Animation d’une instance « inter-entité PO Power Platform »</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Suivi continu de l’évolution des produits Power Platform &amp; roadmap associée</a:t>
                      </a:r>
                      <a:r>
                        <a:rPr lang="en-US" sz="1000" kern="1200">
                          <a:solidFill>
                            <a:schemeClr val="dk1"/>
                          </a:solidFill>
                          <a:latin typeface="+mn-lt"/>
                          <a:ea typeface="+mn-ea"/>
                          <a:cs typeface="+mn-cs"/>
                        </a:rPr>
                        <a:t>​</a:t>
                      </a:r>
                    </a:p>
                    <a:p>
                      <a:pPr marL="171450" indent="-171450" algn="l" defTabSz="914400" rtl="0" eaLnBrk="1" fontAlgn="base" latinLnBrk="0" hangingPunct="1">
                        <a:buFont typeface="Arial" panose="020B0604020202020204" pitchFamily="34" charset="0"/>
                        <a:buChar char="•"/>
                      </a:pPr>
                      <a:r>
                        <a:rPr lang="fr-FR" sz="1000" kern="1200">
                          <a:solidFill>
                            <a:schemeClr val="dk1"/>
                          </a:solidFill>
                          <a:latin typeface="+mn-lt"/>
                          <a:ea typeface="+mn-ea"/>
                          <a:cs typeface="+mn-cs"/>
                        </a:rPr>
                        <a:t>Instruction d’une demande entrante hors cadre Offre v1</a:t>
                      </a:r>
                      <a:endParaRPr lang="en-US" sz="1000" kern="1200">
                        <a:solidFill>
                          <a:schemeClr val="dk1"/>
                        </a:solidFill>
                        <a:latin typeface="+mn-lt"/>
                        <a:ea typeface="+mn-ea"/>
                        <a:cs typeface="+mn-cs"/>
                      </a:endParaRPr>
                    </a:p>
                  </a:txBody>
                  <a:tcPr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kern="1200">
                          <a:solidFill>
                            <a:schemeClr val="dk1"/>
                          </a:solidFill>
                          <a:latin typeface="+mn-lt"/>
                          <a:ea typeface="+mn-ea"/>
                          <a:cs typeface="+mn-cs"/>
                        </a:rPr>
                        <a:t>Mise à disposition du </a:t>
                      </a:r>
                      <a:r>
                        <a:rPr lang="fr-FR" sz="1000" kern="1200" err="1">
                          <a:solidFill>
                            <a:schemeClr val="dk1"/>
                          </a:solidFill>
                          <a:latin typeface="+mn-lt"/>
                          <a:ea typeface="+mn-ea"/>
                          <a:cs typeface="+mn-cs"/>
                        </a:rPr>
                        <a:t>video</a:t>
                      </a:r>
                      <a:r>
                        <a:rPr lang="fr-FR" sz="1000" kern="1200">
                          <a:solidFill>
                            <a:schemeClr val="dk1"/>
                          </a:solidFill>
                          <a:latin typeface="+mn-lt"/>
                          <a:ea typeface="+mn-ea"/>
                          <a:cs typeface="+mn-cs"/>
                        </a:rPr>
                        <a:t> Hub pour les entités (module de change/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fr-FR" sz="1000" kern="1200">
                          <a:solidFill>
                            <a:schemeClr val="dk1"/>
                          </a:solidFill>
                          <a:latin typeface="+mn-lt"/>
                          <a:ea typeface="+mn-ea"/>
                          <a:cs typeface="+mn-cs"/>
                        </a:rPr>
                        <a:t>Mise en place de « </a:t>
                      </a:r>
                      <a:r>
                        <a:rPr lang="fr-FR" sz="1000" kern="1200" err="1">
                          <a:solidFill>
                            <a:schemeClr val="dk1"/>
                          </a:solidFill>
                          <a:latin typeface="+mn-lt"/>
                          <a:ea typeface="+mn-ea"/>
                          <a:cs typeface="+mn-cs"/>
                        </a:rPr>
                        <a:t>Theme</a:t>
                      </a:r>
                      <a:r>
                        <a:rPr lang="fr-FR" sz="1000" kern="1200">
                          <a:solidFill>
                            <a:schemeClr val="dk1"/>
                          </a:solidFill>
                          <a:latin typeface="+mn-lt"/>
                          <a:ea typeface="+mn-ea"/>
                          <a:cs typeface="+mn-cs"/>
                        </a:rPr>
                        <a:t> editor » pour les entités (</a:t>
                      </a:r>
                      <a:r>
                        <a:rPr lang="fr-FR" sz="1000" kern="1200" err="1">
                          <a:solidFill>
                            <a:schemeClr val="dk1"/>
                          </a:solidFill>
                          <a:latin typeface="+mn-lt"/>
                          <a:ea typeface="+mn-ea"/>
                          <a:cs typeface="+mn-cs"/>
                        </a:rPr>
                        <a:t>template</a:t>
                      </a:r>
                      <a:r>
                        <a:rPr lang="fr-FR" sz="1000" kern="1200">
                          <a:solidFill>
                            <a:schemeClr val="dk1"/>
                          </a:solidFill>
                          <a:latin typeface="+mn-lt"/>
                          <a:ea typeface="+mn-ea"/>
                          <a:cs typeface="+mn-cs"/>
                        </a:rPr>
                        <a:t> types)</a:t>
                      </a:r>
                    </a:p>
                  </a:txBody>
                  <a:tcPr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9226842"/>
                  </a:ext>
                </a:extLst>
              </a:tr>
            </a:tbl>
          </a:graphicData>
        </a:graphic>
      </p:graphicFrame>
      <p:sp>
        <p:nvSpPr>
          <p:cNvPr id="13" name="Google Shape;660;p44">
            <a:extLst>
              <a:ext uri="{FF2B5EF4-FFF2-40B4-BE49-F238E27FC236}">
                <a16:creationId xmlns:a16="http://schemas.microsoft.com/office/drawing/2014/main" id="{6C4EE186-1C4E-FE7D-DE5F-2D0356054B84}"/>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4" name="Picture 2" descr="Power Platform 2021 in der Übersicht">
            <a:extLst>
              <a:ext uri="{FF2B5EF4-FFF2-40B4-BE49-F238E27FC236}">
                <a16:creationId xmlns:a16="http://schemas.microsoft.com/office/drawing/2014/main" id="{198AAB14-3D65-9410-80B3-1AEBD27BB5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 coins arrondis 14">
            <a:extLst>
              <a:ext uri="{FF2B5EF4-FFF2-40B4-BE49-F238E27FC236}">
                <a16:creationId xmlns:a16="http://schemas.microsoft.com/office/drawing/2014/main" id="{98104BCA-84E7-3ED4-C615-788DD6127E42}"/>
              </a:ext>
            </a:extLst>
          </p:cNvPr>
          <p:cNvSpPr/>
          <p:nvPr/>
        </p:nvSpPr>
        <p:spPr>
          <a:xfrm>
            <a:off x="4137248" y="5987078"/>
            <a:ext cx="7834792" cy="252000"/>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a:solidFill>
                  <a:schemeClr val="bg1"/>
                </a:solidFill>
              </a:rPr>
              <a:t>Pour voir les détails de chaque processus, merci de consulter le document </a:t>
            </a:r>
            <a:r>
              <a:rPr lang="fr-FR" sz="1000" i="1">
                <a:solidFill>
                  <a:schemeClr val="bg1"/>
                </a:solidFill>
              </a:rPr>
              <a:t>« 202309 - Power Platform - Formalisation des processus »  </a:t>
            </a:r>
            <a:endParaRPr lang="fr-FR" sz="1000">
              <a:solidFill>
                <a:schemeClr val="bg1"/>
              </a:solidFill>
            </a:endParaRPr>
          </a:p>
        </p:txBody>
      </p:sp>
    </p:spTree>
    <p:extLst>
      <p:ext uri="{BB962C8B-B14F-4D97-AF65-F5344CB8AC3E}">
        <p14:creationId xmlns:p14="http://schemas.microsoft.com/office/powerpoint/2010/main" val="172598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6CE988-BC9C-F460-ECA0-48BF89DD5D43}"/>
              </a:ext>
            </a:extLst>
          </p:cNvPr>
          <p:cNvSpPr>
            <a:spLocks noGrp="1"/>
          </p:cNvSpPr>
          <p:nvPr>
            <p:ph type="title"/>
          </p:nvPr>
        </p:nvSpPr>
        <p:spPr>
          <a:xfrm>
            <a:off x="0" y="235489"/>
            <a:ext cx="10800000" cy="900000"/>
          </a:xfrm>
        </p:spPr>
        <p:txBody>
          <a:bodyPr/>
          <a:lstStyle/>
          <a:p>
            <a:r>
              <a:rPr lang="fr-FR"/>
              <a:t>FOCUS SUR LE Coût de l’offre V1</a:t>
            </a:r>
          </a:p>
        </p:txBody>
      </p:sp>
      <p:sp>
        <p:nvSpPr>
          <p:cNvPr id="3" name="Espace réservé du numéro de diapositive 2">
            <a:extLst>
              <a:ext uri="{FF2B5EF4-FFF2-40B4-BE49-F238E27FC236}">
                <a16:creationId xmlns:a16="http://schemas.microsoft.com/office/drawing/2014/main" id="{560A30CA-2DB9-155E-1C31-95C7544441A8}"/>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sp>
        <p:nvSpPr>
          <p:cNvPr id="4" name="Espace réservé de la date 3">
            <a:extLst>
              <a:ext uri="{FF2B5EF4-FFF2-40B4-BE49-F238E27FC236}">
                <a16:creationId xmlns:a16="http://schemas.microsoft.com/office/drawing/2014/main" id="{45662550-48F2-A3B0-1501-5EE40EE44164}"/>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FCFA6B-F9A9-4602-AA4A-1430ECF9226E}" type="datetime1">
              <a:rPr kumimoji="0" lang="fr-FR" sz="1000" b="1" i="0" u="none" strike="noStrike" kern="1200" cap="none" spc="0" normalizeH="0" baseline="0" noProof="0" smtClean="0">
                <a:ln>
                  <a:noFill/>
                </a:ln>
                <a:solidFill>
                  <a:srgbClr val="009597"/>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0/2023</a:t>
            </a:fld>
            <a:endParaRPr kumimoji="0" lang="fr-FR" sz="1000" b="1" i="0" u="none" strike="noStrike" kern="1200" cap="none" spc="0" normalizeH="0" baseline="0" noProof="0">
              <a:ln>
                <a:noFill/>
              </a:ln>
              <a:solidFill>
                <a:srgbClr val="009597"/>
              </a:solidFill>
              <a:effectLst/>
              <a:uLnTx/>
              <a:uFillTx/>
              <a:latin typeface="Arial"/>
              <a:ea typeface="+mn-ea"/>
              <a:cs typeface="+mn-cs"/>
            </a:endParaRPr>
          </a:p>
        </p:txBody>
      </p:sp>
      <p:graphicFrame>
        <p:nvGraphicFramePr>
          <p:cNvPr id="8" name="Tableau 8">
            <a:extLst>
              <a:ext uri="{FF2B5EF4-FFF2-40B4-BE49-F238E27FC236}">
                <a16:creationId xmlns:a16="http://schemas.microsoft.com/office/drawing/2014/main" id="{B0A256B4-05B6-B8F7-F51E-37A39AC24E80}"/>
              </a:ext>
            </a:extLst>
          </p:cNvPr>
          <p:cNvGraphicFramePr>
            <a:graphicFrameLocks noGrp="1"/>
          </p:cNvGraphicFramePr>
          <p:nvPr>
            <p:extLst>
              <p:ext uri="{D42A27DB-BD31-4B8C-83A1-F6EECF244321}">
                <p14:modId xmlns:p14="http://schemas.microsoft.com/office/powerpoint/2010/main" val="3385564713"/>
              </p:ext>
            </p:extLst>
          </p:nvPr>
        </p:nvGraphicFramePr>
        <p:xfrm>
          <a:off x="690146" y="2312338"/>
          <a:ext cx="4518552" cy="1062236"/>
        </p:xfrm>
        <a:graphic>
          <a:graphicData uri="http://schemas.openxmlformats.org/drawingml/2006/table">
            <a:tbl>
              <a:tblPr firstRow="1" bandRow="1">
                <a:tableStyleId>{5C22544A-7EE6-4342-B048-85BDC9FD1C3A}</a:tableStyleId>
              </a:tblPr>
              <a:tblGrid>
                <a:gridCol w="4518552">
                  <a:extLst>
                    <a:ext uri="{9D8B030D-6E8A-4147-A177-3AD203B41FA5}">
                      <a16:colId xmlns:a16="http://schemas.microsoft.com/office/drawing/2014/main" val="694396362"/>
                    </a:ext>
                  </a:extLst>
                </a:gridCol>
              </a:tblGrid>
              <a:tr h="1062236">
                <a:tc>
                  <a:txBody>
                    <a:bodyPr/>
                    <a:lstStyle/>
                    <a:p>
                      <a:pPr algn="ctr"/>
                      <a:r>
                        <a:rPr lang="fr-FR"/>
                        <a:t>Coût </a:t>
                      </a:r>
                      <a:r>
                        <a:rPr lang="fr-FR" u="sng"/>
                        <a:t>global</a:t>
                      </a:r>
                      <a:r>
                        <a:rPr lang="fr-FR"/>
                        <a:t> offre Power Platform V1 : </a:t>
                      </a:r>
                      <a:r>
                        <a:rPr lang="fr-FR" u="sng"/>
                        <a:t>124,6 K </a:t>
                      </a:r>
                      <a:r>
                        <a:rPr lang="fr-FR" sz="1800" b="1" i="0" u="sng">
                          <a:solidFill>
                            <a:srgbClr val="FFFFFF"/>
                          </a:solidFill>
                          <a:effectLst/>
                          <a:latin typeface="Arial" panose="020B0604020202020204" pitchFamily="34" charset="0"/>
                        </a:rPr>
                        <a:t>€ HT</a:t>
                      </a:r>
                      <a:r>
                        <a:rPr lang="fr-FR" sz="1800" b="1" i="0">
                          <a:solidFill>
                            <a:srgbClr val="FFFFFF"/>
                          </a:solidFill>
                          <a:effectLst/>
                          <a:latin typeface="Arial" panose="020B0604020202020204" pitchFamily="34" charset="0"/>
                        </a:rPr>
                        <a:t>​</a:t>
                      </a:r>
                      <a:endParaRPr lang="fr-FR"/>
                    </a:p>
                  </a:txBody>
                  <a:tcPr anchor="ctr">
                    <a:solidFill>
                      <a:schemeClr val="bg2"/>
                    </a:solidFill>
                  </a:tcPr>
                </a:tc>
                <a:extLst>
                  <a:ext uri="{0D108BD9-81ED-4DB2-BD59-A6C34878D82A}">
                    <a16:rowId xmlns:a16="http://schemas.microsoft.com/office/drawing/2014/main" val="2919543480"/>
                  </a:ext>
                </a:extLst>
              </a:tr>
            </a:tbl>
          </a:graphicData>
        </a:graphic>
      </p:graphicFrame>
      <p:sp>
        <p:nvSpPr>
          <p:cNvPr id="9" name="Rectangle 8">
            <a:extLst>
              <a:ext uri="{FF2B5EF4-FFF2-40B4-BE49-F238E27FC236}">
                <a16:creationId xmlns:a16="http://schemas.microsoft.com/office/drawing/2014/main" id="{6447130B-DB7D-E6B2-C4E9-5B3FE558DE4D}"/>
              </a:ext>
            </a:extLst>
          </p:cNvPr>
          <p:cNvSpPr/>
          <p:nvPr/>
        </p:nvSpPr>
        <p:spPr>
          <a:xfrm>
            <a:off x="38291" y="931809"/>
            <a:ext cx="12192000" cy="891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r>
              <a:rPr lang="fr-FR" b="1">
                <a:solidFill>
                  <a:schemeClr val="bg2"/>
                </a:solidFill>
                <a:latin typeface="Arial" panose="020B0604020202020204" pitchFamily="34" charset="0"/>
              </a:rPr>
              <a:t>Toute </a:t>
            </a:r>
            <a:r>
              <a:rPr lang="fr-FR" sz="1800" b="1" i="0" u="none" strike="noStrike">
                <a:solidFill>
                  <a:schemeClr val="bg2"/>
                </a:solidFill>
                <a:effectLst/>
                <a:latin typeface="Arial" panose="020B0604020202020204" pitchFamily="34" charset="0"/>
              </a:rPr>
              <a:t>demande spécifique </a:t>
            </a:r>
            <a:r>
              <a:rPr lang="fr-FR" sz="1800" b="0" i="0" u="none" strike="noStrike">
                <a:solidFill>
                  <a:srgbClr val="707173"/>
                </a:solidFill>
                <a:effectLst/>
                <a:latin typeface="Arial" panose="020B0604020202020204" pitchFamily="34" charset="0"/>
              </a:rPr>
              <a:t>sortant du cadre de l’offre de service sera traitée en mode projet avec </a:t>
            </a:r>
            <a:r>
              <a:rPr lang="fr-FR" sz="1800" b="1" i="0" u="none" strike="noStrike">
                <a:solidFill>
                  <a:schemeClr val="bg2"/>
                </a:solidFill>
                <a:effectLst/>
                <a:latin typeface="Arial" panose="020B0604020202020204" pitchFamily="34" charset="0"/>
              </a:rPr>
              <a:t>un budget spécifique construit </a:t>
            </a:r>
            <a:r>
              <a:rPr lang="fr-FR" sz="1800" b="1" i="0" u="none" strike="noStrike" err="1">
                <a:solidFill>
                  <a:schemeClr val="bg2"/>
                </a:solidFill>
                <a:effectLst/>
                <a:latin typeface="Arial" panose="020B0604020202020204" pitchFamily="34" charset="0"/>
              </a:rPr>
              <a:t>conjoitement</a:t>
            </a:r>
            <a:r>
              <a:rPr lang="fr-FR" sz="1800" b="1" i="0" u="none" strike="noStrike">
                <a:solidFill>
                  <a:schemeClr val="bg2"/>
                </a:solidFill>
                <a:effectLst/>
                <a:latin typeface="Arial" panose="020B0604020202020204" pitchFamily="34" charset="0"/>
              </a:rPr>
              <a:t> avec le socle DWP, le cluster &amp; l’entité</a:t>
            </a:r>
            <a:endParaRPr lang="en-US" sz="1600" b="1" i="0">
              <a:solidFill>
                <a:schemeClr val="bg2"/>
              </a:solidFill>
              <a:effectLst/>
              <a:latin typeface="Arial" panose="020B0604020202020204" pitchFamily="34" charset="0"/>
            </a:endParaRPr>
          </a:p>
          <a:p>
            <a:pPr algn="ctr">
              <a:spcBef>
                <a:spcPts val="100"/>
              </a:spcBef>
              <a:spcAft>
                <a:spcPts val="100"/>
              </a:spcAft>
              <a:buClr>
                <a:srgbClr val="6E9615"/>
              </a:buClr>
              <a:defRPr/>
            </a:pPr>
            <a:endParaRPr kumimoji="0" lang="fr-FR" sz="1600" b="1" i="0" u="none" strike="noStrike" kern="1200" cap="none" spc="0" normalizeH="0" baseline="0" noProof="0">
              <a:ln>
                <a:noFill/>
              </a:ln>
              <a:solidFill>
                <a:schemeClr val="bg2"/>
              </a:solidFill>
              <a:effectLst/>
              <a:uLnTx/>
              <a:uFillTx/>
              <a:latin typeface="Arial"/>
              <a:ea typeface="+mn-ea"/>
              <a:cs typeface="+mn-cs"/>
            </a:endParaRPr>
          </a:p>
        </p:txBody>
      </p:sp>
      <p:graphicFrame>
        <p:nvGraphicFramePr>
          <p:cNvPr id="10" name="Tableau 10">
            <a:extLst>
              <a:ext uri="{FF2B5EF4-FFF2-40B4-BE49-F238E27FC236}">
                <a16:creationId xmlns:a16="http://schemas.microsoft.com/office/drawing/2014/main" id="{8019AA23-3152-FD6C-CA8C-AFC65C4DA104}"/>
              </a:ext>
            </a:extLst>
          </p:cNvPr>
          <p:cNvGraphicFramePr>
            <a:graphicFrameLocks noGrp="1"/>
          </p:cNvGraphicFramePr>
          <p:nvPr>
            <p:extLst>
              <p:ext uri="{D42A27DB-BD31-4B8C-83A1-F6EECF244321}">
                <p14:modId xmlns:p14="http://schemas.microsoft.com/office/powerpoint/2010/main" val="2388554513"/>
              </p:ext>
            </p:extLst>
          </p:nvPr>
        </p:nvGraphicFramePr>
        <p:xfrm>
          <a:off x="2188966" y="4347773"/>
          <a:ext cx="9400192" cy="370840"/>
        </p:xfrm>
        <a:graphic>
          <a:graphicData uri="http://schemas.openxmlformats.org/drawingml/2006/table">
            <a:tbl>
              <a:tblPr firstRow="1" bandRow="1">
                <a:tableStyleId>{5C22544A-7EE6-4342-B048-85BDC9FD1C3A}</a:tableStyleId>
              </a:tblPr>
              <a:tblGrid>
                <a:gridCol w="9400192">
                  <a:extLst>
                    <a:ext uri="{9D8B030D-6E8A-4147-A177-3AD203B41FA5}">
                      <a16:colId xmlns:a16="http://schemas.microsoft.com/office/drawing/2014/main" val="1344958144"/>
                    </a:ext>
                  </a:extLst>
                </a:gridCol>
              </a:tblGrid>
              <a:tr h="370840">
                <a:tc>
                  <a:txBody>
                    <a:bodyPr/>
                    <a:lstStyle/>
                    <a:p>
                      <a:pPr algn="l" rtl="0" fontAlgn="base"/>
                      <a:r>
                        <a:rPr lang="fr-FR" sz="1800" b="0" i="0" u="none" strike="noStrike" kern="1200">
                          <a:solidFill>
                            <a:schemeClr val="bg2"/>
                          </a:solidFill>
                          <a:effectLst/>
                          <a:latin typeface="Arial Rounded MT Bold" panose="020F0704030504030204" pitchFamily="34" charset="0"/>
                          <a:ea typeface="+mn-ea"/>
                          <a:cs typeface="+mn-cs"/>
                        </a:rPr>
                        <a:t>Ce coût est réparti sur chacune des </a:t>
                      </a:r>
                      <a:r>
                        <a:rPr lang="fr-FR" sz="1800" b="0" i="0" u="sng" strike="noStrike" kern="1200">
                          <a:solidFill>
                            <a:schemeClr val="bg2"/>
                          </a:solidFill>
                          <a:effectLst/>
                          <a:latin typeface="Arial Rounded MT Bold" panose="020F0704030504030204" pitchFamily="34" charset="0"/>
                          <a:ea typeface="+mn-ea"/>
                          <a:cs typeface="+mn-cs"/>
                        </a:rPr>
                        <a:t>entités</a:t>
                      </a:r>
                      <a:r>
                        <a:rPr lang="fr-FR" sz="1800" b="0" i="0" u="none" strike="noStrike" kern="1200">
                          <a:solidFill>
                            <a:schemeClr val="bg2"/>
                          </a:solidFill>
                          <a:effectLst/>
                          <a:latin typeface="Arial Rounded MT Bold" panose="020F0704030504030204" pitchFamily="34" charset="0"/>
                          <a:ea typeface="+mn-ea"/>
                          <a:cs typeface="+mn-cs"/>
                        </a:rPr>
                        <a:t> ayant souscrites à l’offre</a:t>
                      </a:r>
                      <a:endParaRPr lang="en-US" sz="1800" b="0" i="0" kern="1200">
                        <a:solidFill>
                          <a:schemeClr val="bg2"/>
                        </a:solidFill>
                        <a:effectLst/>
                        <a:latin typeface="Arial Rounded MT Bold" panose="020F0704030504030204" pitchFamily="34" charset="0"/>
                        <a:ea typeface="+mn-ea"/>
                        <a:cs typeface="+mn-cs"/>
                      </a:endParaRPr>
                    </a:p>
                  </a:txBody>
                  <a:tcPr anchor="ctr">
                    <a:noFill/>
                  </a:tcPr>
                </a:tc>
                <a:extLst>
                  <a:ext uri="{0D108BD9-81ED-4DB2-BD59-A6C34878D82A}">
                    <a16:rowId xmlns:a16="http://schemas.microsoft.com/office/drawing/2014/main" val="3922898136"/>
                  </a:ext>
                </a:extLst>
              </a:tr>
            </a:tbl>
          </a:graphicData>
        </a:graphic>
      </p:graphicFrame>
      <p:sp>
        <p:nvSpPr>
          <p:cNvPr id="11" name="ZoneTexte 7">
            <a:extLst>
              <a:ext uri="{FF2B5EF4-FFF2-40B4-BE49-F238E27FC236}">
                <a16:creationId xmlns:a16="http://schemas.microsoft.com/office/drawing/2014/main" id="{C8F0776A-E337-CA5F-A5E4-051F3C7FF7ED}"/>
              </a:ext>
            </a:extLst>
          </p:cNvPr>
          <p:cNvSpPr txBox="1"/>
          <p:nvPr/>
        </p:nvSpPr>
        <p:spPr>
          <a:xfrm>
            <a:off x="5731436" y="2554412"/>
            <a:ext cx="5770418" cy="1233817"/>
          </a:xfrm>
          <a:prstGeom prst="rect">
            <a:avLst/>
          </a:prstGeom>
          <a:solidFill>
            <a:schemeClr val="bg1">
              <a:lumMod val="95000"/>
            </a:schemeClr>
          </a:solidFill>
        </p:spPr>
        <p:txBody>
          <a:bodyPr wrap="square"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200"/>
              <a:t>Une offre à </a:t>
            </a:r>
            <a:r>
              <a:rPr lang="fr-FR" sz="1200" b="1"/>
              <a:t>coût fixe annuel</a:t>
            </a:r>
          </a:p>
          <a:p>
            <a:pPr marL="285750" indent="-285750">
              <a:buFont typeface="Arial" panose="020B0604020202020204" pitchFamily="34" charset="0"/>
              <a:buChar char="•"/>
            </a:pPr>
            <a:r>
              <a:rPr lang="fr-FR" sz="1200"/>
              <a:t>L’offre  ne dépend des volumes utilisateurs ou applications</a:t>
            </a:r>
          </a:p>
          <a:p>
            <a:pPr marL="285750" indent="-285750">
              <a:buFont typeface="Arial" panose="020B0604020202020204" pitchFamily="34" charset="0"/>
              <a:buChar char="•"/>
            </a:pPr>
            <a:r>
              <a:rPr lang="fr-FR" sz="1200"/>
              <a:t>L’offre est souscrite dès l’instant ou un environnement dédié à l’entité est initialisé</a:t>
            </a:r>
          </a:p>
          <a:p>
            <a:pPr marL="285750" indent="-285750">
              <a:buFont typeface="Arial" panose="020B0604020202020204" pitchFamily="34" charset="0"/>
              <a:buChar char="•"/>
            </a:pPr>
            <a:r>
              <a:rPr lang="fr-FR" sz="1200"/>
              <a:t>L’offre couvre l’ensemble des actions décrites slide 7</a:t>
            </a:r>
          </a:p>
        </p:txBody>
      </p:sp>
      <p:pic>
        <p:nvPicPr>
          <p:cNvPr id="14" name="Image 13" descr="Une image contenant noir, obscurité&#10;&#10;Description générée automatiquement">
            <a:extLst>
              <a:ext uri="{FF2B5EF4-FFF2-40B4-BE49-F238E27FC236}">
                <a16:creationId xmlns:a16="http://schemas.microsoft.com/office/drawing/2014/main" id="{3F615A62-53FB-40FE-3892-432807582B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1242" y="119633"/>
            <a:ext cx="639304" cy="639304"/>
          </a:xfrm>
          <a:prstGeom prst="rect">
            <a:avLst/>
          </a:prstGeom>
        </p:spPr>
      </p:pic>
      <p:sp>
        <p:nvSpPr>
          <p:cNvPr id="15" name="Rectangle 14">
            <a:extLst>
              <a:ext uri="{FF2B5EF4-FFF2-40B4-BE49-F238E27FC236}">
                <a16:creationId xmlns:a16="http://schemas.microsoft.com/office/drawing/2014/main" id="{D031FF0F-3673-1B37-DA0D-8427B048CF7D}"/>
              </a:ext>
            </a:extLst>
          </p:cNvPr>
          <p:cNvSpPr/>
          <p:nvPr/>
        </p:nvSpPr>
        <p:spPr>
          <a:xfrm>
            <a:off x="1351570" y="5091932"/>
            <a:ext cx="9004572" cy="891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fontAlgn="base"/>
            <a:r>
              <a:rPr lang="fr-FR" sz="1600">
                <a:solidFill>
                  <a:srgbClr val="707173"/>
                </a:solidFill>
                <a:latin typeface="Arial" panose="020B0604020202020204" pitchFamily="34" charset="0"/>
              </a:rPr>
              <a:t>A noter qu’il n’y a pas de coût de licence supplémentaire. En effet, le mode de consommation proposé est inclus dans les licences E3 ou E5</a:t>
            </a:r>
            <a:endParaRPr kumimoji="0" lang="fr-FR" sz="1600" b="1" i="0" u="none" strike="noStrike" kern="1200" cap="none" spc="0" normalizeH="0" baseline="0" noProof="0">
              <a:ln>
                <a:noFill/>
              </a:ln>
              <a:solidFill>
                <a:schemeClr val="bg2"/>
              </a:solidFill>
              <a:effectLst/>
              <a:uLnTx/>
              <a:uFillTx/>
              <a:latin typeface="Arial"/>
              <a:ea typeface="+mn-ea"/>
              <a:cs typeface="+mn-cs"/>
            </a:endParaRPr>
          </a:p>
        </p:txBody>
      </p:sp>
      <p:sp>
        <p:nvSpPr>
          <p:cNvPr id="16" name="Google Shape;660;p44">
            <a:extLst>
              <a:ext uri="{FF2B5EF4-FFF2-40B4-BE49-F238E27FC236}">
                <a16:creationId xmlns:a16="http://schemas.microsoft.com/office/drawing/2014/main" id="{8965678E-CB6C-35A5-F402-AAD159B350F7}"/>
              </a:ext>
            </a:extLst>
          </p:cNvPr>
          <p:cNvSpPr/>
          <p:nvPr/>
        </p:nvSpPr>
        <p:spPr>
          <a:xfrm>
            <a:off x="11501854" y="111976"/>
            <a:ext cx="551400" cy="551400"/>
          </a:xfrm>
          <a:prstGeom prst="ellipse">
            <a:avLst/>
          </a:prstGeom>
          <a:solidFill>
            <a:schemeClr val="accent2">
              <a:lumMod val="20000"/>
              <a:lumOff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7" name="Picture 2" descr="Power Platform 2021 in der Übersicht">
            <a:extLst>
              <a:ext uri="{FF2B5EF4-FFF2-40B4-BE49-F238E27FC236}">
                <a16:creationId xmlns:a16="http://schemas.microsoft.com/office/drawing/2014/main" id="{49449010-AC63-E803-06AC-162BCFDB717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700" r="39294" b="71270"/>
          <a:stretch/>
        </p:blipFill>
        <p:spPr bwMode="auto">
          <a:xfrm>
            <a:off x="11589158" y="177812"/>
            <a:ext cx="357825" cy="38950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 coins arrondis 5">
            <a:extLst>
              <a:ext uri="{FF2B5EF4-FFF2-40B4-BE49-F238E27FC236}">
                <a16:creationId xmlns:a16="http://schemas.microsoft.com/office/drawing/2014/main" id="{5C59BDB1-9824-AF09-FB7E-A1D64ADDC127}"/>
              </a:ext>
            </a:extLst>
          </p:cNvPr>
          <p:cNvSpPr/>
          <p:nvPr/>
        </p:nvSpPr>
        <p:spPr>
          <a:xfrm>
            <a:off x="5731436" y="2312338"/>
            <a:ext cx="4690003" cy="346235"/>
          </a:xfrm>
          <a:prstGeom prst="roundRect">
            <a:avLst>
              <a:gd name="adj" fmla="val 5000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latin typeface="Arial Rounded MT Bold" panose="020F0704030504030204" pitchFamily="34" charset="0"/>
              </a:rPr>
              <a:t>Détail &amp; éléments complémentaires</a:t>
            </a:r>
          </a:p>
        </p:txBody>
      </p:sp>
      <p:sp>
        <p:nvSpPr>
          <p:cNvPr id="18" name="Forme libre : forme 17">
            <a:extLst>
              <a:ext uri="{FF2B5EF4-FFF2-40B4-BE49-F238E27FC236}">
                <a16:creationId xmlns:a16="http://schemas.microsoft.com/office/drawing/2014/main" id="{D4903B97-6303-0363-3E48-BC39F494155B}"/>
              </a:ext>
            </a:extLst>
          </p:cNvPr>
          <p:cNvSpPr/>
          <p:nvPr/>
        </p:nvSpPr>
        <p:spPr>
          <a:xfrm>
            <a:off x="1351570" y="3550024"/>
            <a:ext cx="584806" cy="1014292"/>
          </a:xfrm>
          <a:custGeom>
            <a:avLst/>
            <a:gdLst>
              <a:gd name="connsiteX0" fmla="*/ 820 w 584806"/>
              <a:gd name="connsiteY0" fmla="*/ 0 h 1014292"/>
              <a:gd name="connsiteX1" fmla="*/ 93028 w 584806"/>
              <a:gd name="connsiteY1" fmla="*/ 591670 h 1014292"/>
              <a:gd name="connsiteX2" fmla="*/ 584806 w 584806"/>
              <a:gd name="connsiteY2" fmla="*/ 1014292 h 1014292"/>
            </a:gdLst>
            <a:ahLst/>
            <a:cxnLst>
              <a:cxn ang="0">
                <a:pos x="connsiteX0" y="connsiteY0"/>
              </a:cxn>
              <a:cxn ang="0">
                <a:pos x="connsiteX1" y="connsiteY1"/>
              </a:cxn>
              <a:cxn ang="0">
                <a:pos x="connsiteX2" y="connsiteY2"/>
              </a:cxn>
            </a:cxnLst>
            <a:rect l="l" t="t" r="r" b="b"/>
            <a:pathLst>
              <a:path w="584806" h="1014292">
                <a:moveTo>
                  <a:pt x="820" y="0"/>
                </a:moveTo>
                <a:cubicBezTo>
                  <a:pt x="-1742" y="211310"/>
                  <a:pt x="-4303" y="422621"/>
                  <a:pt x="93028" y="591670"/>
                </a:cubicBezTo>
                <a:cubicBezTo>
                  <a:pt x="190359" y="760719"/>
                  <a:pt x="387582" y="887505"/>
                  <a:pt x="584806" y="1014292"/>
                </a:cubicBezTo>
              </a:path>
            </a:pathLst>
          </a:custGeom>
          <a:noFill/>
          <a:ln w="28575">
            <a:solidFill>
              <a:schemeClr val="bg2"/>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Picture 3">
            <a:extLst>
              <a:ext uri="{FF2B5EF4-FFF2-40B4-BE49-F238E27FC236}">
                <a16:creationId xmlns:a16="http://schemas.microsoft.com/office/drawing/2014/main" id="{9946CBBA-09E4-A0AB-F32F-246F42CC9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4903" y="5275066"/>
            <a:ext cx="491093" cy="535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514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1_Couvertures">
  <a:themeElements>
    <a:clrScheme name="CA-GIP">
      <a:dk1>
        <a:srgbClr val="707173"/>
      </a:dk1>
      <a:lt1>
        <a:srgbClr val="FFFFFF"/>
      </a:lt1>
      <a:dk2>
        <a:srgbClr val="ED1B2F"/>
      </a:dk2>
      <a:lt2>
        <a:srgbClr val="009597"/>
      </a:lt2>
      <a:accent1>
        <a:srgbClr val="006A4E"/>
      </a:accent1>
      <a:accent2>
        <a:srgbClr val="FBBA00"/>
      </a:accent2>
      <a:accent3>
        <a:srgbClr val="D70365"/>
      </a:accent3>
      <a:accent4>
        <a:srgbClr val="66257F"/>
      </a:accent4>
      <a:accent5>
        <a:srgbClr val="009597"/>
      </a:accent5>
      <a:accent6>
        <a:srgbClr val="86BC25"/>
      </a:accent6>
      <a:hlink>
        <a:srgbClr val="006A4E"/>
      </a:hlink>
      <a:folHlink>
        <a:srgbClr val="929395"/>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1B0B5CE7-B733-46E4-84AD-1E292292946C}" vid="{B1B730D7-4030-4AA0-985C-CFB91E0A10B7}"/>
    </a:ext>
  </a:extLst>
</a:theme>
</file>

<file path=ppt/theme/theme2.xml><?xml version="1.0" encoding="utf-8"?>
<a:theme xmlns:a="http://schemas.openxmlformats.org/drawingml/2006/main" name="3_Pages contenus">
  <a:themeElements>
    <a:clrScheme name="CA-GIP">
      <a:dk1>
        <a:srgbClr val="707173"/>
      </a:dk1>
      <a:lt1>
        <a:srgbClr val="FFFFFF"/>
      </a:lt1>
      <a:dk2>
        <a:srgbClr val="ED1B2F"/>
      </a:dk2>
      <a:lt2>
        <a:srgbClr val="009597"/>
      </a:lt2>
      <a:accent1>
        <a:srgbClr val="006A4E"/>
      </a:accent1>
      <a:accent2>
        <a:srgbClr val="FBBA00"/>
      </a:accent2>
      <a:accent3>
        <a:srgbClr val="D70365"/>
      </a:accent3>
      <a:accent4>
        <a:srgbClr val="66257F"/>
      </a:accent4>
      <a:accent5>
        <a:srgbClr val="009597"/>
      </a:accent5>
      <a:accent6>
        <a:srgbClr val="86BC25"/>
      </a:accent6>
      <a:hlink>
        <a:srgbClr val="006A4E"/>
      </a:hlink>
      <a:folHlink>
        <a:srgbClr val="929395"/>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1B0B5CE7-B733-46E4-84AD-1E292292946C}" vid="{B1B730D7-4030-4AA0-985C-CFB91E0A10B7}"/>
    </a:ext>
  </a:extLst>
</a:theme>
</file>

<file path=ppt/theme/theme3.xml><?xml version="1.0" encoding="utf-8"?>
<a:theme xmlns:a="http://schemas.openxmlformats.org/drawingml/2006/main" name="7_Pages contenus">
  <a:themeElements>
    <a:clrScheme name="CA-GIP">
      <a:dk1>
        <a:srgbClr val="707173"/>
      </a:dk1>
      <a:lt1>
        <a:srgbClr val="FFFFFF"/>
      </a:lt1>
      <a:dk2>
        <a:srgbClr val="ED1B2F"/>
      </a:dk2>
      <a:lt2>
        <a:srgbClr val="009597"/>
      </a:lt2>
      <a:accent1>
        <a:srgbClr val="006A4E"/>
      </a:accent1>
      <a:accent2>
        <a:srgbClr val="FBBA00"/>
      </a:accent2>
      <a:accent3>
        <a:srgbClr val="D70365"/>
      </a:accent3>
      <a:accent4>
        <a:srgbClr val="66257F"/>
      </a:accent4>
      <a:accent5>
        <a:srgbClr val="009597"/>
      </a:accent5>
      <a:accent6>
        <a:srgbClr val="86BC25"/>
      </a:accent6>
      <a:hlink>
        <a:srgbClr val="006A4E"/>
      </a:hlink>
      <a:folHlink>
        <a:srgbClr val="929395"/>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4" id="{A2023B59-F98D-4D91-81D3-8C3973787F4D}" vid="{CA7014C9-E954-4B24-AF8B-130A0FED2C4C}"/>
    </a:ext>
  </a:extLst>
</a:theme>
</file>

<file path=ppt/theme/theme4.xml><?xml version="1.0" encoding="utf-8"?>
<a:theme xmlns:a="http://schemas.openxmlformats.org/drawingml/2006/main" name="4_Pages contenus">
  <a:themeElements>
    <a:clrScheme name="CA-GIP">
      <a:dk1>
        <a:srgbClr val="707173"/>
      </a:dk1>
      <a:lt1>
        <a:srgbClr val="FFFFFF"/>
      </a:lt1>
      <a:dk2>
        <a:srgbClr val="ED1B2F"/>
      </a:dk2>
      <a:lt2>
        <a:srgbClr val="009597"/>
      </a:lt2>
      <a:accent1>
        <a:srgbClr val="006A4E"/>
      </a:accent1>
      <a:accent2>
        <a:srgbClr val="FBBA00"/>
      </a:accent2>
      <a:accent3>
        <a:srgbClr val="D70365"/>
      </a:accent3>
      <a:accent4>
        <a:srgbClr val="66257F"/>
      </a:accent4>
      <a:accent5>
        <a:srgbClr val="009597"/>
      </a:accent5>
      <a:accent6>
        <a:srgbClr val="86BC25"/>
      </a:accent6>
      <a:hlink>
        <a:srgbClr val="006A4E"/>
      </a:hlink>
      <a:folHlink>
        <a:srgbClr val="929395"/>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1B0B5CE7-B733-46E4-84AD-1E292292946C}" vid="{B1B730D7-4030-4AA0-985C-CFB91E0A10B7}"/>
    </a:ext>
  </a:extLst>
</a:theme>
</file>

<file path=ppt/theme/theme5.xml><?xml version="1.0" encoding="utf-8"?>
<a:theme xmlns:a="http://schemas.openxmlformats.org/drawingml/2006/main" name="8_Pages contenus">
  <a:themeElements>
    <a:clrScheme name="CA-GIP">
      <a:dk1>
        <a:srgbClr val="707173"/>
      </a:dk1>
      <a:lt1>
        <a:srgbClr val="FFFFFF"/>
      </a:lt1>
      <a:dk2>
        <a:srgbClr val="ED1B2F"/>
      </a:dk2>
      <a:lt2>
        <a:srgbClr val="009597"/>
      </a:lt2>
      <a:accent1>
        <a:srgbClr val="006A4E"/>
      </a:accent1>
      <a:accent2>
        <a:srgbClr val="FBBA00"/>
      </a:accent2>
      <a:accent3>
        <a:srgbClr val="D70365"/>
      </a:accent3>
      <a:accent4>
        <a:srgbClr val="66257F"/>
      </a:accent4>
      <a:accent5>
        <a:srgbClr val="009597"/>
      </a:accent5>
      <a:accent6>
        <a:srgbClr val="86BC25"/>
      </a:accent6>
      <a:hlink>
        <a:srgbClr val="006A4E"/>
      </a:hlink>
      <a:folHlink>
        <a:srgbClr val="929395"/>
      </a:folHlink>
    </a:clrScheme>
    <a:fontScheme name="Crédit Agricole - Nouveau Territoir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7" id="{1B0B5CE7-B733-46E4-84AD-1E292292946C}" vid="{B1B730D7-4030-4AA0-985C-CFB91E0A10B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GIP">
    <a:dk1>
      <a:srgbClr val="707173"/>
    </a:dk1>
    <a:lt1>
      <a:srgbClr val="FFFFFF"/>
    </a:lt1>
    <a:dk2>
      <a:srgbClr val="ED1B2F"/>
    </a:dk2>
    <a:lt2>
      <a:srgbClr val="009597"/>
    </a:lt2>
    <a:accent1>
      <a:srgbClr val="006A4E"/>
    </a:accent1>
    <a:accent2>
      <a:srgbClr val="FBBA00"/>
    </a:accent2>
    <a:accent3>
      <a:srgbClr val="D70365"/>
    </a:accent3>
    <a:accent4>
      <a:srgbClr val="66257F"/>
    </a:accent4>
    <a:accent5>
      <a:srgbClr val="009597"/>
    </a:accent5>
    <a:accent6>
      <a:srgbClr val="86BC25"/>
    </a:accent6>
    <a:hlink>
      <a:srgbClr val="006A4E"/>
    </a:hlink>
    <a:folHlink>
      <a:srgbClr val="92939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6F83E029BE6DF47950126E23426647B" ma:contentTypeVersion="0" ma:contentTypeDescription="Crée un document." ma:contentTypeScope="" ma:versionID="c87ca4ff6c0b14b42225ba4a4865b0a9">
  <xsd:schema xmlns:xsd="http://www.w3.org/2001/XMLSchema" xmlns:xs="http://www.w3.org/2001/XMLSchema" xmlns:p="http://schemas.microsoft.com/office/2006/metadata/properties" targetNamespace="http://schemas.microsoft.com/office/2006/metadata/properties" ma:root="true" ma:fieldsID="e76051faddb6b81207a97da7b36d027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385EF16-6662-4C78-B26A-CD18FCE4C2E2}"/>
</file>

<file path=customXml/itemProps2.xml><?xml version="1.0" encoding="utf-8"?>
<ds:datastoreItem xmlns:ds="http://schemas.openxmlformats.org/officeDocument/2006/customXml" ds:itemID="{7B9490C9-DC15-44C6-8587-A0F698C9D6F6}">
  <ds:schemaRefs>
    <ds:schemaRef ds:uri="http://schemas.microsoft.com/sharepoint/v3/contenttype/forms"/>
  </ds:schemaRefs>
</ds:datastoreItem>
</file>

<file path=customXml/itemProps3.xml><?xml version="1.0" encoding="utf-8"?>
<ds:datastoreItem xmlns:ds="http://schemas.openxmlformats.org/officeDocument/2006/customXml" ds:itemID="{87E58629-F323-4784-BEDD-C69E3F64CF30}">
  <ds:schemaRefs>
    <ds:schemaRef ds:uri="http://schemas.microsoft.com/office/infopath/2007/PartnerControls"/>
    <ds:schemaRef ds:uri="http://purl.org/dc/terms/"/>
    <ds:schemaRef ds:uri="http://www.w3.org/XML/1998/namespace"/>
    <ds:schemaRef ds:uri="cdf5252e-d2d7-48ad-9421-96716f371cca"/>
    <ds:schemaRef ds:uri="http://purl.org/dc/dcmitype/"/>
    <ds:schemaRef ds:uri="1f657118-8e63-474d-a495-48a186020fe7"/>
    <ds:schemaRef ds:uri="http://schemas.microsoft.com/office/2006/documentManagement/types"/>
    <ds:schemaRef ds:uri="http://purl.org/dc/elements/1.1/"/>
    <ds:schemaRef ds:uri="http://schemas.microsoft.com/office/2006/metadata/properti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27</TotalTime>
  <Words>3930</Words>
  <Application>Microsoft Office PowerPoint</Application>
  <PresentationFormat>Grand écran</PresentationFormat>
  <Paragraphs>522</Paragraphs>
  <Slides>26</Slides>
  <Notes>20</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26</vt:i4>
      </vt:variant>
    </vt:vector>
  </HeadingPairs>
  <TitlesOfParts>
    <vt:vector size="39" baseType="lpstr">
      <vt:lpstr>Arial</vt:lpstr>
      <vt:lpstr>Arial Black</vt:lpstr>
      <vt:lpstr>Arial Rounded MT Bold</vt:lpstr>
      <vt:lpstr>Calibri</vt:lpstr>
      <vt:lpstr>Gotham Bold</vt:lpstr>
      <vt:lpstr>Segoe UI</vt:lpstr>
      <vt:lpstr>Times New Roman</vt:lpstr>
      <vt:lpstr>01_Couvertures</vt:lpstr>
      <vt:lpstr>3_Pages contenus</vt:lpstr>
      <vt:lpstr>7_Pages contenus</vt:lpstr>
      <vt:lpstr>4_Pages contenus</vt:lpstr>
      <vt:lpstr>8_Pages contenus</vt:lpstr>
      <vt:lpstr>think-cell Slide</vt:lpstr>
      <vt:lpstr>POWER PLATFORM  TOUT Savoir sur l’offre v1 CAGIP</vt:lpstr>
      <vt:lpstr>POWER PLATFORM : C’est quoi ?</vt:lpstr>
      <vt:lpstr>LA PLATEFORME</vt:lpstr>
      <vt:lpstr>POWER PLATFORM : QU’est-ce que c’est ?</vt:lpstr>
      <vt:lpstr>POWER PLATFORM : OFFRE DE SERVICE V1</vt:lpstr>
      <vt:lpstr>Déployer l’offre v1 dans votre entité : Deux approches possibles</vt:lpstr>
      <vt:lpstr>PARTAGE DE RESPONSABILITES ENTRE CA-GIP ET ENTITES CLIENTES dans l’usage de la Power Platform</vt:lpstr>
      <vt:lpstr>Catalogue de demandes &amp; incidents disponibles dans le cadre de l’offre v1</vt:lpstr>
      <vt:lpstr>FOCUS SUR LE Coût de l’offre V1</vt:lpstr>
      <vt:lpstr>comment réussir mon onboarding ? </vt:lpstr>
      <vt:lpstr>OBJECTIF DU DOCUMENT</vt:lpstr>
      <vt:lpstr>FOCUS SUR Les environnements</vt:lpstr>
      <vt:lpstr>OFFRE POWER PLATFORM : QUELS ENVIRONNEMENTS à votre disposition ?</vt:lpstr>
      <vt:lpstr>OFFRE POWER PLATFORM : QUEL ENVIRONNEMENT CHOISIR SELON VOS BESOINS ?</vt:lpstr>
      <vt:lpstr>FOCUS SUR : Environnement « CITIZEN IT »</vt:lpstr>
      <vt:lpstr>FOCUS SUR : environnement « IT FACTORY »</vt:lpstr>
      <vt:lpstr>FOCUS Spécifique sur « A NE PAS UTILISER »</vt:lpstr>
      <vt:lpstr>NOTE CONCERNANT LES ENVIRONNEMENTS « DATAVERSE FOR TEAMS »</vt:lpstr>
      <vt:lpstr>FOCUS SUR LA Sécurité des environnements</vt:lpstr>
      <vt:lpstr>FOCUS Gestion des habilitations et des droits : LES GROUPES DE sécurité</vt:lpstr>
      <vt:lpstr>FOCUS les DLP et les connecteurs </vt:lpstr>
      <vt:lpstr>Focus sur le contrôle de sécurité des connecteurs</vt:lpstr>
      <vt:lpstr>Focus sur les applications et les flux</vt:lpstr>
      <vt:lpstr>Comment et avec quel outil exploiter au mieux power platform ? </vt:lpstr>
      <vt:lpstr>Power platform &amp; compte de service : comment faire &amp; pour quel cas d’usage ?</vt:lpstr>
      <vt:lpstr>Annexe 1 : Caractéristiques techniques des environn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ité de pilotage des plateformes groupe</dc:title>
  <dc:creator>Tazi, Mehdi</dc:creator>
  <cp:lastModifiedBy>Paul LEGEARD</cp:lastModifiedBy>
  <cp:revision>7</cp:revision>
  <dcterms:created xsi:type="dcterms:W3CDTF">2020-09-09T12:37:58Z</dcterms:created>
  <dcterms:modified xsi:type="dcterms:W3CDTF">2023-10-13T12:0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F83E029BE6DF47950126E23426647B</vt:lpwstr>
  </property>
  <property fmtid="{D5CDD505-2E9C-101B-9397-08002B2CF9AE}" pid="3" name="MSIP_Label_4cad6431-53ea-4466-8111-3fefa470bcb9_Enabled">
    <vt:lpwstr>true</vt:lpwstr>
  </property>
  <property fmtid="{D5CDD505-2E9C-101B-9397-08002B2CF9AE}" pid="4" name="MSIP_Label_4cad6431-53ea-4466-8111-3fefa470bcb9_SetDate">
    <vt:lpwstr>2022-05-10T13:36:01Z</vt:lpwstr>
  </property>
  <property fmtid="{D5CDD505-2E9C-101B-9397-08002B2CF9AE}" pid="5" name="MSIP_Label_4cad6431-53ea-4466-8111-3fefa470bcb9_Method">
    <vt:lpwstr>Privileged</vt:lpwstr>
  </property>
  <property fmtid="{D5CDD505-2E9C-101B-9397-08002B2CF9AE}" pid="6" name="MSIP_Label_4cad6431-53ea-4466-8111-3fefa470bcb9_Name">
    <vt:lpwstr>Usage Interne</vt:lpwstr>
  </property>
  <property fmtid="{D5CDD505-2E9C-101B-9397-08002B2CF9AE}" pid="7" name="MSIP_Label_4cad6431-53ea-4466-8111-3fefa470bcb9_SiteId">
    <vt:lpwstr>fb3baf17-c313-474c-8d5d-577a3ec97a32</vt:lpwstr>
  </property>
  <property fmtid="{D5CDD505-2E9C-101B-9397-08002B2CF9AE}" pid="8" name="MSIP_Label_4cad6431-53ea-4466-8111-3fefa470bcb9_ActionId">
    <vt:lpwstr>bcffe443-e576-452b-949e-162312631aec</vt:lpwstr>
  </property>
  <property fmtid="{D5CDD505-2E9C-101B-9397-08002B2CF9AE}" pid="9" name="MSIP_Label_4cad6431-53ea-4466-8111-3fefa470bcb9_ContentBits">
    <vt:lpwstr>2</vt:lpwstr>
  </property>
  <property fmtid="{D5CDD505-2E9C-101B-9397-08002B2CF9AE}" pid="10" name="MediaServiceImageTags">
    <vt:lpwstr/>
  </property>
</Properties>
</file>